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3.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slideLayouts/slideLayout9.xml" ContentType="application/vnd.openxmlformats-officedocument.presentationml.slideLayout+xml"/>
  <Override PartName="/ppt/theme/theme4.xml" ContentType="application/vnd.openxmlformats-officedocument.them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5.xml" ContentType="application/vnd.openxmlformats-officedocument.them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slideLayouts/slideLayout14.xml" ContentType="application/vnd.openxmlformats-officedocument.presentationml.slideLayout+xml"/>
  <Override PartName="/ppt/theme/theme6.xml" ContentType="application/vnd.openxmlformats-officedocument.theme+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slideLayouts/slideLayout15.xml" ContentType="application/vnd.openxmlformats-officedocument.presentationml.slideLayout+xml"/>
  <Override PartName="/ppt/theme/theme7.xml" ContentType="application/vnd.openxmlformats-officedocument.theme+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slideLayouts/slideLayout16.xml" ContentType="application/vnd.openxmlformats-officedocument.presentationml.slideLayout+xml"/>
  <Override PartName="/ppt/theme/theme8.xml" ContentType="application/vnd.openxmlformats-officedocument.theme+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slideLayouts/slideLayout17.xml" ContentType="application/vnd.openxmlformats-officedocument.presentationml.slideLayout+xml"/>
  <Override PartName="/ppt/theme/theme9.xml" ContentType="application/vnd.openxmlformats-officedocument.theme+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slideLayouts/slideLayout18.xml" ContentType="application/vnd.openxmlformats-officedocument.presentationml.slideLayout+xml"/>
  <Override PartName="/ppt/theme/theme10.xml" ContentType="application/vnd.openxmlformats-officedocument.theme+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slideLayouts/slideLayout19.xml" ContentType="application/vnd.openxmlformats-officedocument.presentationml.slideLayout+xml"/>
  <Override PartName="/ppt/theme/theme11.xml" ContentType="application/vnd.openxmlformats-officedocument.theme+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heme/theme12.xml" ContentType="application/vnd.openxmlformats-officedocument.theme+xml"/>
  <Override PartName="/ppt/theme/theme13.xml" ContentType="application/vnd.openxmlformats-officedocument.theme+xml"/>
  <Override PartName="/ppt/tags/tag210.xml" ContentType="application/vnd.openxmlformats-officedocument.presentationml.tags+xml"/>
  <Override PartName="/ppt/tags/tag211.xml" ContentType="application/vnd.openxmlformats-officedocument.presentationml.tags+xml"/>
  <Override PartName="/ppt/notesSlides/notesSlide1.xml" ContentType="application/vnd.openxmlformats-officedocument.presentationml.notesSlide+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notesSlides/notesSlide2.xml" ContentType="application/vnd.openxmlformats-officedocument.presentationml.notesSlide+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notesSlides/notesSlide5.xml" ContentType="application/vnd.openxmlformats-officedocument.presentationml.notesSlide+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notesSlides/notesSlide6.xml" ContentType="application/vnd.openxmlformats-officedocument.presentationml.notesSlide+xml"/>
  <Override PartName="/ppt/tags/tag226.xml" ContentType="application/vnd.openxmlformats-officedocument.presentationml.tags+xml"/>
  <Override PartName="/ppt/tags/tag227.xml" ContentType="application/vnd.openxmlformats-officedocument.presentationml.tags+xml"/>
  <Override PartName="/ppt/notesSlides/notesSlide7.xml" ContentType="application/vnd.openxmlformats-officedocument.presentationml.notesSlide+xml"/>
  <Override PartName="/ppt/tags/tag228.xml" ContentType="application/vnd.openxmlformats-officedocument.presentationml.tags+xml"/>
  <Override PartName="/ppt/tags/tag229.xml" ContentType="application/vnd.openxmlformats-officedocument.presentationml.tags+xml"/>
  <Override PartName="/ppt/notesSlides/notesSlide8.xml" ContentType="application/vnd.openxmlformats-officedocument.presentationml.notesSlide+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notesSlides/notesSlide9.xml" ContentType="application/vnd.openxmlformats-officedocument.presentationml.notesSlide+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notesSlides/notesSlide12.xml" ContentType="application/vnd.openxmlformats-officedocument.presentationml.notesSlide+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242.xml" ContentType="application/vnd.openxmlformats-officedocument.presentationml.tags+xml"/>
  <Override PartName="/ppt/notesSlides/notesSlide17.xml" ContentType="application/vnd.openxmlformats-officedocument.presentationml.notesSlide+xml"/>
  <Override PartName="/ppt/tags/tag243.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notesSlides/notesSlide20.xml" ContentType="application/vnd.openxmlformats-officedocument.presentationml.notesSlide+xml"/>
  <Override PartName="/ppt/tags/tag249.xml" ContentType="application/vnd.openxmlformats-officedocument.presentationml.tags+xml"/>
  <Override PartName="/ppt/tags/tag250.xml" ContentType="application/vnd.openxmlformats-officedocument.presentationml.tags+xml"/>
  <Override PartName="/ppt/notesSlides/notesSlide2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4"/>
    <p:sldMasterId id="2147483654" r:id="rId5"/>
    <p:sldMasterId id="2147483657" r:id="rId6"/>
    <p:sldMasterId id="2147483662" r:id="rId7"/>
    <p:sldMasterId id="2147483668" r:id="rId8"/>
    <p:sldMasterId id="2147483677" r:id="rId9"/>
    <p:sldMasterId id="2147483679" r:id="rId10"/>
    <p:sldMasterId id="2147483681" r:id="rId11"/>
    <p:sldMasterId id="2147483684" r:id="rId12"/>
    <p:sldMasterId id="2147483690" r:id="rId13"/>
    <p:sldMasterId id="2147483693" r:id="rId14"/>
  </p:sldMasterIdLst>
  <p:notesMasterIdLst>
    <p:notesMasterId r:id="rId46"/>
  </p:notesMasterIdLst>
  <p:handoutMasterIdLst>
    <p:handoutMasterId r:id="rId47"/>
  </p:handoutMasterIdLst>
  <p:sldIdLst>
    <p:sldId id="2145707669" r:id="rId15"/>
    <p:sldId id="2147374666" r:id="rId16"/>
    <p:sldId id="2147374667" r:id="rId17"/>
    <p:sldId id="2147374668" r:id="rId18"/>
    <p:sldId id="2147374669" r:id="rId19"/>
    <p:sldId id="2147374671" r:id="rId20"/>
    <p:sldId id="2147374732" r:id="rId21"/>
    <p:sldId id="2147374733" r:id="rId22"/>
    <p:sldId id="2147374734" r:id="rId23"/>
    <p:sldId id="2147374735" r:id="rId24"/>
    <p:sldId id="2147374736" r:id="rId25"/>
    <p:sldId id="2147374738" r:id="rId26"/>
    <p:sldId id="2147374744" r:id="rId27"/>
    <p:sldId id="2147374745" r:id="rId28"/>
    <p:sldId id="2147374746" r:id="rId29"/>
    <p:sldId id="2147374747" r:id="rId30"/>
    <p:sldId id="2147374748" r:id="rId31"/>
    <p:sldId id="2147374749" r:id="rId32"/>
    <p:sldId id="2147374750" r:id="rId33"/>
    <p:sldId id="2147374751" r:id="rId34"/>
    <p:sldId id="2147374752" r:id="rId35"/>
    <p:sldId id="2147374753" r:id="rId36"/>
    <p:sldId id="2147374754" r:id="rId37"/>
    <p:sldId id="2147374758" r:id="rId38"/>
    <p:sldId id="2147374757" r:id="rId39"/>
    <p:sldId id="2147374759" r:id="rId40"/>
    <p:sldId id="2147469910" r:id="rId41"/>
    <p:sldId id="2147374761" r:id="rId42"/>
    <p:sldId id="2147374663" r:id="rId43"/>
    <p:sldId id="2147374762" r:id="rId44"/>
    <p:sldId id="2147374664" r:id="rId45"/>
  </p:sldIdLst>
  <p:sldSz cx="12192000" cy="6858000"/>
  <p:notesSz cx="6858000" cy="9144000"/>
  <p:custDataLst>
    <p:tags r:id="rId4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156" userDrawn="1">
          <p15:clr>
            <a:srgbClr val="A4A3A4"/>
          </p15:clr>
        </p15:guide>
        <p15:guide id="2" pos="211" userDrawn="1">
          <p15:clr>
            <a:srgbClr val="A4A3A4"/>
          </p15:clr>
        </p15:guide>
        <p15:guide id="3" orient="horz" pos="550" userDrawn="1">
          <p15:clr>
            <a:srgbClr val="A4A3A4"/>
          </p15:clr>
        </p15:guide>
        <p15:guide id="4" pos="7469"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42"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052"/>
    <a:srgbClr val="FFED99"/>
    <a:srgbClr val="FFDC47"/>
    <a:srgbClr val="058E53"/>
    <a:srgbClr val="2484C6"/>
    <a:srgbClr val="FFC965"/>
    <a:srgbClr val="C5996D"/>
    <a:srgbClr val="56300E"/>
    <a:srgbClr val="854A15"/>
    <a:srgbClr val="E9D1A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9EC19F7-4564-42C9-A4C7-A6164FB6819F}" v="25" dt="2021-09-21T13:13:59.13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3" autoAdjust="0"/>
    <p:restoredTop sz="82414" autoAdjust="0"/>
  </p:normalViewPr>
  <p:slideViewPr>
    <p:cSldViewPr snapToGrid="0">
      <p:cViewPr varScale="1">
        <p:scale>
          <a:sx n="70" d="100"/>
          <a:sy n="70" d="100"/>
        </p:scale>
        <p:origin x="1138" y="62"/>
      </p:cViewPr>
      <p:guideLst>
        <p:guide orient="horz" pos="4156"/>
        <p:guide pos="211"/>
        <p:guide orient="horz" pos="550"/>
        <p:guide pos="7469"/>
      </p:guideLst>
    </p:cSldViewPr>
  </p:slideViewPr>
  <p:notesTextViewPr>
    <p:cViewPr>
      <p:scale>
        <a:sx n="3" d="2"/>
        <a:sy n="3" d="2"/>
      </p:scale>
      <p:origin x="0" y="0"/>
    </p:cViewPr>
  </p:notesTextViewPr>
  <p:sorterViewPr>
    <p:cViewPr varScale="1">
      <p:scale>
        <a:sx n="100" d="100"/>
        <a:sy n="100" d="100"/>
      </p:scale>
      <p:origin x="0" y="-6908"/>
    </p:cViewPr>
  </p:sorterViewPr>
  <p:notesViewPr>
    <p:cSldViewPr snapToGrid="0">
      <p:cViewPr varScale="1">
        <p:scale>
          <a:sx n="84" d="100"/>
          <a:sy n="84" d="100"/>
        </p:scale>
        <p:origin x="3828" y="102"/>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4.xml"/><Relationship Id="rId26" Type="http://schemas.openxmlformats.org/officeDocument/2006/relationships/slide" Target="slides/slide12.xml"/><Relationship Id="rId39" Type="http://schemas.openxmlformats.org/officeDocument/2006/relationships/slide" Target="slides/slide25.xml"/><Relationship Id="rId21" Type="http://schemas.openxmlformats.org/officeDocument/2006/relationships/slide" Target="slides/slide7.xml"/><Relationship Id="rId34" Type="http://schemas.openxmlformats.org/officeDocument/2006/relationships/slide" Target="slides/slide20.xml"/><Relationship Id="rId42" Type="http://schemas.openxmlformats.org/officeDocument/2006/relationships/slide" Target="slides/slide28.xml"/><Relationship Id="rId47" Type="http://schemas.openxmlformats.org/officeDocument/2006/relationships/handoutMaster" Target="handoutMasters/handoutMaster1.xml"/><Relationship Id="rId50" Type="http://schemas.openxmlformats.org/officeDocument/2006/relationships/presProps" Target="pres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2.xml"/><Relationship Id="rId29" Type="http://schemas.openxmlformats.org/officeDocument/2006/relationships/slide" Target="slides/slide15.xml"/><Relationship Id="rId11" Type="http://schemas.openxmlformats.org/officeDocument/2006/relationships/slideMaster" Target="slideMasters/slideMaster8.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slide" Target="slides/slide23.xml"/><Relationship Id="rId40" Type="http://schemas.openxmlformats.org/officeDocument/2006/relationships/slide" Target="slides/slide26.xml"/><Relationship Id="rId45" Type="http://schemas.openxmlformats.org/officeDocument/2006/relationships/slide" Target="slides/slide31.xml"/><Relationship Id="rId53" Type="http://schemas.openxmlformats.org/officeDocument/2006/relationships/tableStyles" Target="tableStyles.xml"/><Relationship Id="rId5" Type="http://schemas.openxmlformats.org/officeDocument/2006/relationships/slideMaster" Target="slideMasters/slideMaster2.xml"/><Relationship Id="rId10" Type="http://schemas.openxmlformats.org/officeDocument/2006/relationships/slideMaster" Target="slideMasters/slideMaster7.xml"/><Relationship Id="rId19" Type="http://schemas.openxmlformats.org/officeDocument/2006/relationships/slide" Target="slides/slide5.xml"/><Relationship Id="rId31" Type="http://schemas.openxmlformats.org/officeDocument/2006/relationships/slide" Target="slides/slide17.xml"/><Relationship Id="rId44" Type="http://schemas.openxmlformats.org/officeDocument/2006/relationships/slide" Target="slides/slide30.xml"/><Relationship Id="rId5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slide" Target="slides/slide29.xml"/><Relationship Id="rId48" Type="http://schemas.openxmlformats.org/officeDocument/2006/relationships/tags" Target="tags/tag1.xml"/><Relationship Id="rId8" Type="http://schemas.openxmlformats.org/officeDocument/2006/relationships/slideMaster" Target="slideMasters/slideMaster5.xml"/><Relationship Id="rId51"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notesMaster" Target="notesMasters/notesMaster1.xml"/><Relationship Id="rId20" Type="http://schemas.openxmlformats.org/officeDocument/2006/relationships/slide" Target="slides/slide6.xml"/><Relationship Id="rId41" Type="http://schemas.openxmlformats.org/officeDocument/2006/relationships/slide" Target="slides/slide27.xml"/><Relationship Id="rId54"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49"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B7D1A79-88EA-4476-9F65-929A28DB27E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EDC52FA6-404B-4101-B3B5-C84096E677F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59E37AC-3791-4919-A174-D42091392567}" type="datetimeFigureOut">
              <a:rPr lang="en-US" smtClean="0"/>
              <a:t>9/22/2021</a:t>
            </a:fld>
            <a:endParaRPr lang="en-US" dirty="0"/>
          </a:p>
        </p:txBody>
      </p:sp>
      <p:sp>
        <p:nvSpPr>
          <p:cNvPr id="4" name="Footer Placeholder 3">
            <a:extLst>
              <a:ext uri="{FF2B5EF4-FFF2-40B4-BE49-F238E27FC236}">
                <a16:creationId xmlns:a16="http://schemas.microsoft.com/office/drawing/2014/main" id="{322E3D55-889D-4799-95A8-F53D434ECCD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F4D342F7-1229-4E7E-B55D-D8A9A811526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6591308-057F-4551-864C-9CB916A7A9AA}" type="slidenum">
              <a:rPr lang="en-US" smtClean="0"/>
              <a:t>‹#›</a:t>
            </a:fld>
            <a:endParaRPr lang="en-US" dirty="0"/>
          </a:p>
        </p:txBody>
      </p:sp>
    </p:spTree>
    <p:extLst>
      <p:ext uri="{BB962C8B-B14F-4D97-AF65-F5344CB8AC3E}">
        <p14:creationId xmlns:p14="http://schemas.microsoft.com/office/powerpoint/2010/main" val="14504805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E495AC3-E59D-41A7-B3DC-5911A4DB2008}" type="datetimeFigureOut">
              <a:rPr lang="en-US" smtClean="0"/>
              <a:t>9/22/2021</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5004C36-84C7-40A9-A9A4-E4798F5FCC6F}" type="slidenum">
              <a:rPr lang="en-US" smtClean="0"/>
              <a:t>‹#›</a:t>
            </a:fld>
            <a:endParaRPr lang="en-US" dirty="0"/>
          </a:p>
        </p:txBody>
      </p:sp>
    </p:spTree>
    <p:extLst>
      <p:ext uri="{BB962C8B-B14F-4D97-AF65-F5344CB8AC3E}">
        <p14:creationId xmlns:p14="http://schemas.microsoft.com/office/powerpoint/2010/main" val="65256206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D5004C36-84C7-40A9-A9A4-E4798F5FCC6F}" type="slidenum">
              <a:rPr lang="en-US" smtClean="0"/>
              <a:t>1</a:t>
            </a:fld>
            <a:endParaRPr lang="en-US" dirty="0"/>
          </a:p>
        </p:txBody>
      </p:sp>
    </p:spTree>
    <p:extLst>
      <p:ext uri="{BB962C8B-B14F-4D97-AF65-F5344CB8AC3E}">
        <p14:creationId xmlns:p14="http://schemas.microsoft.com/office/powerpoint/2010/main" val="11087609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004C36-84C7-40A9-A9A4-E4798F5FCC6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8973905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004C36-84C7-40A9-A9A4-E4798F5FCC6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86003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004C36-84C7-40A9-A9A4-E4798F5FCC6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381049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004C36-84C7-40A9-A9A4-E4798F5FCC6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6868786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004C36-84C7-40A9-A9A4-E4798F5FCC6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632325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004C36-84C7-40A9-A9A4-E4798F5FCC6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006915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004C36-84C7-40A9-A9A4-E4798F5FCC6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4562993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465887" rtl="0" eaLnBrk="1" fontAlgn="auto" latinLnBrk="0" hangingPunct="1">
              <a:lnSpc>
                <a:spcPct val="100000"/>
              </a:lnSpc>
              <a:spcBef>
                <a:spcPts val="0"/>
              </a:spcBef>
              <a:spcAft>
                <a:spcPts val="0"/>
              </a:spcAft>
              <a:buClrTx/>
              <a:buSzTx/>
              <a:buFontTx/>
              <a:buNone/>
              <a:tabLst/>
              <a:defRPr/>
            </a:pPr>
            <a:fld id="{A1591835-581F-439C-B609-52B7E155BD3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465887"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43137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ce you are on covid19.nj.gov, you can click one of the icons to </a:t>
            </a:r>
          </a:p>
          <a:p>
            <a:pPr marL="228600" indent="-228600">
              <a:buAutoNum type="arabicParenR"/>
            </a:pPr>
            <a:r>
              <a:rPr lang="en-US" dirty="0"/>
              <a:t>Find out if you are eligible</a:t>
            </a:r>
          </a:p>
          <a:p>
            <a:pPr marL="228600" indent="-228600">
              <a:buAutoNum type="arabicParenR"/>
            </a:pPr>
            <a:r>
              <a:rPr lang="en-US" dirty="0"/>
              <a:t>Register with the state scheduling portal (more information on this to follow)</a:t>
            </a:r>
          </a:p>
          <a:p>
            <a:pPr marL="228600" indent="-228600">
              <a:buAutoNum type="arabicParenR"/>
            </a:pPr>
            <a:r>
              <a:rPr lang="en-US" dirty="0"/>
              <a:t>Book an appointment directly with a vaccine locatio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004C36-84C7-40A9-A9A4-E4798F5FCC6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4436611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004C36-84C7-40A9-A9A4-E4798F5FCC6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625720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5004C36-84C7-40A9-A9A4-E4798F5FCC6F}" type="slidenum">
              <a:rPr lang="en-US" smtClean="0"/>
              <a:t>6</a:t>
            </a:fld>
            <a:endParaRPr lang="en-US" dirty="0"/>
          </a:p>
        </p:txBody>
      </p:sp>
    </p:spTree>
    <p:extLst>
      <p:ext uri="{BB962C8B-B14F-4D97-AF65-F5344CB8AC3E}">
        <p14:creationId xmlns:p14="http://schemas.microsoft.com/office/powerpoint/2010/main" val="345880913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5004C36-84C7-40A9-A9A4-E4798F5FCC6F}" type="slidenum">
              <a:rPr lang="en-US" smtClean="0"/>
              <a:t>29</a:t>
            </a:fld>
            <a:endParaRPr lang="en-US" dirty="0"/>
          </a:p>
        </p:txBody>
      </p:sp>
    </p:spTree>
    <p:extLst>
      <p:ext uri="{BB962C8B-B14F-4D97-AF65-F5344CB8AC3E}">
        <p14:creationId xmlns:p14="http://schemas.microsoft.com/office/powerpoint/2010/main" val="36460360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004C36-84C7-40A9-A9A4-E4798F5FCC6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822967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004C36-84C7-40A9-A9A4-E4798F5FCC6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085105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004C36-84C7-40A9-A9A4-E4798F5FCC6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705819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a reminder, COVID-19 vaccines are safe, effective, and free for all. You do not need proof of immigration, documentation, or insurance to get the vaccin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004C36-84C7-40A9-A9A4-E4798F5FCC6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07593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004C36-84C7-40A9-A9A4-E4798F5FCC6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484064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004C36-84C7-40A9-A9A4-E4798F5FCC6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474547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004C36-84C7-40A9-A9A4-E4798F5FCC6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441518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004C36-84C7-40A9-A9A4-E4798F5FCC6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2703024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72.xml"/><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image" Target="../media/image4.emf"/><Relationship Id="rId5" Type="http://schemas.openxmlformats.org/officeDocument/2006/relationships/oleObject" Target="../embeddings/oleObject9.bin"/><Relationship Id="rId4"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75.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slideMaster" Target="../slideMasters/slideMaster5.xml"/><Relationship Id="rId5" Type="http://schemas.openxmlformats.org/officeDocument/2006/relationships/tags" Target="../tags/tag77.xml"/><Relationship Id="rId4" Type="http://schemas.openxmlformats.org/officeDocument/2006/relationships/tags" Target="../tags/tag7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80.xml"/><Relationship Id="rId7" Type="http://schemas.openxmlformats.org/officeDocument/2006/relationships/tags" Target="../tags/tag84.xml"/><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tags" Target="../tags/tag83.xml"/><Relationship Id="rId5" Type="http://schemas.openxmlformats.org/officeDocument/2006/relationships/tags" Target="../tags/tag82.xml"/><Relationship Id="rId10" Type="http://schemas.openxmlformats.org/officeDocument/2006/relationships/image" Target="../media/image7.emf"/><Relationship Id="rId4" Type="http://schemas.openxmlformats.org/officeDocument/2006/relationships/tags" Target="../tags/tag81.xml"/><Relationship Id="rId9" Type="http://schemas.openxmlformats.org/officeDocument/2006/relationships/oleObject" Target="../embeddings/oleObject10.bin"/></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04.xml"/><Relationship Id="rId7" Type="http://schemas.openxmlformats.org/officeDocument/2006/relationships/image" Target="../media/image4.emf"/><Relationship Id="rId2" Type="http://schemas.openxmlformats.org/officeDocument/2006/relationships/tags" Target="../tags/tag103.xml"/><Relationship Id="rId1" Type="http://schemas.openxmlformats.org/officeDocument/2006/relationships/tags" Target="../tags/tag102.xml"/><Relationship Id="rId6" Type="http://schemas.openxmlformats.org/officeDocument/2006/relationships/oleObject" Target="../embeddings/oleObject12.bin"/><Relationship Id="rId5" Type="http://schemas.openxmlformats.org/officeDocument/2006/relationships/slideMaster" Target="../slideMasters/slideMaster6.xml"/><Relationship Id="rId4" Type="http://schemas.openxmlformats.org/officeDocument/2006/relationships/tags" Target="../tags/tag105.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125.xml"/><Relationship Id="rId2" Type="http://schemas.openxmlformats.org/officeDocument/2006/relationships/tags" Target="../tags/tag124.xml"/><Relationship Id="rId1" Type="http://schemas.openxmlformats.org/officeDocument/2006/relationships/tags" Target="../tags/tag123.xml"/><Relationship Id="rId6" Type="http://schemas.openxmlformats.org/officeDocument/2006/relationships/image" Target="../media/image4.emf"/><Relationship Id="rId5" Type="http://schemas.openxmlformats.org/officeDocument/2006/relationships/oleObject" Target="../embeddings/oleObject14.bin"/><Relationship Id="rId4"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145.xml"/><Relationship Id="rId7" Type="http://schemas.openxmlformats.org/officeDocument/2006/relationships/image" Target="../media/image4.emf"/><Relationship Id="rId2" Type="http://schemas.openxmlformats.org/officeDocument/2006/relationships/tags" Target="../tags/tag144.xml"/><Relationship Id="rId1" Type="http://schemas.openxmlformats.org/officeDocument/2006/relationships/tags" Target="../tags/tag143.xml"/><Relationship Id="rId6" Type="http://schemas.openxmlformats.org/officeDocument/2006/relationships/oleObject" Target="../embeddings/oleObject16.bin"/><Relationship Id="rId5" Type="http://schemas.openxmlformats.org/officeDocument/2006/relationships/slideMaster" Target="../slideMasters/slideMaster8.xml"/><Relationship Id="rId4" Type="http://schemas.openxmlformats.org/officeDocument/2006/relationships/tags" Target="../tags/tag146.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66.xml"/><Relationship Id="rId7" Type="http://schemas.openxmlformats.org/officeDocument/2006/relationships/image" Target="../media/image4.emf"/><Relationship Id="rId2" Type="http://schemas.openxmlformats.org/officeDocument/2006/relationships/tags" Target="../tags/tag165.xml"/><Relationship Id="rId1" Type="http://schemas.openxmlformats.org/officeDocument/2006/relationships/tags" Target="../tags/tag164.xml"/><Relationship Id="rId6" Type="http://schemas.openxmlformats.org/officeDocument/2006/relationships/oleObject" Target="../embeddings/oleObject18.bin"/><Relationship Id="rId5" Type="http://schemas.openxmlformats.org/officeDocument/2006/relationships/slideMaster" Target="../slideMasters/slideMaster9.xml"/><Relationship Id="rId4" Type="http://schemas.openxmlformats.org/officeDocument/2006/relationships/tags" Target="../tags/tag167.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87.xml"/><Relationship Id="rId7" Type="http://schemas.openxmlformats.org/officeDocument/2006/relationships/image" Target="../media/image4.emf"/><Relationship Id="rId2" Type="http://schemas.openxmlformats.org/officeDocument/2006/relationships/tags" Target="../tags/tag186.xml"/><Relationship Id="rId1" Type="http://schemas.openxmlformats.org/officeDocument/2006/relationships/tags" Target="../tags/tag185.xml"/><Relationship Id="rId6" Type="http://schemas.openxmlformats.org/officeDocument/2006/relationships/oleObject" Target="../embeddings/oleObject20.bin"/><Relationship Id="rId5" Type="http://schemas.openxmlformats.org/officeDocument/2006/relationships/slideMaster" Target="../slideMasters/slideMaster10.xml"/><Relationship Id="rId4" Type="http://schemas.openxmlformats.org/officeDocument/2006/relationships/tags" Target="../tags/tag188.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208.xml"/><Relationship Id="rId7" Type="http://schemas.openxmlformats.org/officeDocument/2006/relationships/image" Target="../media/image4.emf"/><Relationship Id="rId2" Type="http://schemas.openxmlformats.org/officeDocument/2006/relationships/tags" Target="../tags/tag207.xml"/><Relationship Id="rId1" Type="http://schemas.openxmlformats.org/officeDocument/2006/relationships/tags" Target="../tags/tag206.xml"/><Relationship Id="rId6" Type="http://schemas.openxmlformats.org/officeDocument/2006/relationships/oleObject" Target="../embeddings/oleObject22.bin"/><Relationship Id="rId5" Type="http://schemas.openxmlformats.org/officeDocument/2006/relationships/slideMaster" Target="../slideMasters/slideMaster11.xml"/><Relationship Id="rId4" Type="http://schemas.openxmlformats.org/officeDocument/2006/relationships/tags" Target="../tags/tag20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4.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26.xml"/><Relationship Id="rId7" Type="http://schemas.openxmlformats.org/officeDocument/2006/relationships/tags" Target="../tags/tag30.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tags" Target="../tags/tag29.xml"/><Relationship Id="rId5" Type="http://schemas.openxmlformats.org/officeDocument/2006/relationships/tags" Target="../tags/tag28.xml"/><Relationship Id="rId10" Type="http://schemas.openxmlformats.org/officeDocument/2006/relationships/image" Target="../media/image5.emf"/><Relationship Id="rId4" Type="http://schemas.openxmlformats.org/officeDocument/2006/relationships/tags" Target="../tags/tag27.xml"/><Relationship Id="rId9"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52.xml"/><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4.emf"/><Relationship Id="rId5" Type="http://schemas.openxmlformats.org/officeDocument/2006/relationships/oleObject" Target="../embeddings/oleObject7.bin"/><Relationship Id="rId4"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CustomLayouts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70CF74-7EF4-47E2-86DC-50D1695AF69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DC1A4FA-3D84-4419-A969-FF5320525DE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TextBox 7">
            <a:extLst>
              <a:ext uri="{FF2B5EF4-FFF2-40B4-BE49-F238E27FC236}">
                <a16:creationId xmlns:a16="http://schemas.microsoft.com/office/drawing/2014/main" id="{8617C6FC-2440-410D-917A-105E19A1F6AB}"/>
              </a:ext>
            </a:extLst>
          </p:cNvPr>
          <p:cNvSpPr txBox="1"/>
          <p:nvPr userDrawn="1"/>
        </p:nvSpPr>
        <p:spPr>
          <a:xfrm>
            <a:off x="11896985" y="6616957"/>
            <a:ext cx="136256" cy="135422"/>
          </a:xfrm>
          <a:prstGeom prst="rect">
            <a:avLst/>
          </a:prstGeom>
          <a:noFill/>
        </p:spPr>
        <p:txBody>
          <a:bodyPr vert="horz" wrap="none" lIns="0" tIns="0" rIns="0" bIns="0" rtlCol="0">
            <a:spAutoFit/>
          </a:bodyPr>
          <a:lstStyle/>
          <a:p>
            <a:pPr algn="l"/>
            <a:fld id="{9DFF35C5-69EC-45C4-9E5E-E57A74AD5067}" type="slidenum">
              <a:rPr lang="en-US" sz="850" b="0" i="0" baseline="0" smtClean="0"/>
              <a:pPr algn="l"/>
              <a:t>‹#›</a:t>
            </a:fld>
            <a:endParaRPr lang="en-US" sz="850" b="0" i="0" baseline="0" dirty="0"/>
          </a:p>
        </p:txBody>
      </p:sp>
    </p:spTree>
    <p:extLst>
      <p:ext uri="{BB962C8B-B14F-4D97-AF65-F5344CB8AC3E}">
        <p14:creationId xmlns:p14="http://schemas.microsoft.com/office/powerpoint/2010/main" val="127195115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27865BF-B7D0-4486-AA7E-82F9DB980EF9}"/>
              </a:ext>
            </a:extLst>
          </p:cNvPr>
          <p:cNvGraphicFramePr>
            <a:graphicFrameLocks noChangeAspect="1"/>
          </p:cNvGraphicFramePr>
          <p:nvPr userDrawn="1">
            <p:custDataLst>
              <p:tags r:id="rId1"/>
            </p:custDataLst>
            <p:extLst>
              <p:ext uri="{D42A27DB-BD31-4B8C-83A1-F6EECF244321}">
                <p14:modId xmlns:p14="http://schemas.microsoft.com/office/powerpoint/2010/main" val="14305402"/>
              </p:ext>
            </p:ext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7" name="Object 6" hidden="1">
                        <a:extLst>
                          <a:ext uri="{FF2B5EF4-FFF2-40B4-BE49-F238E27FC236}">
                            <a16:creationId xmlns:a16="http://schemas.microsoft.com/office/drawing/2014/main" id="{E27865BF-B7D0-4486-AA7E-82F9DB980EF9}"/>
                          </a:ext>
                        </a:extLst>
                      </p:cNvPr>
                      <p:cNvPicPr/>
                      <p:nvPr/>
                    </p:nvPicPr>
                    <p:blipFill>
                      <a:blip r:embed="rId6"/>
                      <a:stretch>
                        <a:fillRect/>
                      </a:stretch>
                    </p:blipFill>
                    <p:spPr>
                      <a:xfrm>
                        <a:off x="1620" y="1620"/>
                        <a:ext cx="1620" cy="162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02DE00F-3A59-4453-894F-EC7E2E48C523}"/>
              </a:ext>
            </a:extLst>
          </p:cNvPr>
          <p:cNvSpPr/>
          <p:nvPr userDrawn="1">
            <p:custDataLst>
              <p:tags r:id="rId2"/>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41" b="0"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2" name="2. Slide Title"/>
          <p:cNvSpPr>
            <a:spLocks noGrp="1"/>
          </p:cNvSpPr>
          <p:nvPr>
            <p:ph type="title"/>
          </p:nvPr>
        </p:nvSpPr>
        <p:spPr bwMode="gray">
          <a:xfrm>
            <a:off x="161987" y="234865"/>
            <a:ext cx="11725484" cy="314028"/>
          </a:xfrm>
        </p:spPr>
        <p:txBody>
          <a:bodyPr/>
          <a:lstStyle>
            <a:lvl1pPr>
              <a:defRPr>
                <a:solidFill>
                  <a:schemeClr val="tx1"/>
                </a:solidFill>
              </a:defRPr>
            </a:lvl1pPr>
          </a:lstStyle>
          <a:p>
            <a:r>
              <a:rPr lang="en-US"/>
              <a:t>Click to edit Master title style</a:t>
            </a:r>
            <a:endParaRPr lang="en-US" dirty="0"/>
          </a:p>
        </p:txBody>
      </p:sp>
      <p:sp>
        <p:nvSpPr>
          <p:cNvPr id="9" name="SlideLogoText" hidden="1"/>
          <p:cNvSpPr>
            <a:spLocks noChangeArrowheads="1"/>
          </p:cNvSpPr>
          <p:nvPr userDrawn="1">
            <p:custDataLst>
              <p:tags r:id="rId3"/>
            </p:custDataLst>
          </p:nvPr>
        </p:nvSpPr>
        <p:spPr bwMode="gray">
          <a:xfrm>
            <a:off x="10465075" y="6639224"/>
            <a:ext cx="1050047"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218095"/>
            <a:r>
              <a:rPr lang="en-US" sz="816" baseline="0" noProof="0" dirty="0">
                <a:solidFill>
                  <a:schemeClr val="accent6"/>
                </a:solidFill>
                <a:latin typeface="+mn-lt"/>
                <a:ea typeface="+mn-ea"/>
              </a:rPr>
              <a:t>McKinsey &amp; Company</a:t>
            </a:r>
          </a:p>
        </p:txBody>
      </p:sp>
      <p:sp>
        <p:nvSpPr>
          <p:cNvPr id="5" name="doc id" hidden="1"/>
          <p:cNvSpPr>
            <a:spLocks noChangeArrowheads="1"/>
          </p:cNvSpPr>
          <p:nvPr userDrawn="1"/>
        </p:nvSpPr>
        <p:spPr bwMode="gray">
          <a:xfrm flipH="1">
            <a:off x="10658002" y="51835"/>
            <a:ext cx="1231563" cy="96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8095"/>
            <a:endParaRPr lang="en-US" sz="612" baseline="0" noProof="0" dirty="0">
              <a:solidFill>
                <a:schemeClr val="accent6"/>
              </a:solidFill>
              <a:latin typeface="+mn-lt"/>
              <a:ea typeface="+mn-ea"/>
            </a:endParaRPr>
          </a:p>
        </p:txBody>
      </p:sp>
      <p:sp>
        <p:nvSpPr>
          <p:cNvPr id="3" name="TextBox 2">
            <a:extLst>
              <a:ext uri="{FF2B5EF4-FFF2-40B4-BE49-F238E27FC236}">
                <a16:creationId xmlns:a16="http://schemas.microsoft.com/office/drawing/2014/main" id="{3C4FC9C4-9C45-4B96-8A70-5C9BBB640D25}"/>
              </a:ext>
            </a:extLst>
          </p:cNvPr>
          <p:cNvSpPr txBox="1"/>
          <p:nvPr userDrawn="1"/>
        </p:nvSpPr>
        <p:spPr>
          <a:xfrm>
            <a:off x="11616243" y="6566446"/>
            <a:ext cx="139026" cy="138173"/>
          </a:xfrm>
          <a:prstGeom prst="rect">
            <a:avLst/>
          </a:prstGeom>
          <a:noFill/>
        </p:spPr>
        <p:txBody>
          <a:bodyPr vert="horz" wrap="none" lIns="0" tIns="0" rIns="0" bIns="0" rtlCol="0">
            <a:spAutoFit/>
          </a:bodyPr>
          <a:lstStyle/>
          <a:p>
            <a:pPr algn="l"/>
            <a:fld id="{9DFF35C5-69EC-45C4-9E5E-E57A74AD5067}" type="slidenum">
              <a:rPr lang="en-US" sz="867" b="0" i="0" baseline="0" smtClean="0"/>
              <a:pPr algn="l"/>
              <a:t>‹#›</a:t>
            </a:fld>
            <a:endParaRPr lang="en-US" sz="867" b="0" i="0" baseline="0" dirty="0"/>
          </a:p>
        </p:txBody>
      </p:sp>
      <p:sp>
        <p:nvSpPr>
          <p:cNvPr id="6" name="TextBox 5">
            <a:extLst>
              <a:ext uri="{FF2B5EF4-FFF2-40B4-BE49-F238E27FC236}">
                <a16:creationId xmlns:a16="http://schemas.microsoft.com/office/drawing/2014/main" id="{B98E00CB-46D5-4B50-BB47-D1C0898227A7}"/>
              </a:ext>
            </a:extLst>
          </p:cNvPr>
          <p:cNvSpPr txBox="1"/>
          <p:nvPr userDrawn="1"/>
        </p:nvSpPr>
        <p:spPr>
          <a:xfrm>
            <a:off x="161986" y="6566446"/>
            <a:ext cx="11270830" cy="136144"/>
          </a:xfrm>
          <a:prstGeom prst="rect">
            <a:avLst/>
          </a:prstGeom>
          <a:noFill/>
        </p:spPr>
        <p:txBody>
          <a:bodyPr vert="horz" wrap="none" lIns="0" tIns="0" rIns="0" bIns="0" rtlCol="0">
            <a:spAutoFit/>
          </a:bodyPr>
          <a:lstStyle/>
          <a:p>
            <a:pPr algn="l"/>
            <a:r>
              <a:rPr lang="en-US" sz="867" b="0" i="0" baseline="0" dirty="0">
                <a:solidFill>
                  <a:schemeClr val="tx1"/>
                </a:solidFill>
              </a:rPr>
              <a:t>Preliminary, pre-decisional, and deliberative. Based on input provided by State agency leaders and staff, to date, and subject to change. Content is descriptive only and is not meant to constitute legal, clinical, or policy advice.</a:t>
            </a:r>
          </a:p>
        </p:txBody>
      </p:sp>
    </p:spTree>
    <p:extLst>
      <p:ext uri="{BB962C8B-B14F-4D97-AF65-F5344CB8AC3E}">
        <p14:creationId xmlns:p14="http://schemas.microsoft.com/office/powerpoint/2010/main" val="3619843912"/>
      </p:ext>
    </p:extLst>
  </p:cSld>
  <p:clrMapOvr>
    <a:masterClrMapping/>
  </p:clrMapOvr>
  <p:extLst>
    <p:ext uri="{DCECCB84-F9BA-43D5-87BE-67443E8EF086}">
      <p15:sldGuideLst xmlns:p15="http://schemas.microsoft.com/office/powerpoint/2012/main">
        <p15:guide id="1" pos="7340">
          <p15:clr>
            <a:srgbClr val="F26B43"/>
          </p15:clr>
        </p15:guide>
        <p15:guide id="2" pos="99">
          <p15:clr>
            <a:srgbClr val="F26B43"/>
          </p15:clr>
        </p15:guide>
        <p15:guide id="3" orient="horz" pos="688">
          <p15:clr>
            <a:srgbClr val="F26B43"/>
          </p15:clr>
        </p15:guide>
        <p15:guide id="4" orient="horz" pos="3911">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Contrast Quote">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1"/>
            </p:custDataLst>
          </p:nvPr>
        </p:nvSpPr>
        <p:spPr>
          <a:xfrm>
            <a:off x="1505713"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2"/>
            </p:custDataLst>
          </p:nvPr>
        </p:nvSpPr>
        <p:spPr>
          <a:xfrm>
            <a:off x="1505713" y="4284631"/>
            <a:ext cx="9180576" cy="276999"/>
          </a:xfrm>
        </p:spPr>
        <p:txBody>
          <a:bodyPr wrap="square">
            <a:noAutofit/>
          </a:bodyPr>
          <a:lstStyle>
            <a:lvl1pPr marL="0" indent="0" algn="l">
              <a:buNone/>
              <a:defRPr sz="1800" b="0">
                <a:solidFill>
                  <a:schemeClr val="tx1"/>
                </a:solidFill>
              </a:defRPr>
            </a:lvl1pPr>
            <a:lvl2pPr marL="457198" indent="0" algn="ctr">
              <a:buNone/>
              <a:defRPr sz="2000"/>
            </a:lvl2pPr>
            <a:lvl3pPr marL="914396" indent="0" algn="ctr">
              <a:buNone/>
              <a:defRPr sz="1800"/>
            </a:lvl3pPr>
            <a:lvl4pPr marL="1371594" indent="0" algn="ctr">
              <a:buNone/>
              <a:defRPr sz="1600"/>
            </a:lvl4pPr>
            <a:lvl5pPr marL="1828793" indent="0" algn="ctr">
              <a:buNone/>
              <a:defRPr sz="1600"/>
            </a:lvl5pPr>
            <a:lvl6pPr marL="2285991" indent="0" algn="ctr">
              <a:buNone/>
              <a:defRPr sz="1600"/>
            </a:lvl6pPr>
            <a:lvl7pPr marL="2743189" indent="0" algn="ctr">
              <a:buNone/>
              <a:defRPr sz="1600"/>
            </a:lvl7pPr>
            <a:lvl8pPr marL="3200387" indent="0" algn="ctr">
              <a:buNone/>
              <a:defRPr sz="1600"/>
            </a:lvl8pPr>
            <a:lvl9pPr marL="3657586" indent="0" algn="ctr">
              <a:buNone/>
              <a:defRPr sz="1600"/>
            </a:lvl9pPr>
          </a:lstStyle>
          <a:p>
            <a:r>
              <a:rPr lang="en-US" dirty="0"/>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3"/>
            </p:custDataLst>
          </p:nvPr>
        </p:nvSpPr>
        <p:spPr bwMode="black">
          <a:xfrm>
            <a:off x="11312525" y="6495942"/>
            <a:ext cx="325501" cy="141312"/>
          </a:xfrm>
          <a:prstGeom prst="rect">
            <a:avLst/>
          </a:prstGeom>
          <a:noFill/>
          <a:ln w="9525" algn="ctr">
            <a:noFill/>
            <a:miter lim="800000"/>
            <a:headEnd/>
            <a:tailEnd/>
          </a:ln>
          <a:effectLst/>
        </p:spPr>
        <p:txBody>
          <a:bodyPr wrap="square" lIns="0" tIns="0" rIns="0" bIns="0" anchor="b">
            <a:spAutoFit/>
          </a:bodyPr>
          <a:lstStyle/>
          <a:p>
            <a:pPr algn="r" defTabSz="610741"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1"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4"/>
            </p:custDataLst>
          </p:nvPr>
        </p:nvSpPr>
        <p:spPr>
          <a:xfrm>
            <a:off x="554736" y="6501670"/>
            <a:ext cx="7277861" cy="125612"/>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2" name="1. On-page tracker">
            <a:extLst>
              <a:ext uri="{FF2B5EF4-FFF2-40B4-BE49-F238E27FC236}">
                <a16:creationId xmlns:a16="http://schemas.microsoft.com/office/drawing/2014/main" id="{2CCA1113-D6DE-4306-88BB-3E74C4AA2F5E}"/>
              </a:ext>
            </a:extLst>
          </p:cNvPr>
          <p:cNvSpPr>
            <a:spLocks noGrp="1"/>
          </p:cNvSpPr>
          <p:nvPr>
            <p:ph type="body" sz="quarter" idx="17" hasCustomPrompt="1"/>
            <p:custDataLst>
              <p:tags r:id="rId5"/>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49786070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DEBF2A-70BD-48F6-AC64-98D483117FC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1343C6D-BB62-48C6-863B-5E206346600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0321227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306E269-83F5-4510-A180-109E926BB41B}"/>
              </a:ext>
            </a:extLst>
          </p:cNvPr>
          <p:cNvGraphicFramePr>
            <a:graphicFrameLocks noChangeAspect="1"/>
          </p:cNvGraphicFramePr>
          <p:nvPr userDrawn="1">
            <p:custDataLst>
              <p:tags r:id="rId1"/>
            </p:custDataLst>
            <p:extLst>
              <p:ext uri="{D42A27DB-BD31-4B8C-83A1-F6EECF244321}">
                <p14:modId xmlns:p14="http://schemas.microsoft.com/office/powerpoint/2010/main" val="94941134"/>
              </p:ext>
            </p:ext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9" imgW="572" imgH="588" progId="TCLayout.ActiveDocument.1">
                  <p:embed/>
                </p:oleObj>
              </mc:Choice>
              <mc:Fallback>
                <p:oleObj name="think-cell Slide" r:id="rId9" imgW="572" imgH="588" progId="TCLayout.ActiveDocument.1">
                  <p:embed/>
                  <p:pic>
                    <p:nvPicPr>
                      <p:cNvPr id="3" name="Object 2" hidden="1">
                        <a:extLst>
                          <a:ext uri="{FF2B5EF4-FFF2-40B4-BE49-F238E27FC236}">
                            <a16:creationId xmlns:a16="http://schemas.microsoft.com/office/drawing/2014/main" id="{5306E269-83F5-4510-A180-109E926BB41B}"/>
                          </a:ext>
                        </a:extLst>
                      </p:cNvPr>
                      <p:cNvPicPr/>
                      <p:nvPr/>
                    </p:nvPicPr>
                    <p:blipFill>
                      <a:blip r:embed="rId10"/>
                      <a:stretch>
                        <a:fillRect/>
                      </a:stretch>
                    </p:blipFill>
                    <p:spPr>
                      <a:xfrm>
                        <a:off x="2119"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6743208-2407-42A5-AA96-0B30899A9CB9}"/>
              </a:ext>
            </a:extLst>
          </p:cNvPr>
          <p:cNvSpPr/>
          <p:nvPr userDrawn="1">
            <p:custDataLst>
              <p:tags r:id="rId2"/>
            </p:custDataLst>
          </p:nvPr>
        </p:nvSpPr>
        <p:spPr>
          <a:xfrm>
            <a:off x="1"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41" b="0"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3. Subtitle">
            <a:extLst>
              <a:ext uri="{FF2B5EF4-FFF2-40B4-BE49-F238E27FC236}">
                <a16:creationId xmlns:a16="http://schemas.microsoft.com/office/drawing/2014/main" id="{EE021D34-D41C-4EE9-A72D-F8D1E4D69428}"/>
              </a:ext>
            </a:extLst>
          </p:cNvPr>
          <p:cNvSpPr>
            <a:spLocks noGrp="1"/>
          </p:cNvSpPr>
          <p:nvPr>
            <p:ph type="subTitle" idx="1"/>
            <p:custDataLst>
              <p:tags r:id="rId3"/>
            </p:custDataLst>
          </p:nvPr>
        </p:nvSpPr>
        <p:spPr>
          <a:xfrm>
            <a:off x="554737" y="525930"/>
            <a:ext cx="11082528" cy="246221"/>
          </a:xfrm>
          <a:prstGeom prst="rect">
            <a:avLst/>
          </a:prstGeom>
        </p:spPr>
        <p:txBody>
          <a:bodyPr vert="horz" wrap="square" lIns="0" tIns="0" rIns="0" bIns="0" rtlCol="0">
            <a:spAutoFit/>
          </a:bodyPr>
          <a:lstStyle>
            <a:lvl1pPr>
              <a:defRPr lang="en-US" sz="1600" dirty="0"/>
            </a:lvl1pPr>
          </a:lstStyle>
          <a:p>
            <a:pPr lvl="0">
              <a:buNone/>
            </a:pPr>
            <a:r>
              <a:rPr lang="en-US"/>
              <a:t>Click to edit Master subtitle style</a:t>
            </a:r>
            <a:endParaRPr lang="en-US" dirty="0"/>
          </a:p>
        </p:txBody>
      </p:sp>
      <p:sp>
        <p:nvSpPr>
          <p:cNvPr id="17" name="2. Slide Title">
            <a:extLst>
              <a:ext uri="{FF2B5EF4-FFF2-40B4-BE49-F238E27FC236}">
                <a16:creationId xmlns:a16="http://schemas.microsoft.com/office/drawing/2014/main" id="{2A02F3DA-248E-4A50-B54D-BAD18BAB3254}"/>
              </a:ext>
            </a:extLst>
          </p:cNvPr>
          <p:cNvSpPr>
            <a:spLocks noGrp="1"/>
          </p:cNvSpPr>
          <p:nvPr>
            <p:ph type="title"/>
            <p:custDataLst>
              <p:tags r:id="rId4"/>
            </p:custDataLst>
          </p:nvPr>
        </p:nvSpPr>
        <p:spPr>
          <a:xfrm>
            <a:off x="554737" y="173737"/>
            <a:ext cx="11082528" cy="314028"/>
          </a:xfr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9" name="Slide Number">
            <a:extLst>
              <a:ext uri="{FF2B5EF4-FFF2-40B4-BE49-F238E27FC236}">
                <a16:creationId xmlns:a16="http://schemas.microsoft.com/office/drawing/2014/main" id="{3D1A1691-03F4-4B0C-8CAB-F8163BA54877}"/>
              </a:ext>
            </a:extLst>
          </p:cNvPr>
          <p:cNvSpPr>
            <a:spLocks noChangeArrowheads="1"/>
          </p:cNvSpPr>
          <p:nvPr userDrawn="1">
            <p:custDataLst>
              <p:tags r:id="rId5"/>
            </p:custDataLst>
          </p:nvPr>
        </p:nvSpPr>
        <p:spPr bwMode="ltGray">
          <a:xfrm>
            <a:off x="11301986" y="6666924"/>
            <a:ext cx="325502" cy="125612"/>
          </a:xfrm>
          <a:prstGeom prst="rect">
            <a:avLst/>
          </a:prstGeom>
          <a:noFill/>
          <a:ln w="9525" algn="ctr">
            <a:noFill/>
            <a:miter lim="800000"/>
            <a:headEnd/>
            <a:tailEnd/>
          </a:ln>
          <a:effectLst/>
        </p:spPr>
        <p:txBody>
          <a:bodyPr wrap="square" lIns="0" tIns="0" rIns="0" bIns="0" anchor="b">
            <a:spAutoFit/>
          </a:bodyPr>
          <a:lstStyle/>
          <a:p>
            <a:pPr algn="r" defTabSz="458043"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458043"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2D9802C1-17F2-4D5F-804F-01991074A31F}"/>
              </a:ext>
            </a:extLst>
          </p:cNvPr>
          <p:cNvSpPr txBox="1"/>
          <p:nvPr userDrawn="1">
            <p:custDataLst>
              <p:tags r:id="rId6"/>
            </p:custDataLst>
          </p:nvPr>
        </p:nvSpPr>
        <p:spPr>
          <a:xfrm>
            <a:off x="554738" y="6499170"/>
            <a:ext cx="6469210" cy="125612"/>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1" name="1. On-page tracker">
            <a:extLst>
              <a:ext uri="{FF2B5EF4-FFF2-40B4-BE49-F238E27FC236}">
                <a16:creationId xmlns:a16="http://schemas.microsoft.com/office/drawing/2014/main" id="{DDE7FD00-47B4-4101-9C87-415DAC08A938}"/>
              </a:ext>
            </a:extLst>
          </p:cNvPr>
          <p:cNvSpPr>
            <a:spLocks noGrp="1"/>
          </p:cNvSpPr>
          <p:nvPr>
            <p:ph type="body" sz="quarter" idx="10" hasCustomPrompt="1"/>
            <p:custDataLst>
              <p:tags r:id="rId7"/>
            </p:custDataLst>
          </p:nvPr>
        </p:nvSpPr>
        <p:spPr>
          <a:xfrm>
            <a:off x="554738" y="41597"/>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TextBox 11">
            <a:extLst>
              <a:ext uri="{FF2B5EF4-FFF2-40B4-BE49-F238E27FC236}">
                <a16:creationId xmlns:a16="http://schemas.microsoft.com/office/drawing/2014/main" id="{0031E428-B9BD-4C13-AEC0-33A2D114BE1B}"/>
              </a:ext>
            </a:extLst>
          </p:cNvPr>
          <p:cNvSpPr txBox="1"/>
          <p:nvPr userDrawn="1"/>
        </p:nvSpPr>
        <p:spPr>
          <a:xfrm>
            <a:off x="161986" y="6566447"/>
            <a:ext cx="11270830" cy="136144"/>
          </a:xfrm>
          <a:prstGeom prst="rect">
            <a:avLst/>
          </a:prstGeom>
          <a:noFill/>
        </p:spPr>
        <p:txBody>
          <a:bodyPr vert="horz" wrap="none" lIns="0" tIns="0" rIns="0" bIns="0" rtlCol="0">
            <a:spAutoFit/>
          </a:bodyPr>
          <a:lstStyle/>
          <a:p>
            <a:pPr algn="l"/>
            <a:r>
              <a:rPr lang="en-US" sz="867" b="0" i="0" baseline="0" dirty="0">
                <a:solidFill>
                  <a:schemeClr val="tx1"/>
                </a:solidFill>
              </a:rPr>
              <a:t>Preliminary, pre-decisional, and deliberative. Based on input provided by State agency leaders and staff, to date, and subject to change. Content is descriptive only and is not meant to constitute legal, clinical, or policy advice.</a:t>
            </a:r>
          </a:p>
        </p:txBody>
      </p:sp>
    </p:spTree>
    <p:extLst>
      <p:ext uri="{BB962C8B-B14F-4D97-AF65-F5344CB8AC3E}">
        <p14:creationId xmlns:p14="http://schemas.microsoft.com/office/powerpoint/2010/main" val="105503877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0" name="Do not remove" hidden="1">
            <a:extLst>
              <a:ext uri="{FF2B5EF4-FFF2-40B4-BE49-F238E27FC236}">
                <a16:creationId xmlns:a16="http://schemas.microsoft.com/office/drawing/2014/main" id="{1F84FE63-4531-471C-803D-2DFD0EC1DA8F}"/>
              </a:ext>
            </a:extLst>
          </p:cNvPr>
          <p:cNvSpPr/>
          <p:nvPr userDrawn="1">
            <p:custDataLst>
              <p:tags r:id="rId1"/>
            </p:custDataLst>
          </p:nvPr>
        </p:nvSpPr>
        <p:spPr>
          <a:xfrm>
            <a:off x="0" y="0"/>
            <a:ext cx="12958" cy="12958"/>
          </a:xfrm>
          <a:prstGeom prst="octagon">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7" dirty="0">
              <a:solidFill>
                <a:schemeClr val="tx1"/>
              </a:solidFill>
            </a:endParaRPr>
          </a:p>
        </p:txBody>
      </p:sp>
      <p:graphicFrame>
        <p:nvGraphicFramePr>
          <p:cNvPr id="7" name="Object 6" hidden="1">
            <a:extLst>
              <a:ext uri="{FF2B5EF4-FFF2-40B4-BE49-F238E27FC236}">
                <a16:creationId xmlns:a16="http://schemas.microsoft.com/office/drawing/2014/main" id="{E27865BF-B7D0-4486-AA7E-82F9DB980EF9}"/>
              </a:ext>
            </a:extLst>
          </p:cNvPr>
          <p:cNvGraphicFramePr>
            <a:graphicFrameLocks noChangeAspect="1"/>
          </p:cNvGraphicFramePr>
          <p:nvPr userDrawn="1">
            <p:custDataLst>
              <p:tags r:id="rId2"/>
            </p:custDataLst>
            <p:extLst>
              <p:ext uri="{D42A27DB-BD31-4B8C-83A1-F6EECF244321}">
                <p14:modId xmlns:p14="http://schemas.microsoft.com/office/powerpoint/2010/main" val="2577553031"/>
              </p:ext>
            </p:ext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7" name="Object 6" hidden="1">
                        <a:extLst>
                          <a:ext uri="{FF2B5EF4-FFF2-40B4-BE49-F238E27FC236}">
                            <a16:creationId xmlns:a16="http://schemas.microsoft.com/office/drawing/2014/main" id="{E27865BF-B7D0-4486-AA7E-82F9DB980EF9}"/>
                          </a:ext>
                        </a:extLst>
                      </p:cNvPr>
                      <p:cNvPicPr/>
                      <p:nvPr/>
                    </p:nvPicPr>
                    <p:blipFill>
                      <a:blip r:embed="rId7"/>
                      <a:stretch>
                        <a:fillRect/>
                      </a:stretch>
                    </p:blipFill>
                    <p:spPr>
                      <a:xfrm>
                        <a:off x="1620" y="1620"/>
                        <a:ext cx="1620" cy="162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02DE00F-3A59-4453-894F-EC7E2E48C523}"/>
              </a:ext>
            </a:extLst>
          </p:cNvPr>
          <p:cNvSpPr/>
          <p:nvPr userDrawn="1">
            <p:custDataLst>
              <p:tags r:id="rId3"/>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41" b="0"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2" name="2. Slide Title"/>
          <p:cNvSpPr>
            <a:spLocks noGrp="1"/>
          </p:cNvSpPr>
          <p:nvPr>
            <p:ph type="title"/>
          </p:nvPr>
        </p:nvSpPr>
        <p:spPr bwMode="gray">
          <a:xfrm>
            <a:off x="161987" y="234865"/>
            <a:ext cx="11725484" cy="314028"/>
          </a:xfrm>
        </p:spPr>
        <p:txBody>
          <a:bodyPr/>
          <a:lstStyle>
            <a:lvl1pPr>
              <a:defRPr>
                <a:solidFill>
                  <a:schemeClr val="tx1"/>
                </a:solidFill>
              </a:defRPr>
            </a:lvl1pPr>
          </a:lstStyle>
          <a:p>
            <a:r>
              <a:rPr lang="en-US"/>
              <a:t>Click to edit Master title style</a:t>
            </a:r>
            <a:endParaRPr lang="en-US" dirty="0"/>
          </a:p>
        </p:txBody>
      </p:sp>
      <p:sp>
        <p:nvSpPr>
          <p:cNvPr id="9" name="SlideLogoText" hidden="1"/>
          <p:cNvSpPr>
            <a:spLocks noChangeArrowheads="1"/>
          </p:cNvSpPr>
          <p:nvPr userDrawn="1">
            <p:custDataLst>
              <p:tags r:id="rId4"/>
            </p:custDataLst>
          </p:nvPr>
        </p:nvSpPr>
        <p:spPr bwMode="gray">
          <a:xfrm>
            <a:off x="10465075" y="6639224"/>
            <a:ext cx="1050047"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218095"/>
            <a:r>
              <a:rPr lang="en-US" sz="816" baseline="0" noProof="0" dirty="0">
                <a:solidFill>
                  <a:schemeClr val="accent6"/>
                </a:solidFill>
                <a:latin typeface="+mn-lt"/>
                <a:ea typeface="+mn-ea"/>
              </a:rPr>
              <a:t>McKinsey &amp; Company</a:t>
            </a:r>
          </a:p>
        </p:txBody>
      </p:sp>
      <p:sp>
        <p:nvSpPr>
          <p:cNvPr id="5" name="doc id" hidden="1"/>
          <p:cNvSpPr>
            <a:spLocks noChangeArrowheads="1"/>
          </p:cNvSpPr>
          <p:nvPr userDrawn="1"/>
        </p:nvSpPr>
        <p:spPr bwMode="gray">
          <a:xfrm flipH="1">
            <a:off x="10658002" y="51835"/>
            <a:ext cx="1231563" cy="96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8095"/>
            <a:endParaRPr lang="en-US" sz="612" baseline="0" noProof="0" dirty="0">
              <a:solidFill>
                <a:schemeClr val="accent6"/>
              </a:solidFill>
              <a:latin typeface="+mn-lt"/>
              <a:ea typeface="+mn-ea"/>
            </a:endParaRPr>
          </a:p>
        </p:txBody>
      </p:sp>
      <p:sp>
        <p:nvSpPr>
          <p:cNvPr id="3" name="TextBox 2">
            <a:extLst>
              <a:ext uri="{FF2B5EF4-FFF2-40B4-BE49-F238E27FC236}">
                <a16:creationId xmlns:a16="http://schemas.microsoft.com/office/drawing/2014/main" id="{3C4FC9C4-9C45-4B96-8A70-5C9BBB640D25}"/>
              </a:ext>
            </a:extLst>
          </p:cNvPr>
          <p:cNvSpPr txBox="1"/>
          <p:nvPr userDrawn="1"/>
        </p:nvSpPr>
        <p:spPr>
          <a:xfrm>
            <a:off x="11616243" y="6566446"/>
            <a:ext cx="139026" cy="138173"/>
          </a:xfrm>
          <a:prstGeom prst="rect">
            <a:avLst/>
          </a:prstGeom>
          <a:noFill/>
        </p:spPr>
        <p:txBody>
          <a:bodyPr vert="horz" wrap="none" lIns="0" tIns="0" rIns="0" bIns="0" rtlCol="0">
            <a:spAutoFit/>
          </a:bodyPr>
          <a:lstStyle/>
          <a:p>
            <a:pPr algn="l"/>
            <a:fld id="{9DFF35C5-69EC-45C4-9E5E-E57A74AD5067}" type="slidenum">
              <a:rPr lang="en-US" sz="867" b="0" i="0" baseline="0" smtClean="0"/>
              <a:pPr algn="l"/>
              <a:t>‹#›</a:t>
            </a:fld>
            <a:endParaRPr lang="en-US" sz="867" b="0" i="0" baseline="0" dirty="0"/>
          </a:p>
        </p:txBody>
      </p:sp>
      <p:sp>
        <p:nvSpPr>
          <p:cNvPr id="6" name="TextBox 5">
            <a:extLst>
              <a:ext uri="{FF2B5EF4-FFF2-40B4-BE49-F238E27FC236}">
                <a16:creationId xmlns:a16="http://schemas.microsoft.com/office/drawing/2014/main" id="{B98E00CB-46D5-4B50-BB47-D1C0898227A7}"/>
              </a:ext>
            </a:extLst>
          </p:cNvPr>
          <p:cNvSpPr txBox="1"/>
          <p:nvPr userDrawn="1"/>
        </p:nvSpPr>
        <p:spPr>
          <a:xfrm>
            <a:off x="161986" y="6566446"/>
            <a:ext cx="11270830" cy="136144"/>
          </a:xfrm>
          <a:prstGeom prst="rect">
            <a:avLst/>
          </a:prstGeom>
          <a:noFill/>
        </p:spPr>
        <p:txBody>
          <a:bodyPr vert="horz" wrap="none" lIns="0" tIns="0" rIns="0" bIns="0" rtlCol="0">
            <a:spAutoFit/>
          </a:bodyPr>
          <a:lstStyle/>
          <a:p>
            <a:pPr algn="l"/>
            <a:r>
              <a:rPr lang="en-US" sz="867" b="0" i="0" baseline="0" dirty="0">
                <a:solidFill>
                  <a:schemeClr val="tx1"/>
                </a:solidFill>
              </a:rPr>
              <a:t>Preliminary, pre-decisional, and deliberative. Based on input provided by State agency leaders and staff, to date, and subject to change. Content is descriptive only and is not meant to constitute legal, clinical, or policy advice.</a:t>
            </a:r>
          </a:p>
        </p:txBody>
      </p:sp>
    </p:spTree>
    <p:extLst>
      <p:ext uri="{BB962C8B-B14F-4D97-AF65-F5344CB8AC3E}">
        <p14:creationId xmlns:p14="http://schemas.microsoft.com/office/powerpoint/2010/main" val="3477839101"/>
      </p:ext>
    </p:extLst>
  </p:cSld>
  <p:clrMapOvr>
    <a:masterClrMapping/>
  </p:clrMapOvr>
  <p:extLst>
    <p:ext uri="{DCECCB84-F9BA-43D5-87BE-67443E8EF086}">
      <p15:sldGuideLst xmlns:p15="http://schemas.microsoft.com/office/powerpoint/2012/main">
        <p15:guide id="1" pos="7340">
          <p15:clr>
            <a:srgbClr val="F26B43"/>
          </p15:clr>
        </p15:guide>
        <p15:guide id="2" pos="99">
          <p15:clr>
            <a:srgbClr val="F26B43"/>
          </p15:clr>
        </p15:guide>
        <p15:guide id="3" orient="horz" pos="688">
          <p15:clr>
            <a:srgbClr val="F26B43"/>
          </p15:clr>
        </p15:guide>
        <p15:guide id="4" orient="horz" pos="3911">
          <p15:clr>
            <a:srgbClr val="F26B43"/>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27865BF-B7D0-4486-AA7E-82F9DB980EF9}"/>
              </a:ext>
            </a:extLst>
          </p:cNvPr>
          <p:cNvGraphicFramePr>
            <a:graphicFrameLocks noChangeAspect="1"/>
          </p:cNvGraphicFramePr>
          <p:nvPr userDrawn="1">
            <p:custDataLst>
              <p:tags r:id="rId1"/>
            </p:custDataLst>
            <p:extLst>
              <p:ext uri="{D42A27DB-BD31-4B8C-83A1-F6EECF244321}">
                <p14:modId xmlns:p14="http://schemas.microsoft.com/office/powerpoint/2010/main" val="3322702911"/>
              </p:ext>
            </p:ext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7" name="Object 6" hidden="1">
                        <a:extLst>
                          <a:ext uri="{FF2B5EF4-FFF2-40B4-BE49-F238E27FC236}">
                            <a16:creationId xmlns:a16="http://schemas.microsoft.com/office/drawing/2014/main" id="{E27865BF-B7D0-4486-AA7E-82F9DB980EF9}"/>
                          </a:ext>
                        </a:extLst>
                      </p:cNvPr>
                      <p:cNvPicPr/>
                      <p:nvPr/>
                    </p:nvPicPr>
                    <p:blipFill>
                      <a:blip r:embed="rId6"/>
                      <a:stretch>
                        <a:fillRect/>
                      </a:stretch>
                    </p:blipFill>
                    <p:spPr>
                      <a:xfrm>
                        <a:off x="1620" y="1620"/>
                        <a:ext cx="1620" cy="162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02DE00F-3A59-4453-894F-EC7E2E48C523}"/>
              </a:ext>
            </a:extLst>
          </p:cNvPr>
          <p:cNvSpPr/>
          <p:nvPr userDrawn="1">
            <p:custDataLst>
              <p:tags r:id="rId2"/>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41" b="0"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2" name="2. Slide Title"/>
          <p:cNvSpPr>
            <a:spLocks noGrp="1"/>
          </p:cNvSpPr>
          <p:nvPr>
            <p:ph type="title"/>
          </p:nvPr>
        </p:nvSpPr>
        <p:spPr bwMode="gray">
          <a:xfrm>
            <a:off x="161987" y="234865"/>
            <a:ext cx="11725484" cy="314028"/>
          </a:xfrm>
        </p:spPr>
        <p:txBody>
          <a:bodyPr/>
          <a:lstStyle>
            <a:lvl1pPr>
              <a:defRPr>
                <a:solidFill>
                  <a:schemeClr val="tx1"/>
                </a:solidFill>
              </a:defRPr>
            </a:lvl1pPr>
          </a:lstStyle>
          <a:p>
            <a:r>
              <a:rPr lang="en-US"/>
              <a:t>Click to edit Master title style</a:t>
            </a:r>
            <a:endParaRPr lang="en-US" dirty="0"/>
          </a:p>
        </p:txBody>
      </p:sp>
      <p:sp>
        <p:nvSpPr>
          <p:cNvPr id="9" name="SlideLogoText" hidden="1"/>
          <p:cNvSpPr>
            <a:spLocks noChangeArrowheads="1"/>
          </p:cNvSpPr>
          <p:nvPr userDrawn="1">
            <p:custDataLst>
              <p:tags r:id="rId3"/>
            </p:custDataLst>
          </p:nvPr>
        </p:nvSpPr>
        <p:spPr bwMode="gray">
          <a:xfrm>
            <a:off x="10465075" y="6639224"/>
            <a:ext cx="1050047"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218095"/>
            <a:r>
              <a:rPr lang="en-US" sz="816" baseline="0" noProof="0" dirty="0">
                <a:solidFill>
                  <a:schemeClr val="accent6"/>
                </a:solidFill>
                <a:latin typeface="+mn-lt"/>
                <a:ea typeface="+mn-ea"/>
              </a:rPr>
              <a:t>McKinsey &amp; Company</a:t>
            </a:r>
          </a:p>
        </p:txBody>
      </p:sp>
      <p:sp>
        <p:nvSpPr>
          <p:cNvPr id="5" name="doc id" hidden="1"/>
          <p:cNvSpPr>
            <a:spLocks noChangeArrowheads="1"/>
          </p:cNvSpPr>
          <p:nvPr userDrawn="1"/>
        </p:nvSpPr>
        <p:spPr bwMode="gray">
          <a:xfrm flipH="1">
            <a:off x="10658002" y="51835"/>
            <a:ext cx="1231563" cy="96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8095"/>
            <a:endParaRPr lang="en-US" sz="612" baseline="0" noProof="0" dirty="0">
              <a:solidFill>
                <a:schemeClr val="accent6"/>
              </a:solidFill>
              <a:latin typeface="+mn-lt"/>
              <a:ea typeface="+mn-ea"/>
            </a:endParaRPr>
          </a:p>
        </p:txBody>
      </p:sp>
      <p:sp>
        <p:nvSpPr>
          <p:cNvPr id="3" name="TextBox 2">
            <a:extLst>
              <a:ext uri="{FF2B5EF4-FFF2-40B4-BE49-F238E27FC236}">
                <a16:creationId xmlns:a16="http://schemas.microsoft.com/office/drawing/2014/main" id="{3C4FC9C4-9C45-4B96-8A70-5C9BBB640D25}"/>
              </a:ext>
            </a:extLst>
          </p:cNvPr>
          <p:cNvSpPr txBox="1"/>
          <p:nvPr userDrawn="1"/>
        </p:nvSpPr>
        <p:spPr>
          <a:xfrm>
            <a:off x="11616243" y="6566446"/>
            <a:ext cx="139026" cy="138173"/>
          </a:xfrm>
          <a:prstGeom prst="rect">
            <a:avLst/>
          </a:prstGeom>
          <a:noFill/>
        </p:spPr>
        <p:txBody>
          <a:bodyPr vert="horz" wrap="none" lIns="0" tIns="0" rIns="0" bIns="0" rtlCol="0">
            <a:spAutoFit/>
          </a:bodyPr>
          <a:lstStyle/>
          <a:p>
            <a:pPr algn="l"/>
            <a:fld id="{9DFF35C5-69EC-45C4-9E5E-E57A74AD5067}" type="slidenum">
              <a:rPr lang="en-US" sz="867" b="0" i="0" baseline="0" smtClean="0"/>
              <a:pPr algn="l"/>
              <a:t>‹#›</a:t>
            </a:fld>
            <a:endParaRPr lang="en-US" sz="867" b="0" i="0" baseline="0" dirty="0"/>
          </a:p>
        </p:txBody>
      </p:sp>
      <p:sp>
        <p:nvSpPr>
          <p:cNvPr id="6" name="TextBox 5">
            <a:extLst>
              <a:ext uri="{FF2B5EF4-FFF2-40B4-BE49-F238E27FC236}">
                <a16:creationId xmlns:a16="http://schemas.microsoft.com/office/drawing/2014/main" id="{B98E00CB-46D5-4B50-BB47-D1C0898227A7}"/>
              </a:ext>
            </a:extLst>
          </p:cNvPr>
          <p:cNvSpPr txBox="1"/>
          <p:nvPr userDrawn="1"/>
        </p:nvSpPr>
        <p:spPr>
          <a:xfrm>
            <a:off x="161986" y="6566446"/>
            <a:ext cx="11270830" cy="136144"/>
          </a:xfrm>
          <a:prstGeom prst="rect">
            <a:avLst/>
          </a:prstGeom>
          <a:noFill/>
        </p:spPr>
        <p:txBody>
          <a:bodyPr vert="horz" wrap="none" lIns="0" tIns="0" rIns="0" bIns="0" rtlCol="0">
            <a:spAutoFit/>
          </a:bodyPr>
          <a:lstStyle/>
          <a:p>
            <a:pPr algn="l"/>
            <a:r>
              <a:rPr lang="en-US" sz="867" b="0" i="0" baseline="0" dirty="0">
                <a:solidFill>
                  <a:schemeClr val="tx1"/>
                </a:solidFill>
              </a:rPr>
              <a:t>Preliminary, pre-decisional, and deliberative. Based on input provided by State agency leaders and staff, to date, and subject to change. Content is descriptive only and is not meant to constitute legal, clinical, or policy advice.</a:t>
            </a:r>
          </a:p>
        </p:txBody>
      </p:sp>
    </p:spTree>
    <p:extLst>
      <p:ext uri="{BB962C8B-B14F-4D97-AF65-F5344CB8AC3E}">
        <p14:creationId xmlns:p14="http://schemas.microsoft.com/office/powerpoint/2010/main" val="2619266339"/>
      </p:ext>
    </p:extLst>
  </p:cSld>
  <p:clrMapOvr>
    <a:masterClrMapping/>
  </p:clrMapOvr>
  <p:extLst>
    <p:ext uri="{DCECCB84-F9BA-43D5-87BE-67443E8EF086}">
      <p15:sldGuideLst xmlns:p15="http://schemas.microsoft.com/office/powerpoint/2012/main">
        <p15:guide id="1" pos="7340">
          <p15:clr>
            <a:srgbClr val="F26B43"/>
          </p15:clr>
        </p15:guide>
        <p15:guide id="2" pos="99">
          <p15:clr>
            <a:srgbClr val="F26B43"/>
          </p15:clr>
        </p15:guide>
        <p15:guide id="3" orient="horz" pos="688">
          <p15:clr>
            <a:srgbClr val="F26B43"/>
          </p15:clr>
        </p15:guide>
        <p15:guide id="4" orient="horz" pos="3911">
          <p15:clr>
            <a:srgbClr val="F26B43"/>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8" name="Do not remove" hidden="1">
            <a:extLst>
              <a:ext uri="{FF2B5EF4-FFF2-40B4-BE49-F238E27FC236}">
                <a16:creationId xmlns:a16="http://schemas.microsoft.com/office/drawing/2014/main" id="{EB6172D0-61AA-4B78-8C8D-90376FB42DD3}"/>
              </a:ext>
            </a:extLst>
          </p:cNvPr>
          <p:cNvSpPr/>
          <p:nvPr userDrawn="1">
            <p:custDataLst>
              <p:tags r:id="rId1"/>
            </p:custDataLst>
          </p:nvPr>
        </p:nvSpPr>
        <p:spPr>
          <a:xfrm>
            <a:off x="0" y="0"/>
            <a:ext cx="12958" cy="12958"/>
          </a:xfrm>
          <a:prstGeom prst="octagon">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7" dirty="0">
              <a:solidFill>
                <a:schemeClr val="tx1"/>
              </a:solidFill>
            </a:endParaRPr>
          </a:p>
        </p:txBody>
      </p:sp>
      <p:graphicFrame>
        <p:nvGraphicFramePr>
          <p:cNvPr id="7" name="Object 6" hidden="1">
            <a:extLst>
              <a:ext uri="{FF2B5EF4-FFF2-40B4-BE49-F238E27FC236}">
                <a16:creationId xmlns:a16="http://schemas.microsoft.com/office/drawing/2014/main" id="{E27865BF-B7D0-4486-AA7E-82F9DB980EF9}"/>
              </a:ext>
            </a:extLst>
          </p:cNvPr>
          <p:cNvGraphicFramePr>
            <a:graphicFrameLocks noChangeAspect="1"/>
          </p:cNvGraphicFramePr>
          <p:nvPr userDrawn="1">
            <p:custDataLst>
              <p:tags r:id="rId2"/>
            </p:custData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7" name="Object 6" hidden="1">
                        <a:extLst>
                          <a:ext uri="{FF2B5EF4-FFF2-40B4-BE49-F238E27FC236}">
                            <a16:creationId xmlns:a16="http://schemas.microsoft.com/office/drawing/2014/main" id="{E27865BF-B7D0-4486-AA7E-82F9DB980EF9}"/>
                          </a:ext>
                        </a:extLst>
                      </p:cNvPr>
                      <p:cNvPicPr/>
                      <p:nvPr/>
                    </p:nvPicPr>
                    <p:blipFill>
                      <a:blip r:embed="rId7"/>
                      <a:stretch>
                        <a:fillRect/>
                      </a:stretch>
                    </p:blipFill>
                    <p:spPr>
                      <a:xfrm>
                        <a:off x="1620" y="1620"/>
                        <a:ext cx="1620" cy="162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02DE00F-3A59-4453-894F-EC7E2E48C523}"/>
              </a:ext>
            </a:extLst>
          </p:cNvPr>
          <p:cNvSpPr/>
          <p:nvPr userDrawn="1">
            <p:custDataLst>
              <p:tags r:id="rId3"/>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41" b="0"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2" name="2. Slide Title"/>
          <p:cNvSpPr>
            <a:spLocks noGrp="1"/>
          </p:cNvSpPr>
          <p:nvPr>
            <p:ph type="title"/>
          </p:nvPr>
        </p:nvSpPr>
        <p:spPr bwMode="gray">
          <a:xfrm>
            <a:off x="161987" y="234865"/>
            <a:ext cx="11725484" cy="314028"/>
          </a:xfrm>
        </p:spPr>
        <p:txBody>
          <a:bodyPr/>
          <a:lstStyle>
            <a:lvl1pPr>
              <a:defRPr>
                <a:solidFill>
                  <a:schemeClr val="tx1"/>
                </a:solidFill>
              </a:defRPr>
            </a:lvl1pPr>
          </a:lstStyle>
          <a:p>
            <a:r>
              <a:rPr lang="en-US"/>
              <a:t>Click to edit Master title style</a:t>
            </a:r>
            <a:endParaRPr lang="en-US" dirty="0"/>
          </a:p>
        </p:txBody>
      </p:sp>
      <p:sp>
        <p:nvSpPr>
          <p:cNvPr id="9" name="SlideLogoText" hidden="1"/>
          <p:cNvSpPr>
            <a:spLocks noChangeArrowheads="1"/>
          </p:cNvSpPr>
          <p:nvPr userDrawn="1">
            <p:custDataLst>
              <p:tags r:id="rId4"/>
            </p:custDataLst>
          </p:nvPr>
        </p:nvSpPr>
        <p:spPr bwMode="gray">
          <a:xfrm>
            <a:off x="10465075" y="6639224"/>
            <a:ext cx="1050047"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218095"/>
            <a:r>
              <a:rPr lang="en-US" sz="816" baseline="0" noProof="0" dirty="0">
                <a:solidFill>
                  <a:schemeClr val="accent6"/>
                </a:solidFill>
                <a:latin typeface="+mn-lt"/>
                <a:ea typeface="+mn-ea"/>
              </a:rPr>
              <a:t>McKinsey &amp; Company</a:t>
            </a:r>
          </a:p>
        </p:txBody>
      </p:sp>
      <p:sp>
        <p:nvSpPr>
          <p:cNvPr id="5" name="doc id" hidden="1"/>
          <p:cNvSpPr>
            <a:spLocks noChangeArrowheads="1"/>
          </p:cNvSpPr>
          <p:nvPr userDrawn="1"/>
        </p:nvSpPr>
        <p:spPr bwMode="gray">
          <a:xfrm flipH="1">
            <a:off x="10658002" y="51835"/>
            <a:ext cx="1231563" cy="96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8095"/>
            <a:endParaRPr lang="en-US" sz="612" baseline="0" noProof="0" dirty="0">
              <a:solidFill>
                <a:schemeClr val="accent6"/>
              </a:solidFill>
              <a:latin typeface="+mn-lt"/>
              <a:ea typeface="+mn-ea"/>
            </a:endParaRPr>
          </a:p>
        </p:txBody>
      </p:sp>
      <p:sp>
        <p:nvSpPr>
          <p:cNvPr id="3" name="TextBox 2">
            <a:extLst>
              <a:ext uri="{FF2B5EF4-FFF2-40B4-BE49-F238E27FC236}">
                <a16:creationId xmlns:a16="http://schemas.microsoft.com/office/drawing/2014/main" id="{3C4FC9C4-9C45-4B96-8A70-5C9BBB640D25}"/>
              </a:ext>
            </a:extLst>
          </p:cNvPr>
          <p:cNvSpPr txBox="1"/>
          <p:nvPr userDrawn="1"/>
        </p:nvSpPr>
        <p:spPr>
          <a:xfrm>
            <a:off x="11616243" y="6566446"/>
            <a:ext cx="139026" cy="138173"/>
          </a:xfrm>
          <a:prstGeom prst="rect">
            <a:avLst/>
          </a:prstGeom>
          <a:noFill/>
        </p:spPr>
        <p:txBody>
          <a:bodyPr vert="horz" wrap="none" lIns="0" tIns="0" rIns="0" bIns="0" rtlCol="0">
            <a:spAutoFit/>
          </a:bodyPr>
          <a:lstStyle/>
          <a:p>
            <a:pPr algn="l"/>
            <a:fld id="{9DFF35C5-69EC-45C4-9E5E-E57A74AD5067}" type="slidenum">
              <a:rPr lang="en-US" sz="867" b="0" i="0" baseline="0" smtClean="0"/>
              <a:pPr algn="l"/>
              <a:t>‹#›</a:t>
            </a:fld>
            <a:endParaRPr lang="en-US" sz="867" b="0" i="0" baseline="0" dirty="0"/>
          </a:p>
        </p:txBody>
      </p:sp>
      <p:sp>
        <p:nvSpPr>
          <p:cNvPr id="6" name="TextBox 5">
            <a:extLst>
              <a:ext uri="{FF2B5EF4-FFF2-40B4-BE49-F238E27FC236}">
                <a16:creationId xmlns:a16="http://schemas.microsoft.com/office/drawing/2014/main" id="{B98E00CB-46D5-4B50-BB47-D1C0898227A7}"/>
              </a:ext>
            </a:extLst>
          </p:cNvPr>
          <p:cNvSpPr txBox="1"/>
          <p:nvPr userDrawn="1"/>
        </p:nvSpPr>
        <p:spPr>
          <a:xfrm>
            <a:off x="161986" y="6566446"/>
            <a:ext cx="11270830" cy="136144"/>
          </a:xfrm>
          <a:prstGeom prst="rect">
            <a:avLst/>
          </a:prstGeom>
          <a:noFill/>
        </p:spPr>
        <p:txBody>
          <a:bodyPr vert="horz" wrap="none" lIns="0" tIns="0" rIns="0" bIns="0" rtlCol="0">
            <a:spAutoFit/>
          </a:bodyPr>
          <a:lstStyle/>
          <a:p>
            <a:pPr algn="l"/>
            <a:r>
              <a:rPr lang="en-US" sz="867" b="0" i="0" baseline="0" dirty="0">
                <a:solidFill>
                  <a:schemeClr val="tx1"/>
                </a:solidFill>
              </a:rPr>
              <a:t>Preliminary, pre-decisional, and deliberative. Based on input provided by State agency leaders and staff, to date, and subject to change. Content is descriptive only and is not meant to constitute legal, clinical, or policy advice.</a:t>
            </a:r>
          </a:p>
        </p:txBody>
      </p:sp>
    </p:spTree>
    <p:extLst>
      <p:ext uri="{BB962C8B-B14F-4D97-AF65-F5344CB8AC3E}">
        <p14:creationId xmlns:p14="http://schemas.microsoft.com/office/powerpoint/2010/main" val="599378821"/>
      </p:ext>
    </p:extLst>
  </p:cSld>
  <p:clrMapOvr>
    <a:masterClrMapping/>
  </p:clrMapOvr>
  <p:extLst>
    <p:ext uri="{DCECCB84-F9BA-43D5-87BE-67443E8EF086}">
      <p15:sldGuideLst xmlns:p15="http://schemas.microsoft.com/office/powerpoint/2012/main">
        <p15:guide id="1" pos="7340">
          <p15:clr>
            <a:srgbClr val="F26B43"/>
          </p15:clr>
        </p15:guide>
        <p15:guide id="2" pos="99">
          <p15:clr>
            <a:srgbClr val="F26B43"/>
          </p15:clr>
        </p15:guide>
        <p15:guide id="3" orient="horz" pos="688">
          <p15:clr>
            <a:srgbClr val="F26B43"/>
          </p15:clr>
        </p15:guide>
        <p15:guide id="4" orient="horz" pos="3911">
          <p15:clr>
            <a:srgbClr val="F26B43"/>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8" name="Do not remove" hidden="1">
            <a:extLst>
              <a:ext uri="{FF2B5EF4-FFF2-40B4-BE49-F238E27FC236}">
                <a16:creationId xmlns:a16="http://schemas.microsoft.com/office/drawing/2014/main" id="{EB6172D0-61AA-4B78-8C8D-90376FB42DD3}"/>
              </a:ext>
            </a:extLst>
          </p:cNvPr>
          <p:cNvSpPr/>
          <p:nvPr userDrawn="1">
            <p:custDataLst>
              <p:tags r:id="rId1"/>
            </p:custDataLst>
          </p:nvPr>
        </p:nvSpPr>
        <p:spPr>
          <a:xfrm>
            <a:off x="0" y="0"/>
            <a:ext cx="12958" cy="12958"/>
          </a:xfrm>
          <a:prstGeom prst="octagon">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7" dirty="0">
              <a:solidFill>
                <a:schemeClr val="tx1"/>
              </a:solidFill>
            </a:endParaRPr>
          </a:p>
        </p:txBody>
      </p:sp>
      <p:graphicFrame>
        <p:nvGraphicFramePr>
          <p:cNvPr id="7" name="Object 6" hidden="1">
            <a:extLst>
              <a:ext uri="{FF2B5EF4-FFF2-40B4-BE49-F238E27FC236}">
                <a16:creationId xmlns:a16="http://schemas.microsoft.com/office/drawing/2014/main" id="{E27865BF-B7D0-4486-AA7E-82F9DB980EF9}"/>
              </a:ext>
            </a:extLst>
          </p:cNvPr>
          <p:cNvGraphicFramePr>
            <a:graphicFrameLocks noChangeAspect="1"/>
          </p:cNvGraphicFramePr>
          <p:nvPr userDrawn="1">
            <p:custDataLst>
              <p:tags r:id="rId2"/>
            </p:custDataLst>
            <p:extLst>
              <p:ext uri="{D42A27DB-BD31-4B8C-83A1-F6EECF244321}">
                <p14:modId xmlns:p14="http://schemas.microsoft.com/office/powerpoint/2010/main" val="2494575730"/>
              </p:ext>
            </p:ext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7" name="Object 6" hidden="1">
                        <a:extLst>
                          <a:ext uri="{FF2B5EF4-FFF2-40B4-BE49-F238E27FC236}">
                            <a16:creationId xmlns:a16="http://schemas.microsoft.com/office/drawing/2014/main" id="{E27865BF-B7D0-4486-AA7E-82F9DB980EF9}"/>
                          </a:ext>
                        </a:extLst>
                      </p:cNvPr>
                      <p:cNvPicPr/>
                      <p:nvPr/>
                    </p:nvPicPr>
                    <p:blipFill>
                      <a:blip r:embed="rId7"/>
                      <a:stretch>
                        <a:fillRect/>
                      </a:stretch>
                    </p:blipFill>
                    <p:spPr>
                      <a:xfrm>
                        <a:off x="1620" y="1620"/>
                        <a:ext cx="1620" cy="162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02DE00F-3A59-4453-894F-EC7E2E48C523}"/>
              </a:ext>
            </a:extLst>
          </p:cNvPr>
          <p:cNvSpPr/>
          <p:nvPr userDrawn="1">
            <p:custDataLst>
              <p:tags r:id="rId3"/>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41" b="0"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2" name="2. Slide Title"/>
          <p:cNvSpPr>
            <a:spLocks noGrp="1"/>
          </p:cNvSpPr>
          <p:nvPr>
            <p:ph type="title"/>
          </p:nvPr>
        </p:nvSpPr>
        <p:spPr bwMode="gray">
          <a:xfrm>
            <a:off x="161987" y="234865"/>
            <a:ext cx="11725484" cy="314028"/>
          </a:xfrm>
        </p:spPr>
        <p:txBody>
          <a:bodyPr/>
          <a:lstStyle>
            <a:lvl1pPr>
              <a:defRPr>
                <a:solidFill>
                  <a:schemeClr val="tx1"/>
                </a:solidFill>
              </a:defRPr>
            </a:lvl1pPr>
          </a:lstStyle>
          <a:p>
            <a:r>
              <a:rPr lang="en-US"/>
              <a:t>Click to edit Master title style</a:t>
            </a:r>
            <a:endParaRPr lang="en-US" dirty="0"/>
          </a:p>
        </p:txBody>
      </p:sp>
      <p:sp>
        <p:nvSpPr>
          <p:cNvPr id="9" name="SlideLogoText" hidden="1"/>
          <p:cNvSpPr>
            <a:spLocks noChangeArrowheads="1"/>
          </p:cNvSpPr>
          <p:nvPr userDrawn="1">
            <p:custDataLst>
              <p:tags r:id="rId4"/>
            </p:custDataLst>
          </p:nvPr>
        </p:nvSpPr>
        <p:spPr bwMode="gray">
          <a:xfrm>
            <a:off x="10465075" y="6639224"/>
            <a:ext cx="1050047"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218095"/>
            <a:r>
              <a:rPr lang="en-US" sz="816" baseline="0" noProof="0" dirty="0">
                <a:solidFill>
                  <a:schemeClr val="accent6"/>
                </a:solidFill>
                <a:latin typeface="+mn-lt"/>
                <a:ea typeface="+mn-ea"/>
              </a:rPr>
              <a:t>McKinsey &amp; Company</a:t>
            </a:r>
          </a:p>
        </p:txBody>
      </p:sp>
      <p:sp>
        <p:nvSpPr>
          <p:cNvPr id="5" name="doc id" hidden="1"/>
          <p:cNvSpPr>
            <a:spLocks noChangeArrowheads="1"/>
          </p:cNvSpPr>
          <p:nvPr userDrawn="1"/>
        </p:nvSpPr>
        <p:spPr bwMode="gray">
          <a:xfrm flipH="1">
            <a:off x="10658002" y="51835"/>
            <a:ext cx="1231563" cy="96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8095"/>
            <a:endParaRPr lang="en-US" sz="612" baseline="0" noProof="0" dirty="0">
              <a:solidFill>
                <a:schemeClr val="accent6"/>
              </a:solidFill>
              <a:latin typeface="+mn-lt"/>
              <a:ea typeface="+mn-ea"/>
            </a:endParaRPr>
          </a:p>
        </p:txBody>
      </p:sp>
      <p:sp>
        <p:nvSpPr>
          <p:cNvPr id="3" name="TextBox 2">
            <a:extLst>
              <a:ext uri="{FF2B5EF4-FFF2-40B4-BE49-F238E27FC236}">
                <a16:creationId xmlns:a16="http://schemas.microsoft.com/office/drawing/2014/main" id="{3C4FC9C4-9C45-4B96-8A70-5C9BBB640D25}"/>
              </a:ext>
            </a:extLst>
          </p:cNvPr>
          <p:cNvSpPr txBox="1"/>
          <p:nvPr userDrawn="1"/>
        </p:nvSpPr>
        <p:spPr>
          <a:xfrm>
            <a:off x="11616243" y="6566446"/>
            <a:ext cx="139026" cy="138173"/>
          </a:xfrm>
          <a:prstGeom prst="rect">
            <a:avLst/>
          </a:prstGeom>
          <a:noFill/>
        </p:spPr>
        <p:txBody>
          <a:bodyPr vert="horz" wrap="none" lIns="0" tIns="0" rIns="0" bIns="0" rtlCol="0">
            <a:spAutoFit/>
          </a:bodyPr>
          <a:lstStyle/>
          <a:p>
            <a:pPr algn="l"/>
            <a:fld id="{9DFF35C5-69EC-45C4-9E5E-E57A74AD5067}" type="slidenum">
              <a:rPr lang="en-US" sz="867" b="0" i="0" baseline="0" smtClean="0"/>
              <a:pPr algn="l"/>
              <a:t>‹#›</a:t>
            </a:fld>
            <a:endParaRPr lang="en-US" sz="867" b="0" i="0" baseline="0" dirty="0"/>
          </a:p>
        </p:txBody>
      </p:sp>
      <p:sp>
        <p:nvSpPr>
          <p:cNvPr id="6" name="TextBox 5">
            <a:extLst>
              <a:ext uri="{FF2B5EF4-FFF2-40B4-BE49-F238E27FC236}">
                <a16:creationId xmlns:a16="http://schemas.microsoft.com/office/drawing/2014/main" id="{B98E00CB-46D5-4B50-BB47-D1C0898227A7}"/>
              </a:ext>
            </a:extLst>
          </p:cNvPr>
          <p:cNvSpPr txBox="1"/>
          <p:nvPr userDrawn="1"/>
        </p:nvSpPr>
        <p:spPr>
          <a:xfrm>
            <a:off x="161986" y="6566446"/>
            <a:ext cx="11270830" cy="136144"/>
          </a:xfrm>
          <a:prstGeom prst="rect">
            <a:avLst/>
          </a:prstGeom>
          <a:noFill/>
        </p:spPr>
        <p:txBody>
          <a:bodyPr vert="horz" wrap="none" lIns="0" tIns="0" rIns="0" bIns="0" rtlCol="0">
            <a:spAutoFit/>
          </a:bodyPr>
          <a:lstStyle/>
          <a:p>
            <a:pPr algn="l"/>
            <a:r>
              <a:rPr lang="en-US" sz="867" b="0" i="0" baseline="0" dirty="0">
                <a:solidFill>
                  <a:schemeClr val="tx1"/>
                </a:solidFill>
              </a:rPr>
              <a:t>Preliminary, pre-decisional, and deliberative. Based on input provided by State agency leaders and staff, to date, and subject to change. Content is descriptive only and is not meant to constitute legal, clinical, or policy advice.</a:t>
            </a:r>
          </a:p>
        </p:txBody>
      </p:sp>
    </p:spTree>
    <p:extLst>
      <p:ext uri="{BB962C8B-B14F-4D97-AF65-F5344CB8AC3E}">
        <p14:creationId xmlns:p14="http://schemas.microsoft.com/office/powerpoint/2010/main" val="3318720033"/>
      </p:ext>
    </p:extLst>
  </p:cSld>
  <p:clrMapOvr>
    <a:masterClrMapping/>
  </p:clrMapOvr>
  <p:extLst>
    <p:ext uri="{DCECCB84-F9BA-43D5-87BE-67443E8EF086}">
      <p15:sldGuideLst xmlns:p15="http://schemas.microsoft.com/office/powerpoint/2012/main">
        <p15:guide id="1" pos="7340">
          <p15:clr>
            <a:srgbClr val="F26B43"/>
          </p15:clr>
        </p15:guide>
        <p15:guide id="2" pos="99">
          <p15:clr>
            <a:srgbClr val="F26B43"/>
          </p15:clr>
        </p15:guide>
        <p15:guide id="3" orient="horz" pos="688">
          <p15:clr>
            <a:srgbClr val="F26B43"/>
          </p15:clr>
        </p15:guide>
        <p15:guide id="4" orient="horz" pos="3911">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8" name="Do not remove" hidden="1">
            <a:extLst>
              <a:ext uri="{FF2B5EF4-FFF2-40B4-BE49-F238E27FC236}">
                <a16:creationId xmlns:a16="http://schemas.microsoft.com/office/drawing/2014/main" id="{EB6172D0-61AA-4B78-8C8D-90376FB42DD3}"/>
              </a:ext>
            </a:extLst>
          </p:cNvPr>
          <p:cNvSpPr/>
          <p:nvPr userDrawn="1">
            <p:custDataLst>
              <p:tags r:id="rId1"/>
            </p:custDataLst>
          </p:nvPr>
        </p:nvSpPr>
        <p:spPr>
          <a:xfrm>
            <a:off x="0" y="0"/>
            <a:ext cx="12958" cy="12958"/>
          </a:xfrm>
          <a:prstGeom prst="octagon">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7" dirty="0" err="1">
              <a:solidFill>
                <a:schemeClr val="tx1"/>
              </a:solidFill>
            </a:endParaRPr>
          </a:p>
        </p:txBody>
      </p:sp>
      <p:graphicFrame>
        <p:nvGraphicFramePr>
          <p:cNvPr id="7" name="Object 6" hidden="1">
            <a:extLst>
              <a:ext uri="{FF2B5EF4-FFF2-40B4-BE49-F238E27FC236}">
                <a16:creationId xmlns:a16="http://schemas.microsoft.com/office/drawing/2014/main" id="{E27865BF-B7D0-4486-AA7E-82F9DB980EF9}"/>
              </a:ext>
            </a:extLst>
          </p:cNvPr>
          <p:cNvGraphicFramePr>
            <a:graphicFrameLocks noChangeAspect="1"/>
          </p:cNvGraphicFramePr>
          <p:nvPr userDrawn="1">
            <p:custDataLst>
              <p:tags r:id="rId2"/>
            </p:custDataLst>
            <p:extLst>
              <p:ext uri="{D42A27DB-BD31-4B8C-83A1-F6EECF244321}">
                <p14:modId xmlns:p14="http://schemas.microsoft.com/office/powerpoint/2010/main" val="2462899914"/>
              </p:ext>
            </p:ext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7" name="Object 6" hidden="1">
                        <a:extLst>
                          <a:ext uri="{FF2B5EF4-FFF2-40B4-BE49-F238E27FC236}">
                            <a16:creationId xmlns:a16="http://schemas.microsoft.com/office/drawing/2014/main" id="{E27865BF-B7D0-4486-AA7E-82F9DB980EF9}"/>
                          </a:ext>
                        </a:extLst>
                      </p:cNvPr>
                      <p:cNvPicPr/>
                      <p:nvPr/>
                    </p:nvPicPr>
                    <p:blipFill>
                      <a:blip r:embed="rId7"/>
                      <a:stretch>
                        <a:fillRect/>
                      </a:stretch>
                    </p:blipFill>
                    <p:spPr>
                      <a:xfrm>
                        <a:off x="1620" y="1620"/>
                        <a:ext cx="1620" cy="162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02DE00F-3A59-4453-894F-EC7E2E48C523}"/>
              </a:ext>
            </a:extLst>
          </p:cNvPr>
          <p:cNvSpPr/>
          <p:nvPr userDrawn="1">
            <p:custDataLst>
              <p:tags r:id="rId3"/>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41" b="0" i="0" baseline="0" dirty="0" err="1">
              <a:solidFill>
                <a:schemeClr val="tx1"/>
              </a:solidFill>
              <a:latin typeface="Arial" panose="020B0604020202020204" pitchFamily="34" charset="0"/>
              <a:ea typeface="+mj-ea"/>
              <a:cs typeface="+mj-cs"/>
              <a:sym typeface="Arial" panose="020B0604020202020204" pitchFamily="34" charset="0"/>
            </a:endParaRPr>
          </a:p>
        </p:txBody>
      </p:sp>
      <p:sp>
        <p:nvSpPr>
          <p:cNvPr id="2" name="2. Slide Title"/>
          <p:cNvSpPr>
            <a:spLocks noGrp="1"/>
          </p:cNvSpPr>
          <p:nvPr>
            <p:ph type="title"/>
          </p:nvPr>
        </p:nvSpPr>
        <p:spPr bwMode="gray">
          <a:xfrm>
            <a:off x="161987" y="234865"/>
            <a:ext cx="11725484" cy="314028"/>
          </a:xfrm>
        </p:spPr>
        <p:txBody>
          <a:bodyPr/>
          <a:lstStyle>
            <a:lvl1pPr>
              <a:defRPr>
                <a:solidFill>
                  <a:schemeClr val="tx1"/>
                </a:solidFill>
              </a:defRPr>
            </a:lvl1pPr>
          </a:lstStyle>
          <a:p>
            <a:r>
              <a:rPr lang="en-US"/>
              <a:t>Click to edit Master title style</a:t>
            </a:r>
            <a:endParaRPr lang="en-US" dirty="0"/>
          </a:p>
        </p:txBody>
      </p:sp>
      <p:sp>
        <p:nvSpPr>
          <p:cNvPr id="9" name="SlideLogoText" hidden="1"/>
          <p:cNvSpPr>
            <a:spLocks noChangeArrowheads="1"/>
          </p:cNvSpPr>
          <p:nvPr userDrawn="1">
            <p:custDataLst>
              <p:tags r:id="rId4"/>
            </p:custDataLst>
          </p:nvPr>
        </p:nvSpPr>
        <p:spPr bwMode="gray">
          <a:xfrm>
            <a:off x="10465075" y="6639224"/>
            <a:ext cx="1050047"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218095"/>
            <a:r>
              <a:rPr lang="en-US" sz="816" baseline="0" noProof="0" dirty="0">
                <a:solidFill>
                  <a:schemeClr val="accent6"/>
                </a:solidFill>
                <a:latin typeface="+mn-lt"/>
                <a:ea typeface="+mn-ea"/>
              </a:rPr>
              <a:t>McKinsey &amp; Company</a:t>
            </a:r>
          </a:p>
        </p:txBody>
      </p:sp>
      <p:sp>
        <p:nvSpPr>
          <p:cNvPr id="5" name="doc id" hidden="1"/>
          <p:cNvSpPr>
            <a:spLocks noChangeArrowheads="1"/>
          </p:cNvSpPr>
          <p:nvPr userDrawn="1"/>
        </p:nvSpPr>
        <p:spPr bwMode="gray">
          <a:xfrm flipH="1">
            <a:off x="10658002" y="51835"/>
            <a:ext cx="1231563" cy="96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8095"/>
            <a:endParaRPr lang="en-US" sz="612" baseline="0" noProof="0" dirty="0">
              <a:solidFill>
                <a:schemeClr val="accent6"/>
              </a:solidFill>
              <a:latin typeface="+mn-lt"/>
              <a:ea typeface="+mn-ea"/>
            </a:endParaRPr>
          </a:p>
        </p:txBody>
      </p:sp>
      <p:sp>
        <p:nvSpPr>
          <p:cNvPr id="3" name="TextBox 2">
            <a:extLst>
              <a:ext uri="{FF2B5EF4-FFF2-40B4-BE49-F238E27FC236}">
                <a16:creationId xmlns:a16="http://schemas.microsoft.com/office/drawing/2014/main" id="{3C4FC9C4-9C45-4B96-8A70-5C9BBB640D25}"/>
              </a:ext>
            </a:extLst>
          </p:cNvPr>
          <p:cNvSpPr txBox="1"/>
          <p:nvPr userDrawn="1"/>
        </p:nvSpPr>
        <p:spPr>
          <a:xfrm>
            <a:off x="11616243" y="6566446"/>
            <a:ext cx="139026" cy="138173"/>
          </a:xfrm>
          <a:prstGeom prst="rect">
            <a:avLst/>
          </a:prstGeom>
          <a:noFill/>
        </p:spPr>
        <p:txBody>
          <a:bodyPr vert="horz" wrap="none" lIns="0" tIns="0" rIns="0" bIns="0" rtlCol="0">
            <a:spAutoFit/>
          </a:bodyPr>
          <a:lstStyle/>
          <a:p>
            <a:pPr algn="l"/>
            <a:fld id="{9DFF35C5-69EC-45C4-9E5E-E57A74AD5067}" type="slidenum">
              <a:rPr lang="en-US" sz="867" b="0" i="0" baseline="0" smtClean="0"/>
              <a:pPr algn="l"/>
              <a:t>‹#›</a:t>
            </a:fld>
            <a:endParaRPr lang="en-US" sz="867" b="0" i="0" baseline="0"/>
          </a:p>
        </p:txBody>
      </p:sp>
      <p:sp>
        <p:nvSpPr>
          <p:cNvPr id="6" name="TextBox 5">
            <a:extLst>
              <a:ext uri="{FF2B5EF4-FFF2-40B4-BE49-F238E27FC236}">
                <a16:creationId xmlns:a16="http://schemas.microsoft.com/office/drawing/2014/main" id="{B98E00CB-46D5-4B50-BB47-D1C0898227A7}"/>
              </a:ext>
            </a:extLst>
          </p:cNvPr>
          <p:cNvSpPr txBox="1"/>
          <p:nvPr userDrawn="1"/>
        </p:nvSpPr>
        <p:spPr>
          <a:xfrm>
            <a:off x="161986" y="6566446"/>
            <a:ext cx="11270830" cy="136144"/>
          </a:xfrm>
          <a:prstGeom prst="rect">
            <a:avLst/>
          </a:prstGeom>
          <a:noFill/>
        </p:spPr>
        <p:txBody>
          <a:bodyPr vert="horz" wrap="none" lIns="0" tIns="0" rIns="0" bIns="0" rtlCol="0">
            <a:spAutoFit/>
          </a:bodyPr>
          <a:lstStyle/>
          <a:p>
            <a:pPr algn="l"/>
            <a:r>
              <a:rPr lang="en-US" sz="867" b="0" i="0" baseline="0" dirty="0">
                <a:solidFill>
                  <a:schemeClr val="tx1"/>
                </a:solidFill>
              </a:rPr>
              <a:t>Preliminary, pre-decisional, and deliberative. Based on input provided by State agency leaders and staff, to date, and subject to change. Content is descriptive only and is not meant to constitute legal, clinical, or policy advice.</a:t>
            </a:r>
          </a:p>
        </p:txBody>
      </p:sp>
    </p:spTree>
    <p:extLst>
      <p:ext uri="{BB962C8B-B14F-4D97-AF65-F5344CB8AC3E}">
        <p14:creationId xmlns:p14="http://schemas.microsoft.com/office/powerpoint/2010/main" val="1769876079"/>
      </p:ext>
    </p:extLst>
  </p:cSld>
  <p:clrMapOvr>
    <a:masterClrMapping/>
  </p:clrMapOvr>
  <p:extLst>
    <p:ext uri="{DCECCB84-F9BA-43D5-87BE-67443E8EF086}">
      <p15:sldGuideLst xmlns:p15="http://schemas.microsoft.com/office/powerpoint/2012/main">
        <p15:guide id="1" pos="7340">
          <p15:clr>
            <a:srgbClr val="F26B43"/>
          </p15:clr>
        </p15:guide>
        <p15:guide id="2" pos="99">
          <p15:clr>
            <a:srgbClr val="F26B43"/>
          </p15:clr>
        </p15:guide>
        <p15:guide id="3" orient="horz" pos="688">
          <p15:clr>
            <a:srgbClr val="F26B43"/>
          </p15:clr>
        </p15:guide>
        <p15:guide id="4" orient="horz" pos="3911">
          <p15:clr>
            <a:srgbClr val="F26B43"/>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8" name="Do not remove" hidden="1">
            <a:extLst>
              <a:ext uri="{FF2B5EF4-FFF2-40B4-BE49-F238E27FC236}">
                <a16:creationId xmlns:a16="http://schemas.microsoft.com/office/drawing/2014/main" id="{EB6172D0-61AA-4B78-8C8D-90376FB42DD3}"/>
              </a:ext>
            </a:extLst>
          </p:cNvPr>
          <p:cNvSpPr/>
          <p:nvPr userDrawn="1">
            <p:custDataLst>
              <p:tags r:id="rId1"/>
            </p:custDataLst>
          </p:nvPr>
        </p:nvSpPr>
        <p:spPr>
          <a:xfrm>
            <a:off x="0" y="0"/>
            <a:ext cx="12958" cy="12958"/>
          </a:xfrm>
          <a:prstGeom prst="octagon">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7" dirty="0" err="1">
              <a:solidFill>
                <a:schemeClr val="tx1"/>
              </a:solidFill>
            </a:endParaRPr>
          </a:p>
        </p:txBody>
      </p:sp>
      <p:graphicFrame>
        <p:nvGraphicFramePr>
          <p:cNvPr id="7" name="Object 6" hidden="1">
            <a:extLst>
              <a:ext uri="{FF2B5EF4-FFF2-40B4-BE49-F238E27FC236}">
                <a16:creationId xmlns:a16="http://schemas.microsoft.com/office/drawing/2014/main" id="{E27865BF-B7D0-4486-AA7E-82F9DB980EF9}"/>
              </a:ext>
            </a:extLst>
          </p:cNvPr>
          <p:cNvGraphicFramePr>
            <a:graphicFrameLocks noChangeAspect="1"/>
          </p:cNvGraphicFramePr>
          <p:nvPr userDrawn="1">
            <p:custDataLst>
              <p:tags r:id="rId2"/>
            </p:custDataLst>
            <p:extLst>
              <p:ext uri="{D42A27DB-BD31-4B8C-83A1-F6EECF244321}">
                <p14:modId xmlns:p14="http://schemas.microsoft.com/office/powerpoint/2010/main" val="364437361"/>
              </p:ext>
            </p:ext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7" name="Object 6" hidden="1">
                        <a:extLst>
                          <a:ext uri="{FF2B5EF4-FFF2-40B4-BE49-F238E27FC236}">
                            <a16:creationId xmlns:a16="http://schemas.microsoft.com/office/drawing/2014/main" id="{E27865BF-B7D0-4486-AA7E-82F9DB980EF9}"/>
                          </a:ext>
                        </a:extLst>
                      </p:cNvPr>
                      <p:cNvPicPr/>
                      <p:nvPr/>
                    </p:nvPicPr>
                    <p:blipFill>
                      <a:blip r:embed="rId7"/>
                      <a:stretch>
                        <a:fillRect/>
                      </a:stretch>
                    </p:blipFill>
                    <p:spPr>
                      <a:xfrm>
                        <a:off x="1620" y="1620"/>
                        <a:ext cx="1620" cy="162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02DE00F-3A59-4453-894F-EC7E2E48C523}"/>
              </a:ext>
            </a:extLst>
          </p:cNvPr>
          <p:cNvSpPr/>
          <p:nvPr userDrawn="1">
            <p:custDataLst>
              <p:tags r:id="rId3"/>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41" b="0" i="0" baseline="0" dirty="0" err="1">
              <a:solidFill>
                <a:schemeClr val="tx1"/>
              </a:solidFill>
              <a:latin typeface="Arial" panose="020B0604020202020204" pitchFamily="34" charset="0"/>
              <a:ea typeface="+mj-ea"/>
              <a:cs typeface="+mj-cs"/>
              <a:sym typeface="Arial" panose="020B0604020202020204" pitchFamily="34" charset="0"/>
            </a:endParaRPr>
          </a:p>
        </p:txBody>
      </p:sp>
      <p:sp>
        <p:nvSpPr>
          <p:cNvPr id="2" name="2. Slide Title"/>
          <p:cNvSpPr>
            <a:spLocks noGrp="1"/>
          </p:cNvSpPr>
          <p:nvPr>
            <p:ph type="title"/>
          </p:nvPr>
        </p:nvSpPr>
        <p:spPr bwMode="gray">
          <a:xfrm>
            <a:off x="161987" y="234865"/>
            <a:ext cx="11725484" cy="314028"/>
          </a:xfrm>
        </p:spPr>
        <p:txBody>
          <a:bodyPr/>
          <a:lstStyle>
            <a:lvl1pPr>
              <a:defRPr>
                <a:solidFill>
                  <a:schemeClr val="tx1"/>
                </a:solidFill>
              </a:defRPr>
            </a:lvl1pPr>
          </a:lstStyle>
          <a:p>
            <a:r>
              <a:rPr lang="en-US"/>
              <a:t>Click to edit Master title style</a:t>
            </a:r>
            <a:endParaRPr lang="en-US" dirty="0"/>
          </a:p>
        </p:txBody>
      </p:sp>
      <p:sp>
        <p:nvSpPr>
          <p:cNvPr id="9" name="SlideLogoText" hidden="1"/>
          <p:cNvSpPr>
            <a:spLocks noChangeArrowheads="1"/>
          </p:cNvSpPr>
          <p:nvPr userDrawn="1">
            <p:custDataLst>
              <p:tags r:id="rId4"/>
            </p:custDataLst>
          </p:nvPr>
        </p:nvSpPr>
        <p:spPr bwMode="gray">
          <a:xfrm>
            <a:off x="10465075" y="6639224"/>
            <a:ext cx="1050047"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218095"/>
            <a:r>
              <a:rPr lang="en-US" sz="816" baseline="0" noProof="0" dirty="0">
                <a:solidFill>
                  <a:schemeClr val="accent6"/>
                </a:solidFill>
                <a:latin typeface="+mn-lt"/>
                <a:ea typeface="+mn-ea"/>
              </a:rPr>
              <a:t>McKinsey &amp; Company</a:t>
            </a:r>
          </a:p>
        </p:txBody>
      </p:sp>
      <p:sp>
        <p:nvSpPr>
          <p:cNvPr id="5" name="doc id" hidden="1"/>
          <p:cNvSpPr>
            <a:spLocks noChangeArrowheads="1"/>
          </p:cNvSpPr>
          <p:nvPr userDrawn="1"/>
        </p:nvSpPr>
        <p:spPr bwMode="gray">
          <a:xfrm flipH="1">
            <a:off x="10658002" y="51835"/>
            <a:ext cx="1231563" cy="96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8095"/>
            <a:endParaRPr lang="en-US" sz="612" baseline="0" noProof="0" dirty="0">
              <a:solidFill>
                <a:schemeClr val="accent6"/>
              </a:solidFill>
              <a:latin typeface="+mn-lt"/>
              <a:ea typeface="+mn-ea"/>
            </a:endParaRPr>
          </a:p>
        </p:txBody>
      </p:sp>
      <p:sp>
        <p:nvSpPr>
          <p:cNvPr id="3" name="TextBox 2">
            <a:extLst>
              <a:ext uri="{FF2B5EF4-FFF2-40B4-BE49-F238E27FC236}">
                <a16:creationId xmlns:a16="http://schemas.microsoft.com/office/drawing/2014/main" id="{3C4FC9C4-9C45-4B96-8A70-5C9BBB640D25}"/>
              </a:ext>
            </a:extLst>
          </p:cNvPr>
          <p:cNvSpPr txBox="1"/>
          <p:nvPr userDrawn="1"/>
        </p:nvSpPr>
        <p:spPr>
          <a:xfrm>
            <a:off x="11616243" y="6566446"/>
            <a:ext cx="139026" cy="138173"/>
          </a:xfrm>
          <a:prstGeom prst="rect">
            <a:avLst/>
          </a:prstGeom>
          <a:noFill/>
        </p:spPr>
        <p:txBody>
          <a:bodyPr vert="horz" wrap="none" lIns="0" tIns="0" rIns="0" bIns="0" rtlCol="0">
            <a:spAutoFit/>
          </a:bodyPr>
          <a:lstStyle/>
          <a:p>
            <a:pPr algn="l"/>
            <a:fld id="{9DFF35C5-69EC-45C4-9E5E-E57A74AD5067}" type="slidenum">
              <a:rPr lang="en-US" sz="867" b="0" i="0" baseline="0" smtClean="0"/>
              <a:pPr algn="l"/>
              <a:t>‹#›</a:t>
            </a:fld>
            <a:endParaRPr lang="en-US" sz="867" b="0" i="0" baseline="0"/>
          </a:p>
        </p:txBody>
      </p:sp>
      <p:sp>
        <p:nvSpPr>
          <p:cNvPr id="6" name="TextBox 5">
            <a:extLst>
              <a:ext uri="{FF2B5EF4-FFF2-40B4-BE49-F238E27FC236}">
                <a16:creationId xmlns:a16="http://schemas.microsoft.com/office/drawing/2014/main" id="{B98E00CB-46D5-4B50-BB47-D1C0898227A7}"/>
              </a:ext>
            </a:extLst>
          </p:cNvPr>
          <p:cNvSpPr txBox="1"/>
          <p:nvPr userDrawn="1"/>
        </p:nvSpPr>
        <p:spPr>
          <a:xfrm>
            <a:off x="161986" y="6566446"/>
            <a:ext cx="11270830" cy="136144"/>
          </a:xfrm>
          <a:prstGeom prst="rect">
            <a:avLst/>
          </a:prstGeom>
          <a:noFill/>
        </p:spPr>
        <p:txBody>
          <a:bodyPr vert="horz" wrap="none" lIns="0" tIns="0" rIns="0" bIns="0" rtlCol="0">
            <a:spAutoFit/>
          </a:bodyPr>
          <a:lstStyle/>
          <a:p>
            <a:pPr algn="l"/>
            <a:r>
              <a:rPr lang="en-US" sz="867" b="0" i="0" baseline="0" dirty="0">
                <a:solidFill>
                  <a:schemeClr val="tx1"/>
                </a:solidFill>
              </a:rPr>
              <a:t>Preliminary, pre-decisional, and deliberative. Based on input provided by State agency leaders and staff, to date, and subject to change. Content is descriptive only and is not meant to constitute legal, clinical, or policy advice.</a:t>
            </a:r>
          </a:p>
        </p:txBody>
      </p:sp>
    </p:spTree>
    <p:extLst>
      <p:ext uri="{BB962C8B-B14F-4D97-AF65-F5344CB8AC3E}">
        <p14:creationId xmlns:p14="http://schemas.microsoft.com/office/powerpoint/2010/main" val="3262134243"/>
      </p:ext>
    </p:extLst>
  </p:cSld>
  <p:clrMapOvr>
    <a:masterClrMapping/>
  </p:clrMapOvr>
  <p:extLst>
    <p:ext uri="{DCECCB84-F9BA-43D5-87BE-67443E8EF086}">
      <p15:sldGuideLst xmlns:p15="http://schemas.microsoft.com/office/powerpoint/2012/main">
        <p15:guide id="1" pos="7340">
          <p15:clr>
            <a:srgbClr val="F26B43"/>
          </p15:clr>
        </p15:guide>
        <p15:guide id="2" pos="99">
          <p15:clr>
            <a:srgbClr val="F26B43"/>
          </p15:clr>
        </p15:guide>
        <p15:guide id="3" orient="horz" pos="688">
          <p15:clr>
            <a:srgbClr val="F26B43"/>
          </p15:clr>
        </p15:guide>
        <p15:guide id="4" orient="horz" pos="3911">
          <p15:clr>
            <a:srgbClr val="F26B43"/>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CustomLayouts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5521F6-3624-4E46-8DE6-C346D856E02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F1471D4-F2AA-42C2-9625-D60E9871488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DB3B1F8F-0A7A-4847-9FAE-5AA15CE1DF6D}"/>
              </a:ext>
            </a:extLst>
          </p:cNvPr>
          <p:cNvSpPr txBox="1"/>
          <p:nvPr userDrawn="1"/>
        </p:nvSpPr>
        <p:spPr>
          <a:xfrm>
            <a:off x="11896985" y="6616957"/>
            <a:ext cx="136256" cy="135422"/>
          </a:xfrm>
          <a:prstGeom prst="rect">
            <a:avLst/>
          </a:prstGeom>
          <a:noFill/>
        </p:spPr>
        <p:txBody>
          <a:bodyPr vert="horz" wrap="none" lIns="0" tIns="0" rIns="0" bIns="0" rtlCol="0">
            <a:spAutoFit/>
          </a:bodyPr>
          <a:lstStyle/>
          <a:p>
            <a:pPr algn="l"/>
            <a:fld id="{9DFF35C5-69EC-45C4-9E5E-E57A74AD5067}" type="slidenum">
              <a:rPr lang="en-US" sz="850" b="0" i="0" baseline="0" smtClean="0"/>
              <a:pPr algn="l"/>
              <a:t>‹#›</a:t>
            </a:fld>
            <a:endParaRPr lang="en-US" sz="850" b="0" i="0" baseline="0" dirty="0"/>
          </a:p>
        </p:txBody>
      </p:sp>
    </p:spTree>
    <p:extLst>
      <p:ext uri="{BB962C8B-B14F-4D97-AF65-F5344CB8AC3E}">
        <p14:creationId xmlns:p14="http://schemas.microsoft.com/office/powerpoint/2010/main" val="8832906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TxTwoObj" preserve="1">
  <p:cSld name="CustomLayouts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C51185-4306-4E69-B066-27627645E44D}"/>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404D7CA-3CA2-4726-B50E-3FBAC9DD140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D249CA9-9C65-4C04-B6ED-AD1837838EA7}"/>
              </a:ext>
            </a:extLst>
          </p:cNvPr>
          <p:cNvSpPr>
            <a:spLocks noGrp="1"/>
          </p:cNvSpPr>
          <p:nvPr>
            <p:ph sz="half" idx="2"/>
          </p:nvPr>
        </p:nvSpPr>
        <p:spPr>
          <a:xfrm>
            <a:off x="839788" y="2505075"/>
            <a:ext cx="5157787" cy="36845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A6A3DCAE-328E-446A-94AF-9D67C5161C0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B62467F-E28B-49ED-91DA-A2734D4CDBD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Box 10">
            <a:extLst>
              <a:ext uri="{FF2B5EF4-FFF2-40B4-BE49-F238E27FC236}">
                <a16:creationId xmlns:a16="http://schemas.microsoft.com/office/drawing/2014/main" id="{1118CF51-E412-4B5B-BC2B-D03C2545FBEB}"/>
              </a:ext>
            </a:extLst>
          </p:cNvPr>
          <p:cNvSpPr txBox="1"/>
          <p:nvPr userDrawn="1"/>
        </p:nvSpPr>
        <p:spPr>
          <a:xfrm>
            <a:off x="11896985" y="6616957"/>
            <a:ext cx="136256" cy="135422"/>
          </a:xfrm>
          <a:prstGeom prst="rect">
            <a:avLst/>
          </a:prstGeom>
          <a:noFill/>
        </p:spPr>
        <p:txBody>
          <a:bodyPr vert="horz" wrap="none" lIns="0" tIns="0" rIns="0" bIns="0" rtlCol="0">
            <a:spAutoFit/>
          </a:bodyPr>
          <a:lstStyle/>
          <a:p>
            <a:pPr algn="l"/>
            <a:fld id="{9DFF35C5-69EC-45C4-9E5E-E57A74AD5067}" type="slidenum">
              <a:rPr lang="en-US" sz="850" b="0" i="0" baseline="0" smtClean="0"/>
              <a:pPr algn="l"/>
              <a:t>‹#›</a:t>
            </a:fld>
            <a:endParaRPr lang="en-US" sz="850" b="0" i="0" baseline="0" dirty="0"/>
          </a:p>
        </p:txBody>
      </p:sp>
    </p:spTree>
    <p:extLst>
      <p:ext uri="{BB962C8B-B14F-4D97-AF65-F5344CB8AC3E}">
        <p14:creationId xmlns:p14="http://schemas.microsoft.com/office/powerpoint/2010/main" val="405891203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27865BF-B7D0-4486-AA7E-82F9DB980EF9}"/>
              </a:ext>
            </a:extLst>
          </p:cNvPr>
          <p:cNvGraphicFramePr>
            <a:graphicFrameLocks noChangeAspect="1"/>
          </p:cNvGraphicFramePr>
          <p:nvPr userDrawn="1">
            <p:custDataLst>
              <p:tags r:id="rId1"/>
            </p:custDataLst>
            <p:extLst>
              <p:ext uri="{D42A27DB-BD31-4B8C-83A1-F6EECF244321}">
                <p14:modId xmlns:p14="http://schemas.microsoft.com/office/powerpoint/2010/main" val="3092839561"/>
              </p:ext>
            </p:ext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7" name="Object 6" hidden="1">
                        <a:extLst>
                          <a:ext uri="{FF2B5EF4-FFF2-40B4-BE49-F238E27FC236}">
                            <a16:creationId xmlns:a16="http://schemas.microsoft.com/office/drawing/2014/main" id="{E27865BF-B7D0-4486-AA7E-82F9DB980EF9}"/>
                          </a:ext>
                        </a:extLst>
                      </p:cNvPr>
                      <p:cNvPicPr/>
                      <p:nvPr/>
                    </p:nvPicPr>
                    <p:blipFill>
                      <a:blip r:embed="rId6"/>
                      <a:stretch>
                        <a:fillRect/>
                      </a:stretch>
                    </p:blipFill>
                    <p:spPr>
                      <a:xfrm>
                        <a:off x="1620" y="1620"/>
                        <a:ext cx="1620" cy="162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02DE00F-3A59-4453-894F-EC7E2E48C523}"/>
              </a:ext>
            </a:extLst>
          </p:cNvPr>
          <p:cNvSpPr/>
          <p:nvPr userDrawn="1">
            <p:custDataLst>
              <p:tags r:id="rId2"/>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41" b="0"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2" name="2. Slide Title"/>
          <p:cNvSpPr>
            <a:spLocks noGrp="1"/>
          </p:cNvSpPr>
          <p:nvPr>
            <p:ph type="title"/>
          </p:nvPr>
        </p:nvSpPr>
        <p:spPr bwMode="gray">
          <a:xfrm>
            <a:off x="161987" y="234865"/>
            <a:ext cx="11725484" cy="314028"/>
          </a:xfrm>
        </p:spPr>
        <p:txBody>
          <a:bodyPr/>
          <a:lstStyle>
            <a:lvl1pPr>
              <a:defRPr>
                <a:solidFill>
                  <a:schemeClr val="tx1"/>
                </a:solidFill>
              </a:defRPr>
            </a:lvl1pPr>
          </a:lstStyle>
          <a:p>
            <a:r>
              <a:rPr lang="en-US"/>
              <a:t>Click to edit Master title style</a:t>
            </a:r>
            <a:endParaRPr lang="en-US" dirty="0"/>
          </a:p>
        </p:txBody>
      </p:sp>
      <p:sp>
        <p:nvSpPr>
          <p:cNvPr id="9" name="SlideLogoText" hidden="1"/>
          <p:cNvSpPr>
            <a:spLocks noChangeArrowheads="1"/>
          </p:cNvSpPr>
          <p:nvPr userDrawn="1">
            <p:custDataLst>
              <p:tags r:id="rId3"/>
            </p:custDataLst>
          </p:nvPr>
        </p:nvSpPr>
        <p:spPr bwMode="gray">
          <a:xfrm>
            <a:off x="10465075" y="6639224"/>
            <a:ext cx="1050047"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218095"/>
            <a:r>
              <a:rPr lang="en-US" sz="816" baseline="0" noProof="0" dirty="0">
                <a:solidFill>
                  <a:schemeClr val="accent6"/>
                </a:solidFill>
                <a:latin typeface="+mn-lt"/>
                <a:ea typeface="+mn-ea"/>
              </a:rPr>
              <a:t>McKinsey &amp; Company</a:t>
            </a:r>
          </a:p>
        </p:txBody>
      </p:sp>
      <p:sp>
        <p:nvSpPr>
          <p:cNvPr id="5" name="doc id" hidden="1"/>
          <p:cNvSpPr>
            <a:spLocks noChangeArrowheads="1"/>
          </p:cNvSpPr>
          <p:nvPr userDrawn="1"/>
        </p:nvSpPr>
        <p:spPr bwMode="gray">
          <a:xfrm flipH="1">
            <a:off x="10658002" y="51835"/>
            <a:ext cx="1231563" cy="96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8095"/>
            <a:endParaRPr lang="en-US" sz="612" baseline="0" noProof="0" dirty="0">
              <a:solidFill>
                <a:schemeClr val="accent6"/>
              </a:solidFill>
              <a:latin typeface="+mn-lt"/>
              <a:ea typeface="+mn-ea"/>
            </a:endParaRPr>
          </a:p>
        </p:txBody>
      </p:sp>
      <p:sp>
        <p:nvSpPr>
          <p:cNvPr id="3" name="TextBox 2">
            <a:extLst>
              <a:ext uri="{FF2B5EF4-FFF2-40B4-BE49-F238E27FC236}">
                <a16:creationId xmlns:a16="http://schemas.microsoft.com/office/drawing/2014/main" id="{3C4FC9C4-9C45-4B96-8A70-5C9BBB640D25}"/>
              </a:ext>
            </a:extLst>
          </p:cNvPr>
          <p:cNvSpPr txBox="1"/>
          <p:nvPr userDrawn="1"/>
        </p:nvSpPr>
        <p:spPr>
          <a:xfrm>
            <a:off x="11616243" y="6566446"/>
            <a:ext cx="139026" cy="138173"/>
          </a:xfrm>
          <a:prstGeom prst="rect">
            <a:avLst/>
          </a:prstGeom>
          <a:noFill/>
        </p:spPr>
        <p:txBody>
          <a:bodyPr vert="horz" wrap="none" lIns="0" tIns="0" rIns="0" bIns="0" rtlCol="0">
            <a:spAutoFit/>
          </a:bodyPr>
          <a:lstStyle/>
          <a:p>
            <a:pPr algn="l"/>
            <a:fld id="{9DFF35C5-69EC-45C4-9E5E-E57A74AD5067}" type="slidenum">
              <a:rPr lang="en-US" sz="867" b="0" i="0" baseline="0" smtClean="0"/>
              <a:pPr algn="l"/>
              <a:t>‹#›</a:t>
            </a:fld>
            <a:endParaRPr lang="en-US" sz="867" b="0" i="0" baseline="0" dirty="0"/>
          </a:p>
        </p:txBody>
      </p:sp>
      <p:sp>
        <p:nvSpPr>
          <p:cNvPr id="6" name="TextBox 5">
            <a:extLst>
              <a:ext uri="{FF2B5EF4-FFF2-40B4-BE49-F238E27FC236}">
                <a16:creationId xmlns:a16="http://schemas.microsoft.com/office/drawing/2014/main" id="{B98E00CB-46D5-4B50-BB47-D1C0898227A7}"/>
              </a:ext>
            </a:extLst>
          </p:cNvPr>
          <p:cNvSpPr txBox="1"/>
          <p:nvPr userDrawn="1"/>
        </p:nvSpPr>
        <p:spPr>
          <a:xfrm>
            <a:off x="161986" y="6566446"/>
            <a:ext cx="11270830" cy="136144"/>
          </a:xfrm>
          <a:prstGeom prst="rect">
            <a:avLst/>
          </a:prstGeom>
          <a:noFill/>
        </p:spPr>
        <p:txBody>
          <a:bodyPr vert="horz" wrap="none" lIns="0" tIns="0" rIns="0" bIns="0" rtlCol="0">
            <a:spAutoFit/>
          </a:bodyPr>
          <a:lstStyle/>
          <a:p>
            <a:pPr algn="l"/>
            <a:r>
              <a:rPr lang="en-US" sz="867" b="0" i="0" baseline="0" dirty="0">
                <a:solidFill>
                  <a:schemeClr val="tx1"/>
                </a:solidFill>
              </a:rPr>
              <a:t>Preliminary, pre-decisional, and deliberative. Based on input provided by State agency leaders and staff, to date, and subject to change. Content is descriptive only and is not meant to constitute legal, clinical, or policy advice.</a:t>
            </a:r>
          </a:p>
        </p:txBody>
      </p:sp>
    </p:spTree>
    <p:extLst>
      <p:ext uri="{BB962C8B-B14F-4D97-AF65-F5344CB8AC3E}">
        <p14:creationId xmlns:p14="http://schemas.microsoft.com/office/powerpoint/2010/main" val="3321488638"/>
      </p:ext>
    </p:extLst>
  </p:cSld>
  <p:clrMapOvr>
    <a:masterClrMapping/>
  </p:clrMapOvr>
  <p:extLst>
    <p:ext uri="{DCECCB84-F9BA-43D5-87BE-67443E8EF086}">
      <p15:sldGuideLst xmlns:p15="http://schemas.microsoft.com/office/powerpoint/2012/main">
        <p15:guide id="1" pos="7340">
          <p15:clr>
            <a:srgbClr val="F26B43"/>
          </p15:clr>
        </p15:guide>
        <p15:guide id="2" pos="99">
          <p15:clr>
            <a:srgbClr val="F26B43"/>
          </p15:clr>
        </p15:guide>
        <p15:guide id="3" orient="horz" pos="688">
          <p15:clr>
            <a:srgbClr val="F26B43"/>
          </p15:clr>
        </p15:guide>
        <p15:guide id="4" orient="horz" pos="3911">
          <p15:clr>
            <a:srgbClr val="F26B43"/>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7711662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02919271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CustomLayouts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70CF74-7EF4-47E2-86DC-50D1695AF69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DC1A4FA-3D84-4419-A969-FF5320525DE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TextBox 7">
            <a:extLst>
              <a:ext uri="{FF2B5EF4-FFF2-40B4-BE49-F238E27FC236}">
                <a16:creationId xmlns:a16="http://schemas.microsoft.com/office/drawing/2014/main" id="{8617C6FC-2440-410D-917A-105E19A1F6AB}"/>
              </a:ext>
            </a:extLst>
          </p:cNvPr>
          <p:cNvSpPr txBox="1"/>
          <p:nvPr userDrawn="1"/>
        </p:nvSpPr>
        <p:spPr>
          <a:xfrm>
            <a:off x="11896985" y="6616957"/>
            <a:ext cx="136256" cy="135422"/>
          </a:xfrm>
          <a:prstGeom prst="rect">
            <a:avLst/>
          </a:prstGeom>
          <a:noFill/>
        </p:spPr>
        <p:txBody>
          <a:bodyPr vert="horz" wrap="none" lIns="0" tIns="0" rIns="0" bIns="0" rtlCol="0">
            <a:spAutoFit/>
          </a:bodyPr>
          <a:lstStyle/>
          <a:p>
            <a:pPr algn="l"/>
            <a:fld id="{9DFF35C5-69EC-45C4-9E5E-E57A74AD5067}" type="slidenum">
              <a:rPr lang="en-US" sz="850" b="0" i="0" baseline="0" smtClean="0"/>
              <a:pPr algn="l"/>
              <a:t>‹#›</a:t>
            </a:fld>
            <a:endParaRPr lang="en-US" sz="850" b="0" i="0" baseline="0" dirty="0"/>
          </a:p>
        </p:txBody>
      </p:sp>
    </p:spTree>
    <p:extLst>
      <p:ext uri="{BB962C8B-B14F-4D97-AF65-F5344CB8AC3E}">
        <p14:creationId xmlns:p14="http://schemas.microsoft.com/office/powerpoint/2010/main" val="179893559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CustomLayouts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5521F6-3624-4E46-8DE6-C346D856E02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F1471D4-F2AA-42C2-9625-D60E9871488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DB3B1F8F-0A7A-4847-9FAE-5AA15CE1DF6D}"/>
              </a:ext>
            </a:extLst>
          </p:cNvPr>
          <p:cNvSpPr txBox="1"/>
          <p:nvPr userDrawn="1"/>
        </p:nvSpPr>
        <p:spPr>
          <a:xfrm>
            <a:off x="11896985" y="6616957"/>
            <a:ext cx="136256" cy="135422"/>
          </a:xfrm>
          <a:prstGeom prst="rect">
            <a:avLst/>
          </a:prstGeom>
          <a:noFill/>
        </p:spPr>
        <p:txBody>
          <a:bodyPr vert="horz" wrap="none" lIns="0" tIns="0" rIns="0" bIns="0" rtlCol="0">
            <a:spAutoFit/>
          </a:bodyPr>
          <a:lstStyle/>
          <a:p>
            <a:pPr algn="l"/>
            <a:fld id="{9DFF35C5-69EC-45C4-9E5E-E57A74AD5067}" type="slidenum">
              <a:rPr lang="en-US" sz="850" b="0" i="0" baseline="0" smtClean="0"/>
              <a:pPr algn="l"/>
              <a:t>‹#›</a:t>
            </a:fld>
            <a:endParaRPr lang="en-US" sz="850" b="0" i="0" baseline="0" dirty="0"/>
          </a:p>
        </p:txBody>
      </p:sp>
    </p:spTree>
    <p:extLst>
      <p:ext uri="{BB962C8B-B14F-4D97-AF65-F5344CB8AC3E}">
        <p14:creationId xmlns:p14="http://schemas.microsoft.com/office/powerpoint/2010/main" val="35273723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reserve="1">
  <p:cSld name="CustomLayouts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C51185-4306-4E69-B066-27627645E44D}"/>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404D7CA-3CA2-4726-B50E-3FBAC9DD140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D249CA9-9C65-4C04-B6ED-AD1837838EA7}"/>
              </a:ext>
            </a:extLst>
          </p:cNvPr>
          <p:cNvSpPr>
            <a:spLocks noGrp="1"/>
          </p:cNvSpPr>
          <p:nvPr>
            <p:ph sz="half" idx="2"/>
          </p:nvPr>
        </p:nvSpPr>
        <p:spPr>
          <a:xfrm>
            <a:off x="839788" y="2505075"/>
            <a:ext cx="5157787" cy="36845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A6A3DCAE-328E-446A-94AF-9D67C5161C0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B62467F-E28B-49ED-91DA-A2734D4CDBD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Box 10">
            <a:extLst>
              <a:ext uri="{FF2B5EF4-FFF2-40B4-BE49-F238E27FC236}">
                <a16:creationId xmlns:a16="http://schemas.microsoft.com/office/drawing/2014/main" id="{1118CF51-E412-4B5B-BC2B-D03C2545FBEB}"/>
              </a:ext>
            </a:extLst>
          </p:cNvPr>
          <p:cNvSpPr txBox="1"/>
          <p:nvPr userDrawn="1"/>
        </p:nvSpPr>
        <p:spPr>
          <a:xfrm>
            <a:off x="11896985" y="6616957"/>
            <a:ext cx="136256" cy="135422"/>
          </a:xfrm>
          <a:prstGeom prst="rect">
            <a:avLst/>
          </a:prstGeom>
          <a:noFill/>
        </p:spPr>
        <p:txBody>
          <a:bodyPr vert="horz" wrap="none" lIns="0" tIns="0" rIns="0" bIns="0" rtlCol="0">
            <a:spAutoFit/>
          </a:bodyPr>
          <a:lstStyle/>
          <a:p>
            <a:pPr algn="l"/>
            <a:fld id="{9DFF35C5-69EC-45C4-9E5E-E57A74AD5067}" type="slidenum">
              <a:rPr lang="en-US" sz="850" b="0" i="0" baseline="0" smtClean="0"/>
              <a:pPr algn="l"/>
              <a:t>‹#›</a:t>
            </a:fld>
            <a:endParaRPr lang="en-US" sz="850" b="0" i="0" baseline="0" dirty="0"/>
          </a:p>
        </p:txBody>
      </p:sp>
    </p:spTree>
    <p:extLst>
      <p:ext uri="{BB962C8B-B14F-4D97-AF65-F5344CB8AC3E}">
        <p14:creationId xmlns:p14="http://schemas.microsoft.com/office/powerpoint/2010/main" val="9569642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27865BF-B7D0-4486-AA7E-82F9DB980EF9}"/>
              </a:ext>
            </a:extLst>
          </p:cNvPr>
          <p:cNvGraphicFramePr>
            <a:graphicFrameLocks noChangeAspect="1"/>
          </p:cNvGraphicFramePr>
          <p:nvPr userDrawn="1">
            <p:custDataLst>
              <p:tags r:id="rId1"/>
            </p:custDataLst>
            <p:extLst>
              <p:ext uri="{D42A27DB-BD31-4B8C-83A1-F6EECF244321}">
                <p14:modId xmlns:p14="http://schemas.microsoft.com/office/powerpoint/2010/main" val="1029456460"/>
              </p:ext>
            </p:ext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7" name="Object 6" hidden="1">
                        <a:extLst>
                          <a:ext uri="{FF2B5EF4-FFF2-40B4-BE49-F238E27FC236}">
                            <a16:creationId xmlns:a16="http://schemas.microsoft.com/office/drawing/2014/main" id="{E27865BF-B7D0-4486-AA7E-82F9DB980EF9}"/>
                          </a:ext>
                        </a:extLst>
                      </p:cNvPr>
                      <p:cNvPicPr/>
                      <p:nvPr/>
                    </p:nvPicPr>
                    <p:blipFill>
                      <a:blip r:embed="rId6"/>
                      <a:stretch>
                        <a:fillRect/>
                      </a:stretch>
                    </p:blipFill>
                    <p:spPr>
                      <a:xfrm>
                        <a:off x="1620" y="1620"/>
                        <a:ext cx="1620" cy="162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02DE00F-3A59-4453-894F-EC7E2E48C523}"/>
              </a:ext>
            </a:extLst>
          </p:cNvPr>
          <p:cNvSpPr/>
          <p:nvPr userDrawn="1">
            <p:custDataLst>
              <p:tags r:id="rId2"/>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41" b="0"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2" name="2. Slide Title"/>
          <p:cNvSpPr>
            <a:spLocks noGrp="1"/>
          </p:cNvSpPr>
          <p:nvPr>
            <p:ph type="title"/>
          </p:nvPr>
        </p:nvSpPr>
        <p:spPr bwMode="gray">
          <a:xfrm>
            <a:off x="161987" y="234865"/>
            <a:ext cx="11725484" cy="314028"/>
          </a:xfrm>
        </p:spPr>
        <p:txBody>
          <a:bodyPr/>
          <a:lstStyle>
            <a:lvl1pPr>
              <a:defRPr>
                <a:solidFill>
                  <a:schemeClr val="tx1"/>
                </a:solidFill>
              </a:defRPr>
            </a:lvl1pPr>
          </a:lstStyle>
          <a:p>
            <a:r>
              <a:rPr lang="en-US"/>
              <a:t>Click to edit Master title style</a:t>
            </a:r>
            <a:endParaRPr lang="en-US" dirty="0"/>
          </a:p>
        </p:txBody>
      </p:sp>
      <p:sp>
        <p:nvSpPr>
          <p:cNvPr id="9" name="SlideLogoText" hidden="1"/>
          <p:cNvSpPr>
            <a:spLocks noChangeArrowheads="1"/>
          </p:cNvSpPr>
          <p:nvPr userDrawn="1">
            <p:custDataLst>
              <p:tags r:id="rId3"/>
            </p:custDataLst>
          </p:nvPr>
        </p:nvSpPr>
        <p:spPr bwMode="gray">
          <a:xfrm>
            <a:off x="10465075" y="6639224"/>
            <a:ext cx="1050047"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218095"/>
            <a:r>
              <a:rPr lang="en-US" sz="816" baseline="0" noProof="0" dirty="0">
                <a:solidFill>
                  <a:schemeClr val="accent6"/>
                </a:solidFill>
                <a:latin typeface="+mn-lt"/>
                <a:ea typeface="+mn-ea"/>
              </a:rPr>
              <a:t>McKinsey &amp; Company</a:t>
            </a:r>
          </a:p>
        </p:txBody>
      </p:sp>
      <p:sp>
        <p:nvSpPr>
          <p:cNvPr id="5" name="doc id" hidden="1"/>
          <p:cNvSpPr>
            <a:spLocks noChangeArrowheads="1"/>
          </p:cNvSpPr>
          <p:nvPr userDrawn="1"/>
        </p:nvSpPr>
        <p:spPr bwMode="gray">
          <a:xfrm flipH="1">
            <a:off x="10658002" y="51835"/>
            <a:ext cx="1231563" cy="96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8095"/>
            <a:endParaRPr lang="en-US" sz="612" baseline="0" noProof="0" dirty="0">
              <a:solidFill>
                <a:schemeClr val="accent6"/>
              </a:solidFill>
              <a:latin typeface="+mn-lt"/>
              <a:ea typeface="+mn-ea"/>
            </a:endParaRPr>
          </a:p>
        </p:txBody>
      </p:sp>
      <p:sp>
        <p:nvSpPr>
          <p:cNvPr id="3" name="TextBox 2">
            <a:extLst>
              <a:ext uri="{FF2B5EF4-FFF2-40B4-BE49-F238E27FC236}">
                <a16:creationId xmlns:a16="http://schemas.microsoft.com/office/drawing/2014/main" id="{3C4FC9C4-9C45-4B96-8A70-5C9BBB640D25}"/>
              </a:ext>
            </a:extLst>
          </p:cNvPr>
          <p:cNvSpPr txBox="1"/>
          <p:nvPr userDrawn="1"/>
        </p:nvSpPr>
        <p:spPr>
          <a:xfrm>
            <a:off x="11616243" y="6566446"/>
            <a:ext cx="139026" cy="138173"/>
          </a:xfrm>
          <a:prstGeom prst="rect">
            <a:avLst/>
          </a:prstGeom>
          <a:noFill/>
        </p:spPr>
        <p:txBody>
          <a:bodyPr vert="horz" wrap="none" lIns="0" tIns="0" rIns="0" bIns="0" rtlCol="0">
            <a:spAutoFit/>
          </a:bodyPr>
          <a:lstStyle/>
          <a:p>
            <a:pPr algn="l"/>
            <a:fld id="{9DFF35C5-69EC-45C4-9E5E-E57A74AD5067}" type="slidenum">
              <a:rPr lang="en-US" sz="867" b="0" i="0" baseline="0" smtClean="0"/>
              <a:pPr algn="l"/>
              <a:t>‹#›</a:t>
            </a:fld>
            <a:endParaRPr lang="en-US" sz="867" b="0" i="0" baseline="0" dirty="0"/>
          </a:p>
        </p:txBody>
      </p:sp>
      <p:sp>
        <p:nvSpPr>
          <p:cNvPr id="6" name="TextBox 5">
            <a:extLst>
              <a:ext uri="{FF2B5EF4-FFF2-40B4-BE49-F238E27FC236}">
                <a16:creationId xmlns:a16="http://schemas.microsoft.com/office/drawing/2014/main" id="{B98E00CB-46D5-4B50-BB47-D1C0898227A7}"/>
              </a:ext>
            </a:extLst>
          </p:cNvPr>
          <p:cNvSpPr txBox="1"/>
          <p:nvPr userDrawn="1"/>
        </p:nvSpPr>
        <p:spPr>
          <a:xfrm>
            <a:off x="161986" y="6566446"/>
            <a:ext cx="11270830" cy="136144"/>
          </a:xfrm>
          <a:prstGeom prst="rect">
            <a:avLst/>
          </a:prstGeom>
          <a:noFill/>
        </p:spPr>
        <p:txBody>
          <a:bodyPr vert="horz" wrap="none" lIns="0" tIns="0" rIns="0" bIns="0" rtlCol="0">
            <a:spAutoFit/>
          </a:bodyPr>
          <a:lstStyle/>
          <a:p>
            <a:pPr algn="l"/>
            <a:r>
              <a:rPr lang="en-US" sz="867" b="0" i="0" baseline="0" dirty="0">
                <a:solidFill>
                  <a:schemeClr val="tx1"/>
                </a:solidFill>
              </a:rPr>
              <a:t>Preliminary, pre-decisional, and deliberative. Based on input provided by State agency leaders and staff, to date, and subject to change. Content is descriptive only and is not meant to constitute legal, clinical, or policy advice.</a:t>
            </a:r>
          </a:p>
        </p:txBody>
      </p:sp>
    </p:spTree>
    <p:extLst>
      <p:ext uri="{BB962C8B-B14F-4D97-AF65-F5344CB8AC3E}">
        <p14:creationId xmlns:p14="http://schemas.microsoft.com/office/powerpoint/2010/main" val="1704566369"/>
      </p:ext>
    </p:extLst>
  </p:cSld>
  <p:clrMapOvr>
    <a:masterClrMapping/>
  </p:clrMapOvr>
  <p:extLst>
    <p:ext uri="{DCECCB84-F9BA-43D5-87BE-67443E8EF086}">
      <p15:sldGuideLst xmlns:p15="http://schemas.microsoft.com/office/powerpoint/2012/main">
        <p15:guide id="1" pos="7340">
          <p15:clr>
            <a:srgbClr val="F26B43"/>
          </p15:clr>
        </p15:guide>
        <p15:guide id="2" pos="99">
          <p15:clr>
            <a:srgbClr val="F26B43"/>
          </p15:clr>
        </p15:guide>
        <p15:guide id="3" orient="horz" pos="688">
          <p15:clr>
            <a:srgbClr val="F26B43"/>
          </p15:clr>
        </p15:guide>
        <p15:guide id="4" orient="horz" pos="3911">
          <p15:clr>
            <a:srgbClr val="F26B43"/>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heme" Target="../theme/theme1.xml"/><Relationship Id="rId9" Type="http://schemas.openxmlformats.org/officeDocument/2006/relationships/image" Target="../media/image2.jpeg"/></Relationships>
</file>

<file path=ppt/slideMasters/_rels/slideMaster10.xml.rels><?xml version="1.0" encoding="UTF-8" standalone="yes"?>
<Relationships xmlns="http://schemas.openxmlformats.org/package/2006/relationships"><Relationship Id="rId8" Type="http://schemas.openxmlformats.org/officeDocument/2006/relationships/tags" Target="../tags/tag173.xml"/><Relationship Id="rId13" Type="http://schemas.openxmlformats.org/officeDocument/2006/relationships/tags" Target="../tags/tag178.xml"/><Relationship Id="rId18" Type="http://schemas.openxmlformats.org/officeDocument/2006/relationships/tags" Target="../tags/tag183.xml"/><Relationship Id="rId3" Type="http://schemas.openxmlformats.org/officeDocument/2006/relationships/tags" Target="../tags/tag168.xml"/><Relationship Id="rId21" Type="http://schemas.openxmlformats.org/officeDocument/2006/relationships/image" Target="../media/image3.emf"/><Relationship Id="rId7" Type="http://schemas.openxmlformats.org/officeDocument/2006/relationships/tags" Target="../tags/tag172.xml"/><Relationship Id="rId12" Type="http://schemas.openxmlformats.org/officeDocument/2006/relationships/tags" Target="../tags/tag177.xml"/><Relationship Id="rId17" Type="http://schemas.openxmlformats.org/officeDocument/2006/relationships/tags" Target="../tags/tag182.xml"/><Relationship Id="rId2" Type="http://schemas.openxmlformats.org/officeDocument/2006/relationships/theme" Target="../theme/theme10.xml"/><Relationship Id="rId16" Type="http://schemas.openxmlformats.org/officeDocument/2006/relationships/tags" Target="../tags/tag181.xml"/><Relationship Id="rId20" Type="http://schemas.openxmlformats.org/officeDocument/2006/relationships/oleObject" Target="../embeddings/oleObject19.bin"/><Relationship Id="rId1" Type="http://schemas.openxmlformats.org/officeDocument/2006/relationships/slideLayout" Target="../slideLayouts/slideLayout18.xml"/><Relationship Id="rId6" Type="http://schemas.openxmlformats.org/officeDocument/2006/relationships/tags" Target="../tags/tag171.xml"/><Relationship Id="rId11" Type="http://schemas.openxmlformats.org/officeDocument/2006/relationships/tags" Target="../tags/tag176.xml"/><Relationship Id="rId5" Type="http://schemas.openxmlformats.org/officeDocument/2006/relationships/tags" Target="../tags/tag170.xml"/><Relationship Id="rId15" Type="http://schemas.openxmlformats.org/officeDocument/2006/relationships/tags" Target="../tags/tag180.xml"/><Relationship Id="rId10" Type="http://schemas.openxmlformats.org/officeDocument/2006/relationships/tags" Target="../tags/tag175.xml"/><Relationship Id="rId19" Type="http://schemas.openxmlformats.org/officeDocument/2006/relationships/tags" Target="../tags/tag184.xml"/><Relationship Id="rId4" Type="http://schemas.openxmlformats.org/officeDocument/2006/relationships/tags" Target="../tags/tag169.xml"/><Relationship Id="rId9" Type="http://schemas.openxmlformats.org/officeDocument/2006/relationships/tags" Target="../tags/tag174.xml"/><Relationship Id="rId14" Type="http://schemas.openxmlformats.org/officeDocument/2006/relationships/tags" Target="../tags/tag179.xml"/></Relationships>
</file>

<file path=ppt/slideMasters/_rels/slideMaster11.xml.rels><?xml version="1.0" encoding="UTF-8" standalone="yes"?>
<Relationships xmlns="http://schemas.openxmlformats.org/package/2006/relationships"><Relationship Id="rId8" Type="http://schemas.openxmlformats.org/officeDocument/2006/relationships/tags" Target="../tags/tag194.xml"/><Relationship Id="rId13" Type="http://schemas.openxmlformats.org/officeDocument/2006/relationships/tags" Target="../tags/tag199.xml"/><Relationship Id="rId18" Type="http://schemas.openxmlformats.org/officeDocument/2006/relationships/tags" Target="../tags/tag204.xml"/><Relationship Id="rId3" Type="http://schemas.openxmlformats.org/officeDocument/2006/relationships/tags" Target="../tags/tag189.xml"/><Relationship Id="rId21" Type="http://schemas.openxmlformats.org/officeDocument/2006/relationships/image" Target="../media/image3.emf"/><Relationship Id="rId7" Type="http://schemas.openxmlformats.org/officeDocument/2006/relationships/tags" Target="../tags/tag193.xml"/><Relationship Id="rId12" Type="http://schemas.openxmlformats.org/officeDocument/2006/relationships/tags" Target="../tags/tag198.xml"/><Relationship Id="rId17" Type="http://schemas.openxmlformats.org/officeDocument/2006/relationships/tags" Target="../tags/tag203.xml"/><Relationship Id="rId2" Type="http://schemas.openxmlformats.org/officeDocument/2006/relationships/theme" Target="../theme/theme11.xml"/><Relationship Id="rId16" Type="http://schemas.openxmlformats.org/officeDocument/2006/relationships/tags" Target="../tags/tag202.xml"/><Relationship Id="rId20" Type="http://schemas.openxmlformats.org/officeDocument/2006/relationships/oleObject" Target="../embeddings/oleObject21.bin"/><Relationship Id="rId1" Type="http://schemas.openxmlformats.org/officeDocument/2006/relationships/slideLayout" Target="../slideLayouts/slideLayout19.xml"/><Relationship Id="rId6" Type="http://schemas.openxmlformats.org/officeDocument/2006/relationships/tags" Target="../tags/tag192.xml"/><Relationship Id="rId11" Type="http://schemas.openxmlformats.org/officeDocument/2006/relationships/tags" Target="../tags/tag197.xml"/><Relationship Id="rId5" Type="http://schemas.openxmlformats.org/officeDocument/2006/relationships/tags" Target="../tags/tag191.xml"/><Relationship Id="rId15" Type="http://schemas.openxmlformats.org/officeDocument/2006/relationships/tags" Target="../tags/tag201.xml"/><Relationship Id="rId10" Type="http://schemas.openxmlformats.org/officeDocument/2006/relationships/tags" Target="../tags/tag196.xml"/><Relationship Id="rId19" Type="http://schemas.openxmlformats.org/officeDocument/2006/relationships/tags" Target="../tags/tag205.xml"/><Relationship Id="rId4" Type="http://schemas.openxmlformats.org/officeDocument/2006/relationships/tags" Target="../tags/tag190.xml"/><Relationship Id="rId9" Type="http://schemas.openxmlformats.org/officeDocument/2006/relationships/tags" Target="../tags/tag195.xml"/><Relationship Id="rId14" Type="http://schemas.openxmlformats.org/officeDocument/2006/relationships/tags" Target="../tags/tag200.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3" Type="http://schemas.openxmlformats.org/officeDocument/2006/relationships/theme" Target="../theme/theme2.xml"/><Relationship Id="rId21" Type="http://schemas.openxmlformats.org/officeDocument/2006/relationships/oleObject" Target="../embeddings/oleObject2.bin"/><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 Type="http://schemas.openxmlformats.org/officeDocument/2006/relationships/slideLayout" Target="../slideLayouts/slideLayout5.xml"/><Relationship Id="rId16" Type="http://schemas.openxmlformats.org/officeDocument/2006/relationships/tags" Target="../tags/tag16.xml"/><Relationship Id="rId20" Type="http://schemas.openxmlformats.org/officeDocument/2006/relationships/tags" Target="../tags/tag20.xml"/><Relationship Id="rId1" Type="http://schemas.openxmlformats.org/officeDocument/2006/relationships/slideLayout" Target="../slideLayouts/slideLayout4.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tags" Target="../tags/tag15.xml"/><Relationship Id="rId10" Type="http://schemas.openxmlformats.org/officeDocument/2006/relationships/tags" Target="../tags/tag10.xml"/><Relationship Id="rId19" Type="http://schemas.openxmlformats.org/officeDocument/2006/relationships/tags" Target="../tags/tag19.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8.xml"/><Relationship Id="rId7" Type="http://schemas.openxmlformats.org/officeDocument/2006/relationships/oleObject" Target="../embeddings/oleObject5.bin"/><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tags" Target="../tags/tag32.xml"/><Relationship Id="rId5" Type="http://schemas.openxmlformats.org/officeDocument/2006/relationships/tags" Target="../tags/tag31.xml"/><Relationship Id="rId4" Type="http://schemas.openxmlformats.org/officeDocument/2006/relationships/theme" Target="../theme/theme3.xml"/><Relationship Id="rId9" Type="http://schemas.openxmlformats.org/officeDocument/2006/relationships/image" Target="../media/image2.jpeg"/></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38.xml"/><Relationship Id="rId13" Type="http://schemas.openxmlformats.org/officeDocument/2006/relationships/tags" Target="../tags/tag43.xml"/><Relationship Id="rId18" Type="http://schemas.openxmlformats.org/officeDocument/2006/relationships/tags" Target="../tags/tag48.xml"/><Relationship Id="rId3" Type="http://schemas.openxmlformats.org/officeDocument/2006/relationships/tags" Target="../tags/tag33.xml"/><Relationship Id="rId21" Type="http://schemas.openxmlformats.org/officeDocument/2006/relationships/image" Target="../media/image3.emf"/><Relationship Id="rId7" Type="http://schemas.openxmlformats.org/officeDocument/2006/relationships/tags" Target="../tags/tag37.xml"/><Relationship Id="rId12" Type="http://schemas.openxmlformats.org/officeDocument/2006/relationships/tags" Target="../tags/tag42.xml"/><Relationship Id="rId17" Type="http://schemas.openxmlformats.org/officeDocument/2006/relationships/tags" Target="../tags/tag47.xml"/><Relationship Id="rId2" Type="http://schemas.openxmlformats.org/officeDocument/2006/relationships/theme" Target="../theme/theme4.xml"/><Relationship Id="rId16" Type="http://schemas.openxmlformats.org/officeDocument/2006/relationships/tags" Target="../tags/tag46.xml"/><Relationship Id="rId20" Type="http://schemas.openxmlformats.org/officeDocument/2006/relationships/oleObject" Target="../embeddings/oleObject6.bin"/><Relationship Id="rId1" Type="http://schemas.openxmlformats.org/officeDocument/2006/relationships/slideLayout" Target="../slideLayouts/slideLayout9.xml"/><Relationship Id="rId6" Type="http://schemas.openxmlformats.org/officeDocument/2006/relationships/tags" Target="../tags/tag36.xml"/><Relationship Id="rId11" Type="http://schemas.openxmlformats.org/officeDocument/2006/relationships/tags" Target="../tags/tag41.xml"/><Relationship Id="rId5" Type="http://schemas.openxmlformats.org/officeDocument/2006/relationships/tags" Target="../tags/tag35.xml"/><Relationship Id="rId15" Type="http://schemas.openxmlformats.org/officeDocument/2006/relationships/tags" Target="../tags/tag45.xml"/><Relationship Id="rId10" Type="http://schemas.openxmlformats.org/officeDocument/2006/relationships/tags" Target="../tags/tag40.xml"/><Relationship Id="rId19" Type="http://schemas.openxmlformats.org/officeDocument/2006/relationships/tags" Target="../tags/tag49.xml"/><Relationship Id="rId4" Type="http://schemas.openxmlformats.org/officeDocument/2006/relationships/tags" Target="../tags/tag34.xml"/><Relationship Id="rId9" Type="http://schemas.openxmlformats.org/officeDocument/2006/relationships/tags" Target="../tags/tag39.xml"/><Relationship Id="rId14" Type="http://schemas.openxmlformats.org/officeDocument/2006/relationships/tags" Target="../tags/tag44.xml"/></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55.xml"/><Relationship Id="rId13" Type="http://schemas.openxmlformats.org/officeDocument/2006/relationships/tags" Target="../tags/tag60.xml"/><Relationship Id="rId18" Type="http://schemas.openxmlformats.org/officeDocument/2006/relationships/tags" Target="../tags/tag65.xml"/><Relationship Id="rId3" Type="http://schemas.openxmlformats.org/officeDocument/2006/relationships/slideLayout" Target="../slideLayouts/slideLayout12.xml"/><Relationship Id="rId21" Type="http://schemas.openxmlformats.org/officeDocument/2006/relationships/tags" Target="../tags/tag68.xml"/><Relationship Id="rId7" Type="http://schemas.openxmlformats.org/officeDocument/2006/relationships/tags" Target="../tags/tag54.xml"/><Relationship Id="rId12" Type="http://schemas.openxmlformats.org/officeDocument/2006/relationships/tags" Target="../tags/tag59.xml"/><Relationship Id="rId17" Type="http://schemas.openxmlformats.org/officeDocument/2006/relationships/tags" Target="../tags/tag64.xml"/><Relationship Id="rId25" Type="http://schemas.openxmlformats.org/officeDocument/2006/relationships/image" Target="../media/image6.png"/><Relationship Id="rId2" Type="http://schemas.openxmlformats.org/officeDocument/2006/relationships/slideLayout" Target="../slideLayouts/slideLayout11.xml"/><Relationship Id="rId16" Type="http://schemas.openxmlformats.org/officeDocument/2006/relationships/tags" Target="../tags/tag63.xml"/><Relationship Id="rId20" Type="http://schemas.openxmlformats.org/officeDocument/2006/relationships/tags" Target="../tags/tag67.xml"/><Relationship Id="rId1" Type="http://schemas.openxmlformats.org/officeDocument/2006/relationships/slideLayout" Target="../slideLayouts/slideLayout10.xml"/><Relationship Id="rId6" Type="http://schemas.openxmlformats.org/officeDocument/2006/relationships/tags" Target="../tags/tag53.xml"/><Relationship Id="rId11" Type="http://schemas.openxmlformats.org/officeDocument/2006/relationships/tags" Target="../tags/tag58.xml"/><Relationship Id="rId24" Type="http://schemas.openxmlformats.org/officeDocument/2006/relationships/image" Target="../media/image3.emf"/><Relationship Id="rId5" Type="http://schemas.openxmlformats.org/officeDocument/2006/relationships/theme" Target="../theme/theme5.xml"/><Relationship Id="rId15" Type="http://schemas.openxmlformats.org/officeDocument/2006/relationships/tags" Target="../tags/tag62.xml"/><Relationship Id="rId23" Type="http://schemas.openxmlformats.org/officeDocument/2006/relationships/oleObject" Target="../embeddings/oleObject8.bin"/><Relationship Id="rId10" Type="http://schemas.openxmlformats.org/officeDocument/2006/relationships/tags" Target="../tags/tag57.xml"/><Relationship Id="rId19" Type="http://schemas.openxmlformats.org/officeDocument/2006/relationships/tags" Target="../tags/tag66.xml"/><Relationship Id="rId4" Type="http://schemas.openxmlformats.org/officeDocument/2006/relationships/slideLayout" Target="../slideLayouts/slideLayout13.xml"/><Relationship Id="rId9" Type="http://schemas.openxmlformats.org/officeDocument/2006/relationships/tags" Target="../tags/tag56.xml"/><Relationship Id="rId14" Type="http://schemas.openxmlformats.org/officeDocument/2006/relationships/tags" Target="../tags/tag61.xml"/><Relationship Id="rId22" Type="http://schemas.openxmlformats.org/officeDocument/2006/relationships/tags" Target="../tags/tag69.xml"/></Relationships>
</file>

<file path=ppt/slideMasters/_rels/slideMaster6.xml.rels><?xml version="1.0" encoding="UTF-8" standalone="yes"?>
<Relationships xmlns="http://schemas.openxmlformats.org/package/2006/relationships"><Relationship Id="rId8" Type="http://schemas.openxmlformats.org/officeDocument/2006/relationships/tags" Target="../tags/tag90.xml"/><Relationship Id="rId13" Type="http://schemas.openxmlformats.org/officeDocument/2006/relationships/tags" Target="../tags/tag95.xml"/><Relationship Id="rId18" Type="http://schemas.openxmlformats.org/officeDocument/2006/relationships/tags" Target="../tags/tag100.xml"/><Relationship Id="rId3" Type="http://schemas.openxmlformats.org/officeDocument/2006/relationships/tags" Target="../tags/tag85.xml"/><Relationship Id="rId21" Type="http://schemas.openxmlformats.org/officeDocument/2006/relationships/image" Target="../media/image3.emf"/><Relationship Id="rId7" Type="http://schemas.openxmlformats.org/officeDocument/2006/relationships/tags" Target="../tags/tag89.xml"/><Relationship Id="rId12" Type="http://schemas.openxmlformats.org/officeDocument/2006/relationships/tags" Target="../tags/tag94.xml"/><Relationship Id="rId17" Type="http://schemas.openxmlformats.org/officeDocument/2006/relationships/tags" Target="../tags/tag99.xml"/><Relationship Id="rId2" Type="http://schemas.openxmlformats.org/officeDocument/2006/relationships/theme" Target="../theme/theme6.xml"/><Relationship Id="rId16" Type="http://schemas.openxmlformats.org/officeDocument/2006/relationships/tags" Target="../tags/tag98.xml"/><Relationship Id="rId20" Type="http://schemas.openxmlformats.org/officeDocument/2006/relationships/oleObject" Target="../embeddings/oleObject11.bin"/><Relationship Id="rId1" Type="http://schemas.openxmlformats.org/officeDocument/2006/relationships/slideLayout" Target="../slideLayouts/slideLayout14.xml"/><Relationship Id="rId6" Type="http://schemas.openxmlformats.org/officeDocument/2006/relationships/tags" Target="../tags/tag88.xml"/><Relationship Id="rId11" Type="http://schemas.openxmlformats.org/officeDocument/2006/relationships/tags" Target="../tags/tag93.xml"/><Relationship Id="rId5" Type="http://schemas.openxmlformats.org/officeDocument/2006/relationships/tags" Target="../tags/tag87.xml"/><Relationship Id="rId15" Type="http://schemas.openxmlformats.org/officeDocument/2006/relationships/tags" Target="../tags/tag97.xml"/><Relationship Id="rId10" Type="http://schemas.openxmlformats.org/officeDocument/2006/relationships/tags" Target="../tags/tag92.xml"/><Relationship Id="rId19" Type="http://schemas.openxmlformats.org/officeDocument/2006/relationships/tags" Target="../tags/tag101.xml"/><Relationship Id="rId4" Type="http://schemas.openxmlformats.org/officeDocument/2006/relationships/tags" Target="../tags/tag86.xml"/><Relationship Id="rId9" Type="http://schemas.openxmlformats.org/officeDocument/2006/relationships/tags" Target="../tags/tag91.xml"/><Relationship Id="rId14" Type="http://schemas.openxmlformats.org/officeDocument/2006/relationships/tags" Target="../tags/tag96.xml"/></Relationships>
</file>

<file path=ppt/slideMasters/_rels/slideMaster7.xml.rels><?xml version="1.0" encoding="UTF-8" standalone="yes"?>
<Relationships xmlns="http://schemas.openxmlformats.org/package/2006/relationships"><Relationship Id="rId8" Type="http://schemas.openxmlformats.org/officeDocument/2006/relationships/tags" Target="../tags/tag111.xml"/><Relationship Id="rId13" Type="http://schemas.openxmlformats.org/officeDocument/2006/relationships/tags" Target="../tags/tag116.xml"/><Relationship Id="rId18" Type="http://schemas.openxmlformats.org/officeDocument/2006/relationships/tags" Target="../tags/tag121.xml"/><Relationship Id="rId3" Type="http://schemas.openxmlformats.org/officeDocument/2006/relationships/tags" Target="../tags/tag106.xml"/><Relationship Id="rId21" Type="http://schemas.openxmlformats.org/officeDocument/2006/relationships/image" Target="../media/image3.emf"/><Relationship Id="rId7" Type="http://schemas.openxmlformats.org/officeDocument/2006/relationships/tags" Target="../tags/tag110.xml"/><Relationship Id="rId12" Type="http://schemas.openxmlformats.org/officeDocument/2006/relationships/tags" Target="../tags/tag115.xml"/><Relationship Id="rId17" Type="http://schemas.openxmlformats.org/officeDocument/2006/relationships/tags" Target="../tags/tag120.xml"/><Relationship Id="rId2" Type="http://schemas.openxmlformats.org/officeDocument/2006/relationships/theme" Target="../theme/theme7.xml"/><Relationship Id="rId16" Type="http://schemas.openxmlformats.org/officeDocument/2006/relationships/tags" Target="../tags/tag119.xml"/><Relationship Id="rId20" Type="http://schemas.openxmlformats.org/officeDocument/2006/relationships/oleObject" Target="../embeddings/oleObject13.bin"/><Relationship Id="rId1" Type="http://schemas.openxmlformats.org/officeDocument/2006/relationships/slideLayout" Target="../slideLayouts/slideLayout15.xml"/><Relationship Id="rId6" Type="http://schemas.openxmlformats.org/officeDocument/2006/relationships/tags" Target="../tags/tag109.xml"/><Relationship Id="rId11" Type="http://schemas.openxmlformats.org/officeDocument/2006/relationships/tags" Target="../tags/tag114.xml"/><Relationship Id="rId5" Type="http://schemas.openxmlformats.org/officeDocument/2006/relationships/tags" Target="../tags/tag108.xml"/><Relationship Id="rId15" Type="http://schemas.openxmlformats.org/officeDocument/2006/relationships/tags" Target="../tags/tag118.xml"/><Relationship Id="rId10" Type="http://schemas.openxmlformats.org/officeDocument/2006/relationships/tags" Target="../tags/tag113.xml"/><Relationship Id="rId19" Type="http://schemas.openxmlformats.org/officeDocument/2006/relationships/tags" Target="../tags/tag122.xml"/><Relationship Id="rId4" Type="http://schemas.openxmlformats.org/officeDocument/2006/relationships/tags" Target="../tags/tag107.xml"/><Relationship Id="rId9" Type="http://schemas.openxmlformats.org/officeDocument/2006/relationships/tags" Target="../tags/tag112.xml"/><Relationship Id="rId14" Type="http://schemas.openxmlformats.org/officeDocument/2006/relationships/tags" Target="../tags/tag117.xml"/></Relationships>
</file>

<file path=ppt/slideMasters/_rels/slideMaster8.xml.rels><?xml version="1.0" encoding="UTF-8" standalone="yes"?>
<Relationships xmlns="http://schemas.openxmlformats.org/package/2006/relationships"><Relationship Id="rId8" Type="http://schemas.openxmlformats.org/officeDocument/2006/relationships/tags" Target="../tags/tag131.xml"/><Relationship Id="rId13" Type="http://schemas.openxmlformats.org/officeDocument/2006/relationships/tags" Target="../tags/tag136.xml"/><Relationship Id="rId18" Type="http://schemas.openxmlformats.org/officeDocument/2006/relationships/tags" Target="../tags/tag141.xml"/><Relationship Id="rId3" Type="http://schemas.openxmlformats.org/officeDocument/2006/relationships/tags" Target="../tags/tag126.xml"/><Relationship Id="rId21" Type="http://schemas.openxmlformats.org/officeDocument/2006/relationships/image" Target="../media/image3.emf"/><Relationship Id="rId7" Type="http://schemas.openxmlformats.org/officeDocument/2006/relationships/tags" Target="../tags/tag130.xml"/><Relationship Id="rId12" Type="http://schemas.openxmlformats.org/officeDocument/2006/relationships/tags" Target="../tags/tag135.xml"/><Relationship Id="rId17" Type="http://schemas.openxmlformats.org/officeDocument/2006/relationships/tags" Target="../tags/tag140.xml"/><Relationship Id="rId2" Type="http://schemas.openxmlformats.org/officeDocument/2006/relationships/theme" Target="../theme/theme8.xml"/><Relationship Id="rId16" Type="http://schemas.openxmlformats.org/officeDocument/2006/relationships/tags" Target="../tags/tag139.xml"/><Relationship Id="rId20" Type="http://schemas.openxmlformats.org/officeDocument/2006/relationships/oleObject" Target="../embeddings/oleObject15.bin"/><Relationship Id="rId1" Type="http://schemas.openxmlformats.org/officeDocument/2006/relationships/slideLayout" Target="../slideLayouts/slideLayout16.xml"/><Relationship Id="rId6" Type="http://schemas.openxmlformats.org/officeDocument/2006/relationships/tags" Target="../tags/tag129.xml"/><Relationship Id="rId11" Type="http://schemas.openxmlformats.org/officeDocument/2006/relationships/tags" Target="../tags/tag134.xml"/><Relationship Id="rId5" Type="http://schemas.openxmlformats.org/officeDocument/2006/relationships/tags" Target="../tags/tag128.xml"/><Relationship Id="rId15" Type="http://schemas.openxmlformats.org/officeDocument/2006/relationships/tags" Target="../tags/tag138.xml"/><Relationship Id="rId10" Type="http://schemas.openxmlformats.org/officeDocument/2006/relationships/tags" Target="../tags/tag133.xml"/><Relationship Id="rId19" Type="http://schemas.openxmlformats.org/officeDocument/2006/relationships/tags" Target="../tags/tag142.xml"/><Relationship Id="rId4" Type="http://schemas.openxmlformats.org/officeDocument/2006/relationships/tags" Target="../tags/tag127.xml"/><Relationship Id="rId9" Type="http://schemas.openxmlformats.org/officeDocument/2006/relationships/tags" Target="../tags/tag132.xml"/><Relationship Id="rId14" Type="http://schemas.openxmlformats.org/officeDocument/2006/relationships/tags" Target="../tags/tag137.xml"/></Relationships>
</file>

<file path=ppt/slideMasters/_rels/slideMaster9.xml.rels><?xml version="1.0" encoding="UTF-8" standalone="yes"?>
<Relationships xmlns="http://schemas.openxmlformats.org/package/2006/relationships"><Relationship Id="rId8" Type="http://schemas.openxmlformats.org/officeDocument/2006/relationships/tags" Target="../tags/tag152.xml"/><Relationship Id="rId13" Type="http://schemas.openxmlformats.org/officeDocument/2006/relationships/tags" Target="../tags/tag157.xml"/><Relationship Id="rId18" Type="http://schemas.openxmlformats.org/officeDocument/2006/relationships/tags" Target="../tags/tag162.xml"/><Relationship Id="rId3" Type="http://schemas.openxmlformats.org/officeDocument/2006/relationships/tags" Target="../tags/tag147.xml"/><Relationship Id="rId21" Type="http://schemas.openxmlformats.org/officeDocument/2006/relationships/image" Target="../media/image3.emf"/><Relationship Id="rId7" Type="http://schemas.openxmlformats.org/officeDocument/2006/relationships/tags" Target="../tags/tag151.xml"/><Relationship Id="rId12" Type="http://schemas.openxmlformats.org/officeDocument/2006/relationships/tags" Target="../tags/tag156.xml"/><Relationship Id="rId17" Type="http://schemas.openxmlformats.org/officeDocument/2006/relationships/tags" Target="../tags/tag161.xml"/><Relationship Id="rId2" Type="http://schemas.openxmlformats.org/officeDocument/2006/relationships/theme" Target="../theme/theme9.xml"/><Relationship Id="rId16" Type="http://schemas.openxmlformats.org/officeDocument/2006/relationships/tags" Target="../tags/tag160.xml"/><Relationship Id="rId20" Type="http://schemas.openxmlformats.org/officeDocument/2006/relationships/oleObject" Target="../embeddings/oleObject17.bin"/><Relationship Id="rId1" Type="http://schemas.openxmlformats.org/officeDocument/2006/relationships/slideLayout" Target="../slideLayouts/slideLayout17.xml"/><Relationship Id="rId6" Type="http://schemas.openxmlformats.org/officeDocument/2006/relationships/tags" Target="../tags/tag150.xml"/><Relationship Id="rId11" Type="http://schemas.openxmlformats.org/officeDocument/2006/relationships/tags" Target="../tags/tag155.xml"/><Relationship Id="rId5" Type="http://schemas.openxmlformats.org/officeDocument/2006/relationships/tags" Target="../tags/tag149.xml"/><Relationship Id="rId15" Type="http://schemas.openxmlformats.org/officeDocument/2006/relationships/tags" Target="../tags/tag159.xml"/><Relationship Id="rId10" Type="http://schemas.openxmlformats.org/officeDocument/2006/relationships/tags" Target="../tags/tag154.xml"/><Relationship Id="rId19" Type="http://schemas.openxmlformats.org/officeDocument/2006/relationships/tags" Target="../tags/tag163.xml"/><Relationship Id="rId4" Type="http://schemas.openxmlformats.org/officeDocument/2006/relationships/tags" Target="../tags/tag148.xml"/><Relationship Id="rId9" Type="http://schemas.openxmlformats.org/officeDocument/2006/relationships/tags" Target="../tags/tag153.xml"/><Relationship Id="rId14" Type="http://schemas.openxmlformats.org/officeDocument/2006/relationships/tags" Target="../tags/tag15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57C86D6-500D-48AE-91AF-B1DBCD1E732C}"/>
              </a:ext>
            </a:extLst>
          </p:cNvPr>
          <p:cNvGraphicFramePr>
            <a:graphicFrameLocks noChangeAspect="1"/>
          </p:cNvGraphicFramePr>
          <p:nvPr userDrawn="1">
            <p:custDataLst>
              <p:tags r:id="rId5"/>
            </p:custDataLst>
            <p:extLst>
              <p:ext uri="{D42A27DB-BD31-4B8C-83A1-F6EECF244321}">
                <p14:modId xmlns:p14="http://schemas.microsoft.com/office/powerpoint/2010/main" val="5900305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5" progId="TCLayout.ActiveDocument.1">
                  <p:embed/>
                </p:oleObj>
              </mc:Choice>
              <mc:Fallback>
                <p:oleObj name="think-cell Slide" r:id="rId7" imgW="592" imgH="595" progId="TCLayout.ActiveDocument.1">
                  <p:embed/>
                  <p:pic>
                    <p:nvPicPr>
                      <p:cNvPr id="10" name="Object 9" hidden="1">
                        <a:extLst>
                          <a:ext uri="{FF2B5EF4-FFF2-40B4-BE49-F238E27FC236}">
                            <a16:creationId xmlns:a16="http://schemas.microsoft.com/office/drawing/2014/main" id="{057C86D6-500D-48AE-91AF-B1DBCD1E732C}"/>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AF017D0C-5F7C-4B2E-85C3-D9E89B7C3B69}"/>
              </a:ext>
            </a:extLst>
          </p:cNvPr>
          <p:cNvSpPr/>
          <p:nvPr userDrawn="1">
            <p:custDataLst>
              <p:tags r:id="rId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588CC4D8-642B-44B1-AC7F-35DDEEAD3A1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C8990A8-6A8A-4E32-AC7D-D5A0160A759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Picture 14">
            <a:extLst>
              <a:ext uri="{FF2B5EF4-FFF2-40B4-BE49-F238E27FC236}">
                <a16:creationId xmlns:a16="http://schemas.microsoft.com/office/drawing/2014/main" id="{97BF38E6-10DF-4F4A-81F4-7B8900FDC7F4}"/>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806074" y="19770"/>
            <a:ext cx="1362152" cy="345355"/>
          </a:xfrm>
          <a:prstGeom prst="rect">
            <a:avLst/>
          </a:prstGeom>
        </p:spPr>
      </p:pic>
      <p:sp>
        <p:nvSpPr>
          <p:cNvPr id="7" name="TextBox 6">
            <a:extLst>
              <a:ext uri="{FF2B5EF4-FFF2-40B4-BE49-F238E27FC236}">
                <a16:creationId xmlns:a16="http://schemas.microsoft.com/office/drawing/2014/main" id="{90944F45-753B-464B-8B3C-5ADC84E18C64}"/>
              </a:ext>
            </a:extLst>
          </p:cNvPr>
          <p:cNvSpPr txBox="1"/>
          <p:nvPr userDrawn="1"/>
        </p:nvSpPr>
        <p:spPr>
          <a:xfrm>
            <a:off x="635000" y="6492875"/>
            <a:ext cx="9954164" cy="152349"/>
          </a:xfrm>
          <a:prstGeom prst="rect">
            <a:avLst/>
          </a:prstGeom>
        </p:spPr>
        <p:txBody>
          <a:bodyPr vert="horz" wrap="square" lIns="0" tIns="0" rIns="0" bIns="0" rtlCol="0">
            <a:spAutoFit/>
          </a:bodyPr>
          <a:lstStyle>
            <a:lvl1pPr marL="228600" lvl="0" indent="-228600" defTabSz="914400">
              <a:lnSpc>
                <a:spcPct val="90000"/>
              </a:lnSpc>
              <a:spcBef>
                <a:spcPts val="1000"/>
              </a:spcBef>
              <a:buFont typeface="Arial" panose="020B0604020202020204" pitchFamily="34" charset="0"/>
              <a:buChar char="•"/>
              <a:defRPr sz="2800"/>
            </a:lvl1pPr>
            <a:lvl2pPr marL="685800" lvl="1" indent="-228600" defTabSz="914400">
              <a:lnSpc>
                <a:spcPct val="90000"/>
              </a:lnSpc>
              <a:spcBef>
                <a:spcPts val="500"/>
              </a:spcBef>
              <a:buFont typeface="Arial" panose="020B0604020202020204" pitchFamily="34" charset="0"/>
              <a:buChar char="•"/>
              <a:defRPr sz="2400"/>
            </a:lvl2pPr>
            <a:lvl3pPr marL="1143000" lvl="2" indent="-228600" defTabSz="914400">
              <a:lnSpc>
                <a:spcPct val="90000"/>
              </a:lnSpc>
              <a:spcBef>
                <a:spcPts val="500"/>
              </a:spcBef>
              <a:buFont typeface="Arial" panose="020B0604020202020204" pitchFamily="34" charset="0"/>
              <a:buChar char="•"/>
              <a:defRPr sz="2000"/>
            </a:lvl3pPr>
            <a:lvl4pPr marL="1600200" lvl="3" indent="-228600" defTabSz="914400">
              <a:lnSpc>
                <a:spcPct val="90000"/>
              </a:lnSpc>
              <a:spcBef>
                <a:spcPts val="500"/>
              </a:spcBef>
              <a:buFont typeface="Arial" panose="020B0604020202020204" pitchFamily="34" charset="0"/>
              <a:buChar char="•"/>
            </a:lvl4pPr>
            <a:lvl5pPr marL="2057400" lvl="4" indent="-228600" defTabSz="914400">
              <a:lnSpc>
                <a:spcPct val="90000"/>
              </a:lnSpc>
              <a:spcBef>
                <a:spcPts val="500"/>
              </a:spcBef>
              <a:buFont typeface="Arial" panose="020B0604020202020204" pitchFamily="34" charset="0"/>
              <a:buChar char="•"/>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
                <a:srgbClr val="FFFFFF"/>
              </a:buClr>
              <a:buSzTx/>
              <a:buFont typeface="Arial" panose="020B0604020202020204" pitchFamily="34" charset="0"/>
              <a:buNone/>
              <a:tabLst/>
              <a:defRPr/>
            </a:pPr>
            <a:r>
              <a:rPr kumimoji="0" lang="en-US" sz="1100" b="0" i="0" u="none" strike="noStrike" kern="1200" cap="none" spc="0" normalizeH="0" baseline="0" noProof="0" dirty="0">
                <a:ln>
                  <a:noFill/>
                </a:ln>
                <a:solidFill>
                  <a:schemeClr val="bg1">
                    <a:lumMod val="85000"/>
                  </a:schemeClr>
                </a:solidFill>
                <a:effectLst/>
                <a:uLnTx/>
                <a:uFillTx/>
                <a:latin typeface="Open Sans"/>
              </a:rPr>
              <a:t>Confidential, preliminary, pre-decisional, and deliberative.  Content is descriptive only and is not meant to constitute legal, clinical, or policy advice.</a:t>
            </a:r>
          </a:p>
        </p:txBody>
      </p:sp>
    </p:spTree>
    <p:extLst>
      <p:ext uri="{BB962C8B-B14F-4D97-AF65-F5344CB8AC3E}">
        <p14:creationId xmlns:p14="http://schemas.microsoft.com/office/powerpoint/2010/main" val="47406239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3" r:id="rId3"/>
  </p:sldLayoutIdLst>
  <p:txStyles>
    <p:titleStyle>
      <a:lvl1pPr algn="l" defTabSz="914400" rtl="0" eaLnBrk="1" latinLnBrk="0" hangingPunct="1">
        <a:lnSpc>
          <a:spcPct val="90000"/>
        </a:lnSpc>
        <a:spcBef>
          <a:spcPct val="0"/>
        </a:spcBef>
        <a:buNone/>
        <a:defRPr sz="4400" kern="1200">
          <a:solidFill>
            <a:schemeClr val="tx1"/>
          </a:solidFill>
          <a:latin typeface="Open Sans"/>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Open Sans"/>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Open Sans"/>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959153182"/>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20" imgW="270" imgH="270" progId="TCLayout.ActiveDocument.1">
                  <p:embed/>
                </p:oleObj>
              </mc:Choice>
              <mc:Fallback>
                <p:oleObj name="think-cell Slide" r:id="rId20" imgW="270" imgH="270" progId="TCLayout.ActiveDocument.1">
                  <p:embed/>
                  <p:pic>
                    <p:nvPicPr>
                      <p:cNvPr id="2" name="Object 1" hidden="1"/>
                      <p:cNvPicPr/>
                      <p:nvPr/>
                    </p:nvPicPr>
                    <p:blipFill>
                      <a:blip r:embed="rId21"/>
                      <a:stretch>
                        <a:fillRect/>
                      </a:stretch>
                    </p:blipFill>
                    <p:spPr>
                      <a:xfrm>
                        <a:off x="0" y="0"/>
                        <a:ext cx="215979" cy="161974"/>
                      </a:xfrm>
                      <a:prstGeom prst="rect">
                        <a:avLst/>
                      </a:prstGeom>
                    </p:spPr>
                  </p:pic>
                </p:oleObj>
              </mc:Fallback>
            </mc:AlternateContent>
          </a:graphicData>
        </a:graphic>
      </p:graphicFrame>
      <p:sp>
        <p:nvSpPr>
          <p:cNvPr id="6" name="Rectangle 5" hidden="1"/>
          <p:cNvSpPr/>
          <p:nvPr userDrawn="1">
            <p:custDataLst>
              <p:tags r:id="rId4"/>
            </p:custDataLst>
          </p:nvPr>
        </p:nvSpPr>
        <p:spPr bwMode="auto">
          <a:xfrm>
            <a:off x="0"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en-US" sz="2176" b="0" i="0" baseline="0" dirty="0">
              <a:solidFill>
                <a:schemeClr val="tx1"/>
              </a:solidFill>
              <a:latin typeface="Arial" panose="020B0604020202020204" pitchFamily="34" charset="0"/>
              <a:ea typeface="+mn-ea"/>
              <a:cs typeface="+mn-cs"/>
              <a:sym typeface="Arial" panose="020B0604020202020204" pitchFamily="34" charset="0"/>
            </a:endParaRPr>
          </a:p>
        </p:txBody>
      </p:sp>
      <p:sp>
        <p:nvSpPr>
          <p:cNvPr id="1033" name="doc id" hidden="1"/>
          <p:cNvSpPr>
            <a:spLocks noChangeArrowheads="1"/>
          </p:cNvSpPr>
          <p:nvPr/>
        </p:nvSpPr>
        <p:spPr bwMode="gray">
          <a:xfrm flipH="1">
            <a:off x="10658002" y="51835"/>
            <a:ext cx="1231563" cy="96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8095"/>
            <a:endParaRPr lang="en-US" sz="612" baseline="0" noProof="0" dirty="0">
              <a:solidFill>
                <a:schemeClr val="accent6"/>
              </a:solidFill>
              <a:latin typeface="+mn-lt"/>
              <a:ea typeface="+mn-ea"/>
            </a:endParaRPr>
          </a:p>
        </p:txBody>
      </p:sp>
      <p:sp>
        <p:nvSpPr>
          <p:cNvPr id="1034" name="Working Draft" hidden="1"/>
          <p:cNvSpPr txBox="1">
            <a:spLocks noChangeArrowheads="1"/>
          </p:cNvSpPr>
          <p:nvPr/>
        </p:nvSpPr>
        <p:spPr bwMode="gray">
          <a:xfrm rot="5400000">
            <a:off x="11086196" y="1979060"/>
            <a:ext cx="2021556" cy="96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612" baseline="0" noProof="0">
                <a:solidFill>
                  <a:schemeClr val="accent6"/>
                </a:solidFill>
                <a:latin typeface="+mn-lt"/>
                <a:ea typeface="+mn-ea"/>
              </a:rPr>
              <a:t>Last Modified 9/3/2021 11:10 AM Eastern Standard Time</a:t>
            </a:r>
            <a:endParaRPr lang="en-US" sz="612" baseline="0" noProof="0" dirty="0">
              <a:solidFill>
                <a:schemeClr val="accent6"/>
              </a:solidFill>
              <a:latin typeface="+mn-lt"/>
              <a:ea typeface="+mn-ea"/>
            </a:endParaRPr>
          </a:p>
        </p:txBody>
      </p:sp>
      <p:sp>
        <p:nvSpPr>
          <p:cNvPr id="1035" name="Printed" hidden="1"/>
          <p:cNvSpPr txBox="1">
            <a:spLocks noChangeArrowheads="1"/>
          </p:cNvSpPr>
          <p:nvPr/>
        </p:nvSpPr>
        <p:spPr bwMode="gray">
          <a:xfrm rot="5400000">
            <a:off x="11175331" y="4197040"/>
            <a:ext cx="1843280" cy="96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612" baseline="0" noProof="0">
                <a:solidFill>
                  <a:schemeClr val="accent6"/>
                </a:solidFill>
                <a:latin typeface="+mn-lt"/>
                <a:ea typeface="+mn-ea"/>
              </a:rPr>
              <a:t>Printed 12/16/2020 8:01 AM Eastern Standard Time</a:t>
            </a:r>
            <a:endParaRPr lang="en-US" sz="612" baseline="0" noProof="0" dirty="0">
              <a:solidFill>
                <a:schemeClr val="accent6"/>
              </a:solidFill>
              <a:latin typeface="+mn-lt"/>
              <a:ea typeface="+mn-ea"/>
            </a:endParaRPr>
          </a:p>
        </p:txBody>
      </p:sp>
      <p:sp>
        <p:nvSpPr>
          <p:cNvPr id="19" name="Title Placeholder 2"/>
          <p:cNvSpPr>
            <a:spLocks noGrp="1" noChangeArrowheads="1"/>
          </p:cNvSpPr>
          <p:nvPr>
            <p:ph type="title"/>
          </p:nvPr>
        </p:nvSpPr>
        <p:spPr bwMode="gray">
          <a:xfrm>
            <a:off x="161987" y="234865"/>
            <a:ext cx="11725484"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endParaRPr lang="en-US" noProof="0" dirty="0"/>
          </a:p>
        </p:txBody>
      </p:sp>
      <p:sp>
        <p:nvSpPr>
          <p:cNvPr id="10" name="1. On-page tracker" hidden="1"/>
          <p:cNvSpPr>
            <a:spLocks noChangeArrowheads="1"/>
          </p:cNvSpPr>
          <p:nvPr userDrawn="1"/>
        </p:nvSpPr>
        <p:spPr bwMode="gray">
          <a:xfrm>
            <a:off x="161985" y="77303"/>
            <a:ext cx="511939"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16" cap="all" baseline="0" noProof="0" dirty="0">
                <a:solidFill>
                  <a:schemeClr val="accent6"/>
                </a:solidFill>
                <a:latin typeface="+mn-lt"/>
                <a:ea typeface="+mn-ea"/>
              </a:rPr>
              <a:t>Tracker</a:t>
            </a:r>
          </a:p>
        </p:txBody>
      </p:sp>
      <p:sp>
        <p:nvSpPr>
          <p:cNvPr id="11" name="3. Unit of measure" hidden="1"/>
          <p:cNvSpPr txBox="1">
            <a:spLocks noChangeArrowheads="1"/>
          </p:cNvSpPr>
          <p:nvPr userDrawn="1"/>
        </p:nvSpPr>
        <p:spPr bwMode="gray">
          <a:xfrm>
            <a:off x="161987" y="566136"/>
            <a:ext cx="11725484" cy="256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32" baseline="0" noProof="0">
                <a:solidFill>
                  <a:schemeClr val="accent6"/>
                </a:solidFill>
                <a:latin typeface="+mn-lt"/>
                <a:ea typeface="+mn-ea"/>
              </a:rPr>
              <a:t>CLIENT</a:t>
            </a:r>
            <a:endParaRPr lang="en-US" sz="1632" baseline="0" noProof="0" dirty="0">
              <a:solidFill>
                <a:schemeClr val="accent6"/>
              </a:solidFill>
              <a:latin typeface="+mn-lt"/>
              <a:ea typeface="+mn-ea"/>
            </a:endParaRPr>
          </a:p>
        </p:txBody>
      </p:sp>
      <p:sp>
        <p:nvSpPr>
          <p:cNvPr id="13" name="4. Footnote" hidden="1"/>
          <p:cNvSpPr txBox="1">
            <a:spLocks noChangeArrowheads="1"/>
          </p:cNvSpPr>
          <p:nvPr/>
        </p:nvSpPr>
        <p:spPr bwMode="gray">
          <a:xfrm>
            <a:off x="161985" y="6432273"/>
            <a:ext cx="11630454"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7465" indent="-87465">
              <a:defRPr/>
            </a:pPr>
            <a:r>
              <a:rPr lang="en-US" sz="816" baseline="0" noProof="0">
                <a:solidFill>
                  <a:schemeClr val="accent6"/>
                </a:solidFill>
                <a:latin typeface="+mn-lt"/>
                <a:ea typeface="+mn-ea"/>
              </a:rPr>
              <a:t>1 Footnote</a:t>
            </a:r>
            <a:endParaRPr lang="en-US" sz="816" baseline="0" noProof="0" dirty="0">
              <a:solidFill>
                <a:schemeClr val="accent6"/>
              </a:solidFill>
              <a:latin typeface="+mn-lt"/>
              <a:ea typeface="+mn-ea"/>
            </a:endParaRPr>
          </a:p>
        </p:txBody>
      </p:sp>
      <p:sp>
        <p:nvSpPr>
          <p:cNvPr id="14" name="5. Source" hidden="1"/>
          <p:cNvSpPr>
            <a:spLocks noChangeArrowheads="1"/>
          </p:cNvSpPr>
          <p:nvPr/>
        </p:nvSpPr>
        <p:spPr bwMode="gray">
          <a:xfrm>
            <a:off x="161985" y="6637982"/>
            <a:ext cx="10155320"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03735" indent="-503735" defTabSz="1218095">
              <a:tabLst/>
            </a:pPr>
            <a:r>
              <a:rPr lang="en-US" sz="816" baseline="0" noProof="0" dirty="0">
                <a:solidFill>
                  <a:schemeClr val="accent6"/>
                </a:solidFill>
                <a:latin typeface="+mn-lt"/>
                <a:ea typeface="+mn-ea"/>
              </a:rPr>
              <a:t>SOURCE: Source</a:t>
            </a:r>
          </a:p>
        </p:txBody>
      </p:sp>
      <p:grpSp>
        <p:nvGrpSpPr>
          <p:cNvPr id="15" name="ACET" hidden="1"/>
          <p:cNvGrpSpPr>
            <a:grpSpLocks/>
          </p:cNvGrpSpPr>
          <p:nvPr userDrawn="1"/>
        </p:nvGrpSpPr>
        <p:grpSpPr bwMode="gray">
          <a:xfrm>
            <a:off x="1976207" y="1270343"/>
            <a:ext cx="5801188" cy="531276"/>
            <a:chOff x="915" y="702"/>
            <a:chExt cx="2686" cy="328"/>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32" b="1" baseline="0" noProof="0" dirty="0">
                  <a:latin typeface="+mn-lt"/>
                  <a:ea typeface="+mn-ea"/>
                </a:rPr>
                <a:t>Title</a:t>
              </a:r>
            </a:p>
            <a:p>
              <a:r>
                <a:rPr lang="en-US" sz="1632" baseline="0" noProof="0" dirty="0">
                  <a:solidFill>
                    <a:schemeClr val="accent6"/>
                  </a:solidFill>
                  <a:latin typeface="+mn-lt"/>
                  <a:ea typeface="+mn-ea"/>
                </a:rPr>
                <a:t>Unit of measure</a:t>
              </a:r>
            </a:p>
          </p:txBody>
        </p:sp>
      </p:grpSp>
      <p:grpSp>
        <p:nvGrpSpPr>
          <p:cNvPr id="17" name="Sticker" hidden="1"/>
          <p:cNvGrpSpPr/>
          <p:nvPr userDrawn="1"/>
        </p:nvGrpSpPr>
        <p:grpSpPr bwMode="gray">
          <a:xfrm>
            <a:off x="11394692" y="291554"/>
            <a:ext cx="492770" cy="156360"/>
            <a:chOff x="8378576" y="285750"/>
            <a:chExt cx="362199" cy="153247"/>
          </a:xfrm>
        </p:grpSpPr>
        <p:sp>
          <p:nvSpPr>
            <p:cNvPr id="20" name="StickerRectangle"/>
            <p:cNvSpPr>
              <a:spLocks noChangeArrowheads="1"/>
            </p:cNvSpPr>
            <p:nvPr/>
          </p:nvSpPr>
          <p:spPr bwMode="gray">
            <a:xfrm>
              <a:off x="8378576" y="285750"/>
              <a:ext cx="362199" cy="15324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1218095">
                <a:buClr>
                  <a:schemeClr val="tx2"/>
                </a:buClr>
              </a:pPr>
              <a:r>
                <a:rPr lang="en-US" sz="816"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378576" y="285750"/>
              <a:ext cx="0" cy="153247"/>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378576" y="438997"/>
              <a:ext cx="362199"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23" name="LegendBoxes" hidden="1"/>
          <p:cNvGrpSpPr/>
          <p:nvPr userDrawn="1"/>
        </p:nvGrpSpPr>
        <p:grpSpPr bwMode="gray">
          <a:xfrm>
            <a:off x="11108191" y="285075"/>
            <a:ext cx="789093" cy="1021522"/>
            <a:chOff x="7835905" y="279400"/>
            <a:chExt cx="773373" cy="1001186"/>
          </a:xfrm>
        </p:grpSpPr>
        <p:sp>
          <p:nvSpPr>
            <p:cNvPr id="24" name="RectangleLegend1"/>
            <p:cNvSpPr>
              <a:spLocks noChangeArrowheads="1"/>
            </p:cNvSpPr>
            <p:nvPr/>
          </p:nvSpPr>
          <p:spPr bwMode="gray">
            <a:xfrm>
              <a:off x="7835905" y="290513"/>
              <a:ext cx="165100" cy="160338"/>
            </a:xfrm>
            <a:prstGeom prst="rect">
              <a:avLst/>
            </a:prstGeom>
            <a:solidFill>
              <a:schemeClr val="accent1"/>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25" name="RectangleLegend2"/>
            <p:cNvSpPr>
              <a:spLocks noChangeArrowheads="1"/>
            </p:cNvSpPr>
            <p:nvPr/>
          </p:nvSpPr>
          <p:spPr bwMode="gray">
            <a:xfrm>
              <a:off x="7835905" y="560388"/>
              <a:ext cx="165100" cy="160338"/>
            </a:xfrm>
            <a:prstGeom prst="rect">
              <a:avLst/>
            </a:prstGeom>
            <a:solidFill>
              <a:schemeClr val="accent2"/>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26" name="RectangleLegend3"/>
            <p:cNvSpPr>
              <a:spLocks noChangeArrowheads="1"/>
            </p:cNvSpPr>
            <p:nvPr/>
          </p:nvSpPr>
          <p:spPr bwMode="gray">
            <a:xfrm>
              <a:off x="7835905" y="831851"/>
              <a:ext cx="165100" cy="160338"/>
            </a:xfrm>
            <a:prstGeom prst="rect">
              <a:avLst/>
            </a:prstGeom>
            <a:solidFill>
              <a:schemeClr val="accent3"/>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27" name="RectangleLegend4"/>
            <p:cNvSpPr>
              <a:spLocks noChangeArrowheads="1"/>
            </p:cNvSpPr>
            <p:nvPr/>
          </p:nvSpPr>
          <p:spPr bwMode="gray">
            <a:xfrm>
              <a:off x="7835905" y="1103313"/>
              <a:ext cx="165100" cy="160338"/>
            </a:xfrm>
            <a:prstGeom prst="rect">
              <a:avLst/>
            </a:prstGeom>
            <a:solidFill>
              <a:schemeClr val="accent4"/>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28" name="Legend1"/>
            <p:cNvSpPr>
              <a:spLocks noChangeArrowheads="1"/>
            </p:cNvSpPr>
            <p:nvPr/>
          </p:nvSpPr>
          <p:spPr bwMode="gray">
            <a:xfrm>
              <a:off x="8089905" y="27940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29" name="Legend2"/>
            <p:cNvSpPr>
              <a:spLocks noChangeArrowheads="1"/>
            </p:cNvSpPr>
            <p:nvPr/>
          </p:nvSpPr>
          <p:spPr bwMode="gray">
            <a:xfrm>
              <a:off x="8089905" y="549275"/>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30" name="Legend3"/>
            <p:cNvSpPr>
              <a:spLocks noChangeArrowheads="1"/>
            </p:cNvSpPr>
            <p:nvPr/>
          </p:nvSpPr>
          <p:spPr bwMode="gray">
            <a:xfrm>
              <a:off x="8089905" y="820738"/>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31" name="Legend4"/>
            <p:cNvSpPr>
              <a:spLocks noChangeArrowheads="1"/>
            </p:cNvSpPr>
            <p:nvPr/>
          </p:nvSpPr>
          <p:spPr bwMode="gray">
            <a:xfrm>
              <a:off x="8089905" y="1092201"/>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grpSp>
      <p:grpSp>
        <p:nvGrpSpPr>
          <p:cNvPr id="32" name="LegendLines" hidden="1"/>
          <p:cNvGrpSpPr/>
          <p:nvPr userDrawn="1"/>
        </p:nvGrpSpPr>
        <p:grpSpPr bwMode="gray">
          <a:xfrm>
            <a:off x="10794126" y="285075"/>
            <a:ext cx="1103328" cy="749405"/>
            <a:chOff x="7540629" y="279400"/>
            <a:chExt cx="1081348" cy="734486"/>
          </a:xfrm>
        </p:grpSpPr>
        <p:sp>
          <p:nvSpPr>
            <p:cNvPr id="33"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837" baseline="0" dirty="0">
                <a:latin typeface="+mn-lt"/>
                <a:ea typeface="+mn-ea"/>
              </a:endParaRPr>
            </a:p>
          </p:txBody>
        </p:sp>
        <p:sp>
          <p:nvSpPr>
            <p:cNvPr id="34"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837" baseline="0" dirty="0">
                <a:latin typeface="+mn-lt"/>
                <a:ea typeface="+mn-ea"/>
              </a:endParaRPr>
            </a:p>
          </p:txBody>
        </p:sp>
        <p:sp>
          <p:nvSpPr>
            <p:cNvPr id="35"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837" baseline="0" dirty="0">
                <a:latin typeface="+mn-lt"/>
                <a:ea typeface="+mn-ea"/>
              </a:endParaRPr>
            </a:p>
          </p:txBody>
        </p:sp>
        <p:sp>
          <p:nvSpPr>
            <p:cNvPr id="36" name="Legend1"/>
            <p:cNvSpPr>
              <a:spLocks noChangeArrowheads="1"/>
            </p:cNvSpPr>
            <p:nvPr/>
          </p:nvSpPr>
          <p:spPr bwMode="gray">
            <a:xfrm>
              <a:off x="8102604" y="27940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37" name="Legend2"/>
            <p:cNvSpPr>
              <a:spLocks noChangeArrowheads="1"/>
            </p:cNvSpPr>
            <p:nvPr/>
          </p:nvSpPr>
          <p:spPr bwMode="gray">
            <a:xfrm>
              <a:off x="8102604" y="54610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38" name="Legend3"/>
            <p:cNvSpPr>
              <a:spLocks noChangeArrowheads="1"/>
            </p:cNvSpPr>
            <p:nvPr/>
          </p:nvSpPr>
          <p:spPr bwMode="gray">
            <a:xfrm>
              <a:off x="8102604" y="825501"/>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grpSp>
      <p:grpSp>
        <p:nvGrpSpPr>
          <p:cNvPr id="39" name="LegendMoons" hidden="1"/>
          <p:cNvGrpSpPr/>
          <p:nvPr userDrawn="1"/>
        </p:nvGrpSpPr>
        <p:grpSpPr bwMode="gray">
          <a:xfrm>
            <a:off x="11040160" y="255920"/>
            <a:ext cx="857123" cy="1333054"/>
            <a:chOff x="7769225" y="250825"/>
            <a:chExt cx="840048" cy="1306516"/>
          </a:xfrm>
        </p:grpSpPr>
        <p:grpSp>
          <p:nvGrpSpPr>
            <p:cNvPr id="40" name="MoonLegend1"/>
            <p:cNvGrpSpPr>
              <a:grpSpLocks noChangeAspect="1"/>
            </p:cNvGrpSpPr>
            <p:nvPr>
              <p:custDataLst>
                <p:tags r:id="rId5"/>
              </p:custDataLst>
            </p:nvPr>
          </p:nvGrpSpPr>
          <p:grpSpPr bwMode="gray">
            <a:xfrm>
              <a:off x="7769225" y="250825"/>
              <a:ext cx="209550" cy="209551"/>
              <a:chOff x="4533" y="183"/>
              <a:chExt cx="144" cy="144"/>
            </a:xfrm>
          </p:grpSpPr>
          <p:sp>
            <p:nvSpPr>
              <p:cNvPr id="58" name="Oval 38"/>
              <p:cNvSpPr>
                <a:spLocks noChangeAspect="1" noChangeArrowheads="1"/>
              </p:cNvSpPr>
              <p:nvPr>
                <p:custDataLst>
                  <p:tags r:id="rId18"/>
                </p:custDataLst>
              </p:nvPr>
            </p:nvSpPr>
            <p:spPr bwMode="gray">
              <a:xfrm>
                <a:off x="4533" y="183"/>
                <a:ext cx="144" cy="144"/>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59" name="Arc 39"/>
              <p:cNvSpPr>
                <a:spLocks noChangeAspect="1"/>
              </p:cNvSpPr>
              <p:nvPr>
                <p:custDataLst>
                  <p:tags r:id="rId19"/>
                </p:custDataLst>
              </p:nvPr>
            </p:nvSpPr>
            <p:spPr bwMode="gray">
              <a:xfrm>
                <a:off x="4533" y="183"/>
                <a:ext cx="144" cy="144"/>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grpSp>
        <p:grpSp>
          <p:nvGrpSpPr>
            <p:cNvPr id="41" name="MoonLegend2"/>
            <p:cNvGrpSpPr>
              <a:grpSpLocks noChangeAspect="1"/>
            </p:cNvGrpSpPr>
            <p:nvPr>
              <p:custDataLst>
                <p:tags r:id="rId6"/>
              </p:custDataLst>
            </p:nvPr>
          </p:nvGrpSpPr>
          <p:grpSpPr bwMode="gray">
            <a:xfrm>
              <a:off x="7769225" y="525066"/>
              <a:ext cx="209550" cy="209551"/>
              <a:chOff x="1694" y="2044"/>
              <a:chExt cx="160" cy="160"/>
            </a:xfrm>
          </p:grpSpPr>
          <p:sp>
            <p:nvSpPr>
              <p:cNvPr id="56" name="Oval 41"/>
              <p:cNvSpPr>
                <a:spLocks noChangeAspect="1" noChangeArrowheads="1"/>
              </p:cNvSpPr>
              <p:nvPr>
                <p:custDataLst>
                  <p:tags r:id="rId16"/>
                </p:custDataLst>
              </p:nvPr>
            </p:nvSpPr>
            <p:spPr bwMode="gray">
              <a:xfrm>
                <a:off x="1694" y="2044"/>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57" name="Arc 42"/>
              <p:cNvSpPr>
                <a:spLocks noChangeAspect="1"/>
              </p:cNvSpPr>
              <p:nvPr>
                <p:custDataLst>
                  <p:tags r:id="rId17"/>
                </p:custDataLst>
              </p:nvPr>
            </p:nvSpPr>
            <p:spPr bwMode="gray">
              <a:xfrm>
                <a:off x="1694" y="2044"/>
                <a:ext cx="160" cy="160"/>
              </a:xfrm>
              <a:prstGeom prst="arc">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grpSp>
        <p:grpSp>
          <p:nvGrpSpPr>
            <p:cNvPr id="42" name="MoonLegend4"/>
            <p:cNvGrpSpPr>
              <a:grpSpLocks noChangeAspect="1"/>
            </p:cNvGrpSpPr>
            <p:nvPr>
              <p:custDataLst>
                <p:tags r:id="rId7"/>
              </p:custDataLst>
            </p:nvPr>
          </p:nvGrpSpPr>
          <p:grpSpPr bwMode="gray">
            <a:xfrm>
              <a:off x="7769225" y="1073548"/>
              <a:ext cx="209550" cy="209551"/>
              <a:chOff x="4495" y="1198"/>
              <a:chExt cx="160" cy="160"/>
            </a:xfrm>
          </p:grpSpPr>
          <p:sp>
            <p:nvSpPr>
              <p:cNvPr id="54"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55" name="Arc 48"/>
              <p:cNvSpPr>
                <a:spLocks noChangeAspect="1"/>
              </p:cNvSpPr>
              <p:nvPr>
                <p:custDataLst>
                  <p:tags r:id="rId15"/>
                </p:custDataLst>
              </p:nvPr>
            </p:nvSpPr>
            <p:spPr bwMode="gray">
              <a:xfrm>
                <a:off x="4495" y="1198"/>
                <a:ext cx="160" cy="160"/>
              </a:xfrm>
              <a:prstGeom prst="arc">
                <a:avLst>
                  <a:gd name="adj1" fmla="val 16200000"/>
                  <a:gd name="adj2" fmla="val 108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grpSp>
        <p:grpSp>
          <p:nvGrpSpPr>
            <p:cNvPr id="43" name="MoonLegend5"/>
            <p:cNvGrpSpPr>
              <a:grpSpLocks noChangeAspect="1"/>
            </p:cNvGrpSpPr>
            <p:nvPr>
              <p:custDataLst>
                <p:tags r:id="rId8"/>
              </p:custDataLst>
            </p:nvPr>
          </p:nvGrpSpPr>
          <p:grpSpPr bwMode="gray">
            <a:xfrm>
              <a:off x="7769225" y="1347790"/>
              <a:ext cx="209550" cy="209551"/>
              <a:chOff x="4495" y="1440"/>
              <a:chExt cx="160" cy="160"/>
            </a:xfrm>
          </p:grpSpPr>
          <p:sp>
            <p:nvSpPr>
              <p:cNvPr id="52" name="Oval 50"/>
              <p:cNvSpPr>
                <a:spLocks noChangeAspect="1" noChangeArrowheads="1"/>
              </p:cNvSpPr>
              <p:nvPr>
                <p:custDataLst>
                  <p:tags r:id="rId12"/>
                </p:custDataLst>
              </p:nvPr>
            </p:nvSpPr>
            <p:spPr bwMode="gray">
              <a:xfrm>
                <a:off x="4495" y="1440"/>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53" name="Oval 51"/>
              <p:cNvSpPr>
                <a:spLocks noChangeAspect="1" noChangeArrowheads="1"/>
              </p:cNvSpPr>
              <p:nvPr>
                <p:custDataLst>
                  <p:tags r:id="rId13"/>
                </p:custDataLst>
              </p:nvPr>
            </p:nvSpPr>
            <p:spPr bwMode="gray">
              <a:xfrm>
                <a:off x="4495" y="1440"/>
                <a:ext cx="160" cy="160"/>
              </a:xfrm>
              <a:prstGeom prst="arc">
                <a:avLst>
                  <a:gd name="adj1" fmla="val 16200000"/>
                  <a:gd name="adj2" fmla="val 162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grpSp>
        <p:grpSp>
          <p:nvGrpSpPr>
            <p:cNvPr id="44" name="MoonLegend3"/>
            <p:cNvGrpSpPr>
              <a:grpSpLocks noChangeAspect="1"/>
            </p:cNvGrpSpPr>
            <p:nvPr>
              <p:custDataLst>
                <p:tags r:id="rId9"/>
              </p:custDataLst>
            </p:nvPr>
          </p:nvGrpSpPr>
          <p:grpSpPr bwMode="gray">
            <a:xfrm>
              <a:off x="7769225" y="799307"/>
              <a:ext cx="209550" cy="209551"/>
              <a:chOff x="4495" y="1198"/>
              <a:chExt cx="160" cy="160"/>
            </a:xfrm>
          </p:grpSpPr>
          <p:sp>
            <p:nvSpPr>
              <p:cNvPr id="50" name="Oval 47"/>
              <p:cNvSpPr>
                <a:spLocks noChangeAspect="1" noChangeArrowheads="1"/>
              </p:cNvSpPr>
              <p:nvPr>
                <p:custDataLst>
                  <p:tags r:id="rId10"/>
                </p:custDataLst>
              </p:nvPr>
            </p:nvSpPr>
            <p:spPr bwMode="gray">
              <a:xfrm>
                <a:off x="4495" y="1198"/>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51" name="Arc 48"/>
              <p:cNvSpPr>
                <a:spLocks noChangeAspect="1"/>
              </p:cNvSpPr>
              <p:nvPr>
                <p:custDataLst>
                  <p:tags r:id="rId11"/>
                </p:custDataLst>
              </p:nvPr>
            </p:nvSpPr>
            <p:spPr bwMode="gray">
              <a:xfrm>
                <a:off x="4495" y="1198"/>
                <a:ext cx="160" cy="160"/>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grpSp>
        <p:sp>
          <p:nvSpPr>
            <p:cNvPr id="45" name="Legend1"/>
            <p:cNvSpPr>
              <a:spLocks noChangeArrowheads="1"/>
            </p:cNvSpPr>
            <p:nvPr/>
          </p:nvSpPr>
          <p:spPr bwMode="gray">
            <a:xfrm>
              <a:off x="8089900" y="263525"/>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46" name="Legend2"/>
            <p:cNvSpPr>
              <a:spLocks noChangeArrowheads="1"/>
            </p:cNvSpPr>
            <p:nvPr/>
          </p:nvSpPr>
          <p:spPr bwMode="gray">
            <a:xfrm>
              <a:off x="8089900" y="538163"/>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47" name="Legend3"/>
            <p:cNvSpPr>
              <a:spLocks noChangeArrowheads="1"/>
            </p:cNvSpPr>
            <p:nvPr/>
          </p:nvSpPr>
          <p:spPr bwMode="gray">
            <a:xfrm>
              <a:off x="8089900" y="812802"/>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48" name="Legend4"/>
            <p:cNvSpPr>
              <a:spLocks noChangeArrowheads="1"/>
            </p:cNvSpPr>
            <p:nvPr/>
          </p:nvSpPr>
          <p:spPr bwMode="gray">
            <a:xfrm>
              <a:off x="8089900" y="1084265"/>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49" name="Legend5"/>
            <p:cNvSpPr>
              <a:spLocks noChangeArrowheads="1"/>
            </p:cNvSpPr>
            <p:nvPr/>
          </p:nvSpPr>
          <p:spPr bwMode="gray">
            <a:xfrm>
              <a:off x="8089900" y="1360490"/>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grpSp>
      <p:sp>
        <p:nvSpPr>
          <p:cNvPr id="60" name="SlideBottomBar" hidden="1"/>
          <p:cNvSpPr/>
          <p:nvPr userDrawn="1"/>
        </p:nvSpPr>
        <p:spPr>
          <a:xfrm>
            <a:off x="12003218" y="6639739"/>
            <a:ext cx="46648" cy="126340"/>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7" baseline="0" dirty="0">
              <a:solidFill>
                <a:schemeClr val="tx1"/>
              </a:solidFill>
              <a:latin typeface="+mn-lt"/>
              <a:ea typeface="+mn-ea"/>
            </a:endParaRPr>
          </a:p>
        </p:txBody>
      </p:sp>
      <p:sp>
        <p:nvSpPr>
          <p:cNvPr id="61" name="Text Placeholder 2"/>
          <p:cNvSpPr>
            <a:spLocks noGrp="1"/>
          </p:cNvSpPr>
          <p:nvPr userDrawn="1">
            <p:ph type="body" idx="1"/>
          </p:nvPr>
        </p:nvSpPr>
        <p:spPr bwMode="gray">
          <a:xfrm>
            <a:off x="1482091" y="1991016"/>
            <a:ext cx="4389573" cy="1346156"/>
          </a:xfrm>
          <a:prstGeom prst="rect">
            <a:avLst/>
          </a:prstGeom>
        </p:spPr>
        <p:txBody>
          <a:bodyPr vert="horz" lIns="0" tIns="0" rIns="0" bIns="0" rtlCol="0">
            <a:noAutofit/>
          </a:bodyPr>
          <a:lstStyle/>
          <a:p>
            <a:pPr lvl="0" latinLnBrk="0"/>
            <a:r>
              <a:rPr lang="en-US"/>
              <a:t>Click to 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spTree>
    <p:extLst>
      <p:ext uri="{BB962C8B-B14F-4D97-AF65-F5344CB8AC3E}">
        <p14:creationId xmlns:p14="http://schemas.microsoft.com/office/powerpoint/2010/main" val="1512060691"/>
      </p:ext>
    </p:extLst>
  </p:cSld>
  <p:clrMap bg1="lt1" tx1="dk1" bg2="lt2" tx2="dk2" accent1="accent1" accent2="accent2" accent3="accent3" accent4="accent4" accent5="accent5" accent6="accent6" hlink="hlink" folHlink="folHlink"/>
  <p:sldLayoutIdLst>
    <p:sldLayoutId id="2147483691" r:id="rId1"/>
  </p:sldLayoutIdLst>
  <p:hf hdr="0" ftr="0" dt="0"/>
  <p:txStyles>
    <p:titleStyle>
      <a:lvl1pPr algn="l" defTabSz="1218095" rtl="0" eaLnBrk="1" fontAlgn="base" hangingPunct="1">
        <a:spcBef>
          <a:spcPct val="0"/>
        </a:spcBef>
        <a:spcAft>
          <a:spcPct val="0"/>
        </a:spcAft>
        <a:tabLst>
          <a:tab pos="367156" algn="l"/>
        </a:tabLst>
        <a:defRPr sz="2041" b="0" baseline="0">
          <a:solidFill>
            <a:schemeClr val="tx1"/>
          </a:solidFill>
          <a:latin typeface="+mj-lt"/>
          <a:ea typeface="+mj-ea"/>
          <a:cs typeface="+mj-cs"/>
        </a:defRPr>
      </a:lvl1pPr>
      <a:lvl2pPr algn="l" defTabSz="1218095" rtl="0" eaLnBrk="1" fontAlgn="base" hangingPunct="1">
        <a:spcBef>
          <a:spcPct val="0"/>
        </a:spcBef>
        <a:spcAft>
          <a:spcPct val="0"/>
        </a:spcAft>
        <a:defRPr sz="2584" b="1">
          <a:solidFill>
            <a:schemeClr val="tx2"/>
          </a:solidFill>
          <a:latin typeface="Arial" charset="0"/>
        </a:defRPr>
      </a:lvl2pPr>
      <a:lvl3pPr algn="l" defTabSz="1218095" rtl="0" eaLnBrk="1" fontAlgn="base" hangingPunct="1">
        <a:spcBef>
          <a:spcPct val="0"/>
        </a:spcBef>
        <a:spcAft>
          <a:spcPct val="0"/>
        </a:spcAft>
        <a:defRPr sz="2584" b="1">
          <a:solidFill>
            <a:schemeClr val="tx2"/>
          </a:solidFill>
          <a:latin typeface="Arial" charset="0"/>
        </a:defRPr>
      </a:lvl3pPr>
      <a:lvl4pPr algn="l" defTabSz="1218095" rtl="0" eaLnBrk="1" fontAlgn="base" hangingPunct="1">
        <a:spcBef>
          <a:spcPct val="0"/>
        </a:spcBef>
        <a:spcAft>
          <a:spcPct val="0"/>
        </a:spcAft>
        <a:defRPr sz="2584" b="1">
          <a:solidFill>
            <a:schemeClr val="tx2"/>
          </a:solidFill>
          <a:latin typeface="Arial" charset="0"/>
        </a:defRPr>
      </a:lvl4pPr>
      <a:lvl5pPr algn="l" defTabSz="1218095" rtl="0" eaLnBrk="1" fontAlgn="base" hangingPunct="1">
        <a:spcBef>
          <a:spcPct val="0"/>
        </a:spcBef>
        <a:spcAft>
          <a:spcPct val="0"/>
        </a:spcAft>
        <a:defRPr sz="2584" b="1">
          <a:solidFill>
            <a:schemeClr val="tx2"/>
          </a:solidFill>
          <a:latin typeface="Arial" charset="0"/>
        </a:defRPr>
      </a:lvl5pPr>
      <a:lvl6pPr marL="622005" algn="l" defTabSz="1218095" rtl="0" eaLnBrk="1" fontAlgn="base" hangingPunct="1">
        <a:spcBef>
          <a:spcPct val="0"/>
        </a:spcBef>
        <a:spcAft>
          <a:spcPct val="0"/>
        </a:spcAft>
        <a:defRPr sz="2584" b="1">
          <a:solidFill>
            <a:schemeClr val="tx2"/>
          </a:solidFill>
          <a:latin typeface="Arial" charset="0"/>
        </a:defRPr>
      </a:lvl6pPr>
      <a:lvl7pPr marL="1244012" algn="l" defTabSz="1218095" rtl="0" eaLnBrk="1" fontAlgn="base" hangingPunct="1">
        <a:spcBef>
          <a:spcPct val="0"/>
        </a:spcBef>
        <a:spcAft>
          <a:spcPct val="0"/>
        </a:spcAft>
        <a:defRPr sz="2584" b="1">
          <a:solidFill>
            <a:schemeClr val="tx2"/>
          </a:solidFill>
          <a:latin typeface="Arial" charset="0"/>
        </a:defRPr>
      </a:lvl7pPr>
      <a:lvl8pPr marL="1866017" algn="l" defTabSz="1218095" rtl="0" eaLnBrk="1" fontAlgn="base" hangingPunct="1">
        <a:spcBef>
          <a:spcPct val="0"/>
        </a:spcBef>
        <a:spcAft>
          <a:spcPct val="0"/>
        </a:spcAft>
        <a:defRPr sz="2584" b="1">
          <a:solidFill>
            <a:schemeClr val="tx2"/>
          </a:solidFill>
          <a:latin typeface="Arial" charset="0"/>
        </a:defRPr>
      </a:lvl8pPr>
      <a:lvl9pPr marL="2488024" algn="l" defTabSz="1218095" rtl="0" eaLnBrk="1" fontAlgn="base" hangingPunct="1">
        <a:spcBef>
          <a:spcPct val="0"/>
        </a:spcBef>
        <a:spcAft>
          <a:spcPct val="0"/>
        </a:spcAft>
        <a:defRPr sz="2584" b="1">
          <a:solidFill>
            <a:schemeClr val="tx2"/>
          </a:solidFill>
          <a:latin typeface="Arial" charset="0"/>
        </a:defRPr>
      </a:lvl9pPr>
    </p:titleStyle>
    <p:bodyStyle>
      <a:lvl1pPr marL="0" indent="0" algn="l" defTabSz="913526" rtl="0" eaLnBrk="1" fontAlgn="base" latinLnBrk="0" hangingPunct="1">
        <a:spcBef>
          <a:spcPct val="0"/>
        </a:spcBef>
        <a:spcAft>
          <a:spcPct val="0"/>
        </a:spcAft>
        <a:buClr>
          <a:schemeClr val="tx2"/>
        </a:buClr>
        <a:buSzPct val="100000"/>
        <a:defRPr lang="en-US" sz="1632" baseline="0" dirty="0">
          <a:solidFill>
            <a:schemeClr val="tx1"/>
          </a:solidFill>
          <a:latin typeface="+mn-lt"/>
          <a:ea typeface="+mn-ea"/>
          <a:cs typeface="+mn-cs"/>
        </a:defRPr>
      </a:lvl1pPr>
      <a:lvl2pPr marL="198346" indent="-194673" algn="l" defTabSz="913526" rtl="0" eaLnBrk="1" fontAlgn="base" latinLnBrk="0" hangingPunct="1">
        <a:spcBef>
          <a:spcPct val="0"/>
        </a:spcBef>
        <a:spcAft>
          <a:spcPct val="0"/>
        </a:spcAft>
        <a:buClr>
          <a:schemeClr val="tx2"/>
        </a:buClr>
        <a:buSzPct val="125000"/>
        <a:buFont typeface="Arial" charset="0"/>
        <a:buChar char="▪"/>
        <a:defRPr lang="en-US" sz="1632" baseline="0" dirty="0">
          <a:solidFill>
            <a:schemeClr val="tx1"/>
          </a:solidFill>
          <a:latin typeface="+mn-lt"/>
          <a:ea typeface="+mn-ea"/>
          <a:cs typeface="+mn-cs"/>
        </a:defRPr>
      </a:lvl2pPr>
      <a:lvl3pPr marL="455462" indent="-253443" algn="l" defTabSz="913526" rtl="0" eaLnBrk="1" fontAlgn="base" latinLnBrk="0" hangingPunct="1">
        <a:spcBef>
          <a:spcPct val="0"/>
        </a:spcBef>
        <a:spcAft>
          <a:spcPct val="0"/>
        </a:spcAft>
        <a:buClr>
          <a:schemeClr val="tx2"/>
        </a:buClr>
        <a:buSzPct val="120000"/>
        <a:buFont typeface="Arial" charset="0"/>
        <a:buChar char="–"/>
        <a:defRPr lang="en-US" sz="1632" baseline="0" dirty="0">
          <a:solidFill>
            <a:schemeClr val="tx1"/>
          </a:solidFill>
          <a:latin typeface="+mn-lt"/>
          <a:ea typeface="+mn-ea"/>
          <a:cs typeface="+mn-cs"/>
        </a:defRPr>
      </a:lvl3pPr>
      <a:lvl4pPr marL="628097" indent="-157942" algn="l" defTabSz="913526" rtl="0" eaLnBrk="1" fontAlgn="base" latinLnBrk="0" hangingPunct="1">
        <a:spcBef>
          <a:spcPct val="0"/>
        </a:spcBef>
        <a:spcAft>
          <a:spcPct val="0"/>
        </a:spcAft>
        <a:buClr>
          <a:schemeClr val="tx2"/>
        </a:buClr>
        <a:buSzPct val="120000"/>
        <a:buFont typeface="Arial" charset="0"/>
        <a:buChar char="▫"/>
        <a:defRPr lang="en-US" sz="1632" baseline="0" dirty="0">
          <a:solidFill>
            <a:schemeClr val="tx1"/>
          </a:solidFill>
          <a:latin typeface="+mn-lt"/>
          <a:ea typeface="+mn-ea"/>
          <a:cs typeface="+mn-cs"/>
        </a:defRPr>
      </a:lvl4pPr>
      <a:lvl5pPr marL="764001" indent="-132231" algn="l" defTabSz="913526" rtl="0" eaLnBrk="1" fontAlgn="base" latinLnBrk="0" hangingPunct="1">
        <a:spcBef>
          <a:spcPct val="0"/>
        </a:spcBef>
        <a:spcAft>
          <a:spcPct val="0"/>
        </a:spcAft>
        <a:buClr>
          <a:schemeClr val="tx2"/>
        </a:buClr>
        <a:buSzPct val="89000"/>
        <a:buFont typeface="Arial" charset="0"/>
        <a:buChar char="-"/>
        <a:defRPr lang="en-US" sz="1632" baseline="0" dirty="0">
          <a:solidFill>
            <a:schemeClr val="tx1"/>
          </a:solidFill>
          <a:latin typeface="+mn-lt"/>
          <a:ea typeface="+mn-ea"/>
          <a:cs typeface="+mn-cs"/>
        </a:defRPr>
      </a:lvl5pPr>
      <a:lvl6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6pPr>
      <a:lvl7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7pPr>
      <a:lvl8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8pPr>
      <a:lvl9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9pPr>
    </p:bodyStyle>
    <p:otherStyle>
      <a:defPPr>
        <a:defRPr lang="en-US"/>
      </a:defPPr>
      <a:lvl1pPr marL="0" algn="l" defTabSz="1244012" rtl="0" eaLnBrk="1" latinLnBrk="0" hangingPunct="1">
        <a:defRPr sz="2449" kern="1200">
          <a:solidFill>
            <a:schemeClr val="tx1"/>
          </a:solidFill>
          <a:latin typeface="+mn-lt"/>
          <a:ea typeface="+mn-ea"/>
          <a:cs typeface="+mn-cs"/>
        </a:defRPr>
      </a:lvl1pPr>
      <a:lvl2pPr marL="622005" algn="l" defTabSz="1244012" rtl="0" eaLnBrk="1" latinLnBrk="0" hangingPunct="1">
        <a:defRPr sz="2449" kern="1200">
          <a:solidFill>
            <a:schemeClr val="tx1"/>
          </a:solidFill>
          <a:latin typeface="+mn-lt"/>
          <a:ea typeface="+mn-ea"/>
          <a:cs typeface="+mn-cs"/>
        </a:defRPr>
      </a:lvl2pPr>
      <a:lvl3pPr marL="1244012" algn="l" defTabSz="1244012" rtl="0" eaLnBrk="1" latinLnBrk="0" hangingPunct="1">
        <a:defRPr sz="2449" kern="1200">
          <a:solidFill>
            <a:schemeClr val="tx1"/>
          </a:solidFill>
          <a:latin typeface="+mn-lt"/>
          <a:ea typeface="+mn-ea"/>
          <a:cs typeface="+mn-cs"/>
        </a:defRPr>
      </a:lvl3pPr>
      <a:lvl4pPr marL="1866017" algn="l" defTabSz="1244012" rtl="0" eaLnBrk="1" latinLnBrk="0" hangingPunct="1">
        <a:defRPr sz="2449" kern="1200">
          <a:solidFill>
            <a:schemeClr val="tx1"/>
          </a:solidFill>
          <a:latin typeface="+mn-lt"/>
          <a:ea typeface="+mn-ea"/>
          <a:cs typeface="+mn-cs"/>
        </a:defRPr>
      </a:lvl4pPr>
      <a:lvl5pPr marL="2488024" algn="l" defTabSz="1244012" rtl="0" eaLnBrk="1" latinLnBrk="0" hangingPunct="1">
        <a:defRPr sz="2449" kern="1200">
          <a:solidFill>
            <a:schemeClr val="tx1"/>
          </a:solidFill>
          <a:latin typeface="+mn-lt"/>
          <a:ea typeface="+mn-ea"/>
          <a:cs typeface="+mn-cs"/>
        </a:defRPr>
      </a:lvl5pPr>
      <a:lvl6pPr marL="3110029" algn="l" defTabSz="1244012" rtl="0" eaLnBrk="1" latinLnBrk="0" hangingPunct="1">
        <a:defRPr sz="2449" kern="1200">
          <a:solidFill>
            <a:schemeClr val="tx1"/>
          </a:solidFill>
          <a:latin typeface="+mn-lt"/>
          <a:ea typeface="+mn-ea"/>
          <a:cs typeface="+mn-cs"/>
        </a:defRPr>
      </a:lvl6pPr>
      <a:lvl7pPr marL="3732036" algn="l" defTabSz="1244012" rtl="0" eaLnBrk="1" latinLnBrk="0" hangingPunct="1">
        <a:defRPr sz="2449" kern="1200">
          <a:solidFill>
            <a:schemeClr val="tx1"/>
          </a:solidFill>
          <a:latin typeface="+mn-lt"/>
          <a:ea typeface="+mn-ea"/>
          <a:cs typeface="+mn-cs"/>
        </a:defRPr>
      </a:lvl7pPr>
      <a:lvl8pPr marL="4354041" algn="l" defTabSz="1244012" rtl="0" eaLnBrk="1" latinLnBrk="0" hangingPunct="1">
        <a:defRPr sz="2449" kern="1200">
          <a:solidFill>
            <a:schemeClr val="tx1"/>
          </a:solidFill>
          <a:latin typeface="+mn-lt"/>
          <a:ea typeface="+mn-ea"/>
          <a:cs typeface="+mn-cs"/>
        </a:defRPr>
      </a:lvl8pPr>
      <a:lvl9pPr marL="4976048" algn="l" defTabSz="1244012" rtl="0" eaLnBrk="1" latinLnBrk="0" hangingPunct="1">
        <a:defRPr sz="244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3681122854"/>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20" imgW="270" imgH="270" progId="TCLayout.ActiveDocument.1">
                  <p:embed/>
                </p:oleObj>
              </mc:Choice>
              <mc:Fallback>
                <p:oleObj name="think-cell Slide" r:id="rId20" imgW="270" imgH="270" progId="TCLayout.ActiveDocument.1">
                  <p:embed/>
                  <p:pic>
                    <p:nvPicPr>
                      <p:cNvPr id="2" name="Object 1" hidden="1"/>
                      <p:cNvPicPr/>
                      <p:nvPr/>
                    </p:nvPicPr>
                    <p:blipFill>
                      <a:blip r:embed="rId21"/>
                      <a:stretch>
                        <a:fillRect/>
                      </a:stretch>
                    </p:blipFill>
                    <p:spPr>
                      <a:xfrm>
                        <a:off x="0" y="0"/>
                        <a:ext cx="215979" cy="161974"/>
                      </a:xfrm>
                      <a:prstGeom prst="rect">
                        <a:avLst/>
                      </a:prstGeom>
                    </p:spPr>
                  </p:pic>
                </p:oleObj>
              </mc:Fallback>
            </mc:AlternateContent>
          </a:graphicData>
        </a:graphic>
      </p:graphicFrame>
      <p:sp>
        <p:nvSpPr>
          <p:cNvPr id="6" name="Rectangle 5" hidden="1"/>
          <p:cNvSpPr/>
          <p:nvPr userDrawn="1">
            <p:custDataLst>
              <p:tags r:id="rId4"/>
            </p:custDataLst>
          </p:nvPr>
        </p:nvSpPr>
        <p:spPr bwMode="auto">
          <a:xfrm>
            <a:off x="0"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en-US" sz="2176" b="0" i="0" baseline="0" dirty="0">
              <a:solidFill>
                <a:schemeClr val="tx1"/>
              </a:solidFill>
              <a:latin typeface="Arial" panose="020B0604020202020204" pitchFamily="34" charset="0"/>
              <a:ea typeface="+mn-ea"/>
              <a:cs typeface="+mn-cs"/>
              <a:sym typeface="Arial" panose="020B0604020202020204" pitchFamily="34" charset="0"/>
            </a:endParaRPr>
          </a:p>
        </p:txBody>
      </p:sp>
      <p:sp>
        <p:nvSpPr>
          <p:cNvPr id="1033" name="doc id" hidden="1"/>
          <p:cNvSpPr>
            <a:spLocks noChangeArrowheads="1"/>
          </p:cNvSpPr>
          <p:nvPr/>
        </p:nvSpPr>
        <p:spPr bwMode="gray">
          <a:xfrm flipH="1">
            <a:off x="10658002" y="51835"/>
            <a:ext cx="1231563" cy="96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8095"/>
            <a:endParaRPr lang="en-US" sz="612" baseline="0" noProof="0" dirty="0">
              <a:solidFill>
                <a:schemeClr val="accent6"/>
              </a:solidFill>
              <a:latin typeface="+mn-lt"/>
              <a:ea typeface="+mn-ea"/>
            </a:endParaRPr>
          </a:p>
        </p:txBody>
      </p:sp>
      <p:sp>
        <p:nvSpPr>
          <p:cNvPr id="1034" name="Working Draft" hidden="1"/>
          <p:cNvSpPr txBox="1">
            <a:spLocks noChangeArrowheads="1"/>
          </p:cNvSpPr>
          <p:nvPr/>
        </p:nvSpPr>
        <p:spPr bwMode="gray">
          <a:xfrm rot="5400000">
            <a:off x="11064117" y="1979060"/>
            <a:ext cx="2065716" cy="96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612" baseline="0" noProof="0">
                <a:solidFill>
                  <a:schemeClr val="accent6"/>
                </a:solidFill>
                <a:latin typeface="+mn-lt"/>
                <a:ea typeface="+mn-ea"/>
              </a:rPr>
              <a:t>Last Modified 9/20/2021 10:42 AM Eastern Standard Time</a:t>
            </a:r>
            <a:endParaRPr lang="en-US" sz="612" baseline="0" noProof="0" dirty="0">
              <a:solidFill>
                <a:schemeClr val="accent6"/>
              </a:solidFill>
              <a:latin typeface="+mn-lt"/>
              <a:ea typeface="+mn-ea"/>
            </a:endParaRPr>
          </a:p>
        </p:txBody>
      </p:sp>
      <p:sp>
        <p:nvSpPr>
          <p:cNvPr id="1035" name="Printed" hidden="1"/>
          <p:cNvSpPr txBox="1">
            <a:spLocks noChangeArrowheads="1"/>
          </p:cNvSpPr>
          <p:nvPr/>
        </p:nvSpPr>
        <p:spPr bwMode="gray">
          <a:xfrm rot="5400000">
            <a:off x="11175331" y="4197040"/>
            <a:ext cx="1843280" cy="96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612" baseline="0" noProof="0">
                <a:solidFill>
                  <a:schemeClr val="accent6"/>
                </a:solidFill>
                <a:latin typeface="+mn-lt"/>
                <a:ea typeface="+mn-ea"/>
              </a:rPr>
              <a:t>Printed 12/16/2020 8:01 AM Eastern Standard Time</a:t>
            </a:r>
            <a:endParaRPr lang="en-US" sz="612" baseline="0" noProof="0" dirty="0">
              <a:solidFill>
                <a:schemeClr val="accent6"/>
              </a:solidFill>
              <a:latin typeface="+mn-lt"/>
              <a:ea typeface="+mn-ea"/>
            </a:endParaRPr>
          </a:p>
        </p:txBody>
      </p:sp>
      <p:sp>
        <p:nvSpPr>
          <p:cNvPr id="19" name="Title Placeholder 2"/>
          <p:cNvSpPr>
            <a:spLocks noGrp="1" noChangeArrowheads="1"/>
          </p:cNvSpPr>
          <p:nvPr>
            <p:ph type="title"/>
          </p:nvPr>
        </p:nvSpPr>
        <p:spPr bwMode="gray">
          <a:xfrm>
            <a:off x="161987" y="234865"/>
            <a:ext cx="11725484"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endParaRPr lang="en-US" noProof="0" dirty="0"/>
          </a:p>
        </p:txBody>
      </p:sp>
      <p:sp>
        <p:nvSpPr>
          <p:cNvPr id="10" name="1. On-page tracker" hidden="1"/>
          <p:cNvSpPr>
            <a:spLocks noChangeArrowheads="1"/>
          </p:cNvSpPr>
          <p:nvPr userDrawn="1"/>
        </p:nvSpPr>
        <p:spPr bwMode="gray">
          <a:xfrm>
            <a:off x="161985" y="77303"/>
            <a:ext cx="511939"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16" cap="all" baseline="0" noProof="0" dirty="0">
                <a:solidFill>
                  <a:schemeClr val="accent6"/>
                </a:solidFill>
                <a:latin typeface="+mn-lt"/>
                <a:ea typeface="+mn-ea"/>
              </a:rPr>
              <a:t>Tracker</a:t>
            </a:r>
          </a:p>
        </p:txBody>
      </p:sp>
      <p:sp>
        <p:nvSpPr>
          <p:cNvPr id="11" name="3. Unit of measure" hidden="1"/>
          <p:cNvSpPr txBox="1">
            <a:spLocks noChangeArrowheads="1"/>
          </p:cNvSpPr>
          <p:nvPr userDrawn="1"/>
        </p:nvSpPr>
        <p:spPr bwMode="gray">
          <a:xfrm>
            <a:off x="161987" y="566136"/>
            <a:ext cx="11725484" cy="256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32" baseline="0" noProof="0">
                <a:solidFill>
                  <a:schemeClr val="accent6"/>
                </a:solidFill>
                <a:latin typeface="+mn-lt"/>
                <a:ea typeface="+mn-ea"/>
              </a:rPr>
              <a:t>CLIENT</a:t>
            </a:r>
            <a:endParaRPr lang="en-US" sz="1632" baseline="0" noProof="0" dirty="0">
              <a:solidFill>
                <a:schemeClr val="accent6"/>
              </a:solidFill>
              <a:latin typeface="+mn-lt"/>
              <a:ea typeface="+mn-ea"/>
            </a:endParaRPr>
          </a:p>
        </p:txBody>
      </p:sp>
      <p:sp>
        <p:nvSpPr>
          <p:cNvPr id="13" name="4. Footnote" hidden="1"/>
          <p:cNvSpPr txBox="1">
            <a:spLocks noChangeArrowheads="1"/>
          </p:cNvSpPr>
          <p:nvPr/>
        </p:nvSpPr>
        <p:spPr bwMode="gray">
          <a:xfrm>
            <a:off x="161985" y="6432273"/>
            <a:ext cx="11630454"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7465" indent="-87465">
              <a:defRPr/>
            </a:pPr>
            <a:r>
              <a:rPr lang="en-US" sz="816" baseline="0" noProof="0">
                <a:solidFill>
                  <a:schemeClr val="accent6"/>
                </a:solidFill>
                <a:latin typeface="+mn-lt"/>
                <a:ea typeface="+mn-ea"/>
              </a:rPr>
              <a:t>1 Footnote</a:t>
            </a:r>
            <a:endParaRPr lang="en-US" sz="816" baseline="0" noProof="0" dirty="0">
              <a:solidFill>
                <a:schemeClr val="accent6"/>
              </a:solidFill>
              <a:latin typeface="+mn-lt"/>
              <a:ea typeface="+mn-ea"/>
            </a:endParaRPr>
          </a:p>
        </p:txBody>
      </p:sp>
      <p:sp>
        <p:nvSpPr>
          <p:cNvPr id="14" name="5. Source" hidden="1"/>
          <p:cNvSpPr>
            <a:spLocks noChangeArrowheads="1"/>
          </p:cNvSpPr>
          <p:nvPr/>
        </p:nvSpPr>
        <p:spPr bwMode="gray">
          <a:xfrm>
            <a:off x="161985" y="6637982"/>
            <a:ext cx="10155320"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03735" indent="-503735" defTabSz="1218095">
              <a:tabLst/>
            </a:pPr>
            <a:r>
              <a:rPr lang="en-US" sz="816" baseline="0" noProof="0" dirty="0">
                <a:solidFill>
                  <a:schemeClr val="accent6"/>
                </a:solidFill>
                <a:latin typeface="+mn-lt"/>
                <a:ea typeface="+mn-ea"/>
              </a:rPr>
              <a:t>SOURCE: Source</a:t>
            </a:r>
          </a:p>
        </p:txBody>
      </p:sp>
      <p:grpSp>
        <p:nvGrpSpPr>
          <p:cNvPr id="15" name="ACET" hidden="1"/>
          <p:cNvGrpSpPr>
            <a:grpSpLocks/>
          </p:cNvGrpSpPr>
          <p:nvPr userDrawn="1"/>
        </p:nvGrpSpPr>
        <p:grpSpPr bwMode="gray">
          <a:xfrm>
            <a:off x="1976207" y="1270343"/>
            <a:ext cx="5801188" cy="531276"/>
            <a:chOff x="915" y="702"/>
            <a:chExt cx="2686" cy="328"/>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32" b="1" baseline="0" noProof="0" dirty="0">
                  <a:latin typeface="+mn-lt"/>
                  <a:ea typeface="+mn-ea"/>
                </a:rPr>
                <a:t>Title</a:t>
              </a:r>
            </a:p>
            <a:p>
              <a:r>
                <a:rPr lang="en-US" sz="1632" baseline="0" noProof="0" dirty="0">
                  <a:solidFill>
                    <a:schemeClr val="accent6"/>
                  </a:solidFill>
                  <a:latin typeface="+mn-lt"/>
                  <a:ea typeface="+mn-ea"/>
                </a:rPr>
                <a:t>Unit of measure</a:t>
              </a:r>
            </a:p>
          </p:txBody>
        </p:sp>
      </p:grpSp>
      <p:grpSp>
        <p:nvGrpSpPr>
          <p:cNvPr id="17" name="Sticker" hidden="1"/>
          <p:cNvGrpSpPr/>
          <p:nvPr userDrawn="1"/>
        </p:nvGrpSpPr>
        <p:grpSpPr bwMode="gray">
          <a:xfrm>
            <a:off x="11394692" y="291554"/>
            <a:ext cx="492770" cy="156360"/>
            <a:chOff x="8378576" y="285750"/>
            <a:chExt cx="362199" cy="153247"/>
          </a:xfrm>
        </p:grpSpPr>
        <p:sp>
          <p:nvSpPr>
            <p:cNvPr id="20" name="StickerRectangle"/>
            <p:cNvSpPr>
              <a:spLocks noChangeArrowheads="1"/>
            </p:cNvSpPr>
            <p:nvPr/>
          </p:nvSpPr>
          <p:spPr bwMode="gray">
            <a:xfrm>
              <a:off x="8378576" y="285750"/>
              <a:ext cx="362199" cy="15324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1218095">
                <a:buClr>
                  <a:schemeClr val="tx2"/>
                </a:buClr>
              </a:pPr>
              <a:r>
                <a:rPr lang="en-US" sz="816"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378576" y="285750"/>
              <a:ext cx="0" cy="153247"/>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378576" y="438997"/>
              <a:ext cx="362199"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23" name="LegendBoxes" hidden="1"/>
          <p:cNvGrpSpPr/>
          <p:nvPr userDrawn="1"/>
        </p:nvGrpSpPr>
        <p:grpSpPr bwMode="gray">
          <a:xfrm>
            <a:off x="11108191" y="285075"/>
            <a:ext cx="789093" cy="1021522"/>
            <a:chOff x="7835905" y="279400"/>
            <a:chExt cx="773373" cy="1001186"/>
          </a:xfrm>
        </p:grpSpPr>
        <p:sp>
          <p:nvSpPr>
            <p:cNvPr id="24" name="RectangleLegend1"/>
            <p:cNvSpPr>
              <a:spLocks noChangeArrowheads="1"/>
            </p:cNvSpPr>
            <p:nvPr/>
          </p:nvSpPr>
          <p:spPr bwMode="gray">
            <a:xfrm>
              <a:off x="7835905" y="290513"/>
              <a:ext cx="165100" cy="160338"/>
            </a:xfrm>
            <a:prstGeom prst="rect">
              <a:avLst/>
            </a:prstGeom>
            <a:solidFill>
              <a:schemeClr val="accent1"/>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25" name="RectangleLegend2"/>
            <p:cNvSpPr>
              <a:spLocks noChangeArrowheads="1"/>
            </p:cNvSpPr>
            <p:nvPr/>
          </p:nvSpPr>
          <p:spPr bwMode="gray">
            <a:xfrm>
              <a:off x="7835905" y="560388"/>
              <a:ext cx="165100" cy="160338"/>
            </a:xfrm>
            <a:prstGeom prst="rect">
              <a:avLst/>
            </a:prstGeom>
            <a:solidFill>
              <a:schemeClr val="accent2"/>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26" name="RectangleLegend3"/>
            <p:cNvSpPr>
              <a:spLocks noChangeArrowheads="1"/>
            </p:cNvSpPr>
            <p:nvPr/>
          </p:nvSpPr>
          <p:spPr bwMode="gray">
            <a:xfrm>
              <a:off x="7835905" y="831851"/>
              <a:ext cx="165100" cy="160338"/>
            </a:xfrm>
            <a:prstGeom prst="rect">
              <a:avLst/>
            </a:prstGeom>
            <a:solidFill>
              <a:schemeClr val="accent3"/>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27" name="RectangleLegend4"/>
            <p:cNvSpPr>
              <a:spLocks noChangeArrowheads="1"/>
            </p:cNvSpPr>
            <p:nvPr/>
          </p:nvSpPr>
          <p:spPr bwMode="gray">
            <a:xfrm>
              <a:off x="7835905" y="1103313"/>
              <a:ext cx="165100" cy="160338"/>
            </a:xfrm>
            <a:prstGeom prst="rect">
              <a:avLst/>
            </a:prstGeom>
            <a:solidFill>
              <a:schemeClr val="accent4"/>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28" name="Legend1"/>
            <p:cNvSpPr>
              <a:spLocks noChangeArrowheads="1"/>
            </p:cNvSpPr>
            <p:nvPr/>
          </p:nvSpPr>
          <p:spPr bwMode="gray">
            <a:xfrm>
              <a:off x="8089905" y="27940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29" name="Legend2"/>
            <p:cNvSpPr>
              <a:spLocks noChangeArrowheads="1"/>
            </p:cNvSpPr>
            <p:nvPr/>
          </p:nvSpPr>
          <p:spPr bwMode="gray">
            <a:xfrm>
              <a:off x="8089905" y="549275"/>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30" name="Legend3"/>
            <p:cNvSpPr>
              <a:spLocks noChangeArrowheads="1"/>
            </p:cNvSpPr>
            <p:nvPr/>
          </p:nvSpPr>
          <p:spPr bwMode="gray">
            <a:xfrm>
              <a:off x="8089905" y="820738"/>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31" name="Legend4"/>
            <p:cNvSpPr>
              <a:spLocks noChangeArrowheads="1"/>
            </p:cNvSpPr>
            <p:nvPr/>
          </p:nvSpPr>
          <p:spPr bwMode="gray">
            <a:xfrm>
              <a:off x="8089905" y="1092201"/>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grpSp>
      <p:grpSp>
        <p:nvGrpSpPr>
          <p:cNvPr id="32" name="LegendLines" hidden="1"/>
          <p:cNvGrpSpPr/>
          <p:nvPr userDrawn="1"/>
        </p:nvGrpSpPr>
        <p:grpSpPr bwMode="gray">
          <a:xfrm>
            <a:off x="10794126" y="285075"/>
            <a:ext cx="1103328" cy="749405"/>
            <a:chOff x="7540629" y="279400"/>
            <a:chExt cx="1081348" cy="734486"/>
          </a:xfrm>
        </p:grpSpPr>
        <p:sp>
          <p:nvSpPr>
            <p:cNvPr id="33"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837" baseline="0" dirty="0">
                <a:latin typeface="+mn-lt"/>
                <a:ea typeface="+mn-ea"/>
              </a:endParaRPr>
            </a:p>
          </p:txBody>
        </p:sp>
        <p:sp>
          <p:nvSpPr>
            <p:cNvPr id="34"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837" baseline="0" dirty="0">
                <a:latin typeface="+mn-lt"/>
                <a:ea typeface="+mn-ea"/>
              </a:endParaRPr>
            </a:p>
          </p:txBody>
        </p:sp>
        <p:sp>
          <p:nvSpPr>
            <p:cNvPr id="35"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837" baseline="0" dirty="0">
                <a:latin typeface="+mn-lt"/>
                <a:ea typeface="+mn-ea"/>
              </a:endParaRPr>
            </a:p>
          </p:txBody>
        </p:sp>
        <p:sp>
          <p:nvSpPr>
            <p:cNvPr id="36" name="Legend1"/>
            <p:cNvSpPr>
              <a:spLocks noChangeArrowheads="1"/>
            </p:cNvSpPr>
            <p:nvPr/>
          </p:nvSpPr>
          <p:spPr bwMode="gray">
            <a:xfrm>
              <a:off x="8102604" y="27940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37" name="Legend2"/>
            <p:cNvSpPr>
              <a:spLocks noChangeArrowheads="1"/>
            </p:cNvSpPr>
            <p:nvPr/>
          </p:nvSpPr>
          <p:spPr bwMode="gray">
            <a:xfrm>
              <a:off x="8102604" y="54610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38" name="Legend3"/>
            <p:cNvSpPr>
              <a:spLocks noChangeArrowheads="1"/>
            </p:cNvSpPr>
            <p:nvPr/>
          </p:nvSpPr>
          <p:spPr bwMode="gray">
            <a:xfrm>
              <a:off x="8102604" y="825501"/>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grpSp>
      <p:grpSp>
        <p:nvGrpSpPr>
          <p:cNvPr id="39" name="LegendMoons" hidden="1"/>
          <p:cNvGrpSpPr/>
          <p:nvPr userDrawn="1"/>
        </p:nvGrpSpPr>
        <p:grpSpPr bwMode="gray">
          <a:xfrm>
            <a:off x="11040160" y="255920"/>
            <a:ext cx="857123" cy="1333054"/>
            <a:chOff x="7769225" y="250825"/>
            <a:chExt cx="840048" cy="1306516"/>
          </a:xfrm>
        </p:grpSpPr>
        <p:grpSp>
          <p:nvGrpSpPr>
            <p:cNvPr id="40" name="MoonLegend1"/>
            <p:cNvGrpSpPr>
              <a:grpSpLocks noChangeAspect="1"/>
            </p:cNvGrpSpPr>
            <p:nvPr>
              <p:custDataLst>
                <p:tags r:id="rId5"/>
              </p:custDataLst>
            </p:nvPr>
          </p:nvGrpSpPr>
          <p:grpSpPr bwMode="gray">
            <a:xfrm>
              <a:off x="7769225" y="250825"/>
              <a:ext cx="209550" cy="209551"/>
              <a:chOff x="4533" y="183"/>
              <a:chExt cx="144" cy="144"/>
            </a:xfrm>
          </p:grpSpPr>
          <p:sp>
            <p:nvSpPr>
              <p:cNvPr id="58" name="Oval 38"/>
              <p:cNvSpPr>
                <a:spLocks noChangeAspect="1" noChangeArrowheads="1"/>
              </p:cNvSpPr>
              <p:nvPr>
                <p:custDataLst>
                  <p:tags r:id="rId18"/>
                </p:custDataLst>
              </p:nvPr>
            </p:nvSpPr>
            <p:spPr bwMode="gray">
              <a:xfrm>
                <a:off x="4533" y="183"/>
                <a:ext cx="144" cy="144"/>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59" name="Arc 39"/>
              <p:cNvSpPr>
                <a:spLocks noChangeAspect="1"/>
              </p:cNvSpPr>
              <p:nvPr>
                <p:custDataLst>
                  <p:tags r:id="rId19"/>
                </p:custDataLst>
              </p:nvPr>
            </p:nvSpPr>
            <p:spPr bwMode="gray">
              <a:xfrm>
                <a:off x="4533" y="183"/>
                <a:ext cx="144" cy="144"/>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grpSp>
        <p:grpSp>
          <p:nvGrpSpPr>
            <p:cNvPr id="41" name="MoonLegend2"/>
            <p:cNvGrpSpPr>
              <a:grpSpLocks noChangeAspect="1"/>
            </p:cNvGrpSpPr>
            <p:nvPr>
              <p:custDataLst>
                <p:tags r:id="rId6"/>
              </p:custDataLst>
            </p:nvPr>
          </p:nvGrpSpPr>
          <p:grpSpPr bwMode="gray">
            <a:xfrm>
              <a:off x="7769225" y="525066"/>
              <a:ext cx="209550" cy="209551"/>
              <a:chOff x="1694" y="2044"/>
              <a:chExt cx="160" cy="160"/>
            </a:xfrm>
          </p:grpSpPr>
          <p:sp>
            <p:nvSpPr>
              <p:cNvPr id="56" name="Oval 41"/>
              <p:cNvSpPr>
                <a:spLocks noChangeAspect="1" noChangeArrowheads="1"/>
              </p:cNvSpPr>
              <p:nvPr>
                <p:custDataLst>
                  <p:tags r:id="rId16"/>
                </p:custDataLst>
              </p:nvPr>
            </p:nvSpPr>
            <p:spPr bwMode="gray">
              <a:xfrm>
                <a:off x="1694" y="2044"/>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57" name="Arc 42"/>
              <p:cNvSpPr>
                <a:spLocks noChangeAspect="1"/>
              </p:cNvSpPr>
              <p:nvPr>
                <p:custDataLst>
                  <p:tags r:id="rId17"/>
                </p:custDataLst>
              </p:nvPr>
            </p:nvSpPr>
            <p:spPr bwMode="gray">
              <a:xfrm>
                <a:off x="1694" y="2044"/>
                <a:ext cx="160" cy="160"/>
              </a:xfrm>
              <a:prstGeom prst="arc">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grpSp>
        <p:grpSp>
          <p:nvGrpSpPr>
            <p:cNvPr id="42" name="MoonLegend4"/>
            <p:cNvGrpSpPr>
              <a:grpSpLocks noChangeAspect="1"/>
            </p:cNvGrpSpPr>
            <p:nvPr>
              <p:custDataLst>
                <p:tags r:id="rId7"/>
              </p:custDataLst>
            </p:nvPr>
          </p:nvGrpSpPr>
          <p:grpSpPr bwMode="gray">
            <a:xfrm>
              <a:off x="7769225" y="1073548"/>
              <a:ext cx="209550" cy="209551"/>
              <a:chOff x="4495" y="1198"/>
              <a:chExt cx="160" cy="160"/>
            </a:xfrm>
          </p:grpSpPr>
          <p:sp>
            <p:nvSpPr>
              <p:cNvPr id="54"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55" name="Arc 48"/>
              <p:cNvSpPr>
                <a:spLocks noChangeAspect="1"/>
              </p:cNvSpPr>
              <p:nvPr>
                <p:custDataLst>
                  <p:tags r:id="rId15"/>
                </p:custDataLst>
              </p:nvPr>
            </p:nvSpPr>
            <p:spPr bwMode="gray">
              <a:xfrm>
                <a:off x="4495" y="1198"/>
                <a:ext cx="160" cy="160"/>
              </a:xfrm>
              <a:prstGeom prst="arc">
                <a:avLst>
                  <a:gd name="adj1" fmla="val 16200000"/>
                  <a:gd name="adj2" fmla="val 108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grpSp>
        <p:grpSp>
          <p:nvGrpSpPr>
            <p:cNvPr id="43" name="MoonLegend5"/>
            <p:cNvGrpSpPr>
              <a:grpSpLocks noChangeAspect="1"/>
            </p:cNvGrpSpPr>
            <p:nvPr>
              <p:custDataLst>
                <p:tags r:id="rId8"/>
              </p:custDataLst>
            </p:nvPr>
          </p:nvGrpSpPr>
          <p:grpSpPr bwMode="gray">
            <a:xfrm>
              <a:off x="7769225" y="1347790"/>
              <a:ext cx="209550" cy="209551"/>
              <a:chOff x="4495" y="1440"/>
              <a:chExt cx="160" cy="160"/>
            </a:xfrm>
          </p:grpSpPr>
          <p:sp>
            <p:nvSpPr>
              <p:cNvPr id="52" name="Oval 50"/>
              <p:cNvSpPr>
                <a:spLocks noChangeAspect="1" noChangeArrowheads="1"/>
              </p:cNvSpPr>
              <p:nvPr>
                <p:custDataLst>
                  <p:tags r:id="rId12"/>
                </p:custDataLst>
              </p:nvPr>
            </p:nvSpPr>
            <p:spPr bwMode="gray">
              <a:xfrm>
                <a:off x="4495" y="1440"/>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53" name="Oval 51"/>
              <p:cNvSpPr>
                <a:spLocks noChangeAspect="1" noChangeArrowheads="1"/>
              </p:cNvSpPr>
              <p:nvPr>
                <p:custDataLst>
                  <p:tags r:id="rId13"/>
                </p:custDataLst>
              </p:nvPr>
            </p:nvSpPr>
            <p:spPr bwMode="gray">
              <a:xfrm>
                <a:off x="4495" y="1440"/>
                <a:ext cx="160" cy="160"/>
              </a:xfrm>
              <a:prstGeom prst="arc">
                <a:avLst>
                  <a:gd name="adj1" fmla="val 16200000"/>
                  <a:gd name="adj2" fmla="val 162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grpSp>
        <p:grpSp>
          <p:nvGrpSpPr>
            <p:cNvPr id="44" name="MoonLegend3"/>
            <p:cNvGrpSpPr>
              <a:grpSpLocks noChangeAspect="1"/>
            </p:cNvGrpSpPr>
            <p:nvPr>
              <p:custDataLst>
                <p:tags r:id="rId9"/>
              </p:custDataLst>
            </p:nvPr>
          </p:nvGrpSpPr>
          <p:grpSpPr bwMode="gray">
            <a:xfrm>
              <a:off x="7769225" y="799307"/>
              <a:ext cx="209550" cy="209551"/>
              <a:chOff x="4495" y="1198"/>
              <a:chExt cx="160" cy="160"/>
            </a:xfrm>
          </p:grpSpPr>
          <p:sp>
            <p:nvSpPr>
              <p:cNvPr id="50" name="Oval 47"/>
              <p:cNvSpPr>
                <a:spLocks noChangeAspect="1" noChangeArrowheads="1"/>
              </p:cNvSpPr>
              <p:nvPr>
                <p:custDataLst>
                  <p:tags r:id="rId10"/>
                </p:custDataLst>
              </p:nvPr>
            </p:nvSpPr>
            <p:spPr bwMode="gray">
              <a:xfrm>
                <a:off x="4495" y="1198"/>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51" name="Arc 48"/>
              <p:cNvSpPr>
                <a:spLocks noChangeAspect="1"/>
              </p:cNvSpPr>
              <p:nvPr>
                <p:custDataLst>
                  <p:tags r:id="rId11"/>
                </p:custDataLst>
              </p:nvPr>
            </p:nvSpPr>
            <p:spPr bwMode="gray">
              <a:xfrm>
                <a:off x="4495" y="1198"/>
                <a:ext cx="160" cy="160"/>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grpSp>
        <p:sp>
          <p:nvSpPr>
            <p:cNvPr id="45" name="Legend1"/>
            <p:cNvSpPr>
              <a:spLocks noChangeArrowheads="1"/>
            </p:cNvSpPr>
            <p:nvPr/>
          </p:nvSpPr>
          <p:spPr bwMode="gray">
            <a:xfrm>
              <a:off x="8089900" y="263525"/>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46" name="Legend2"/>
            <p:cNvSpPr>
              <a:spLocks noChangeArrowheads="1"/>
            </p:cNvSpPr>
            <p:nvPr/>
          </p:nvSpPr>
          <p:spPr bwMode="gray">
            <a:xfrm>
              <a:off x="8089900" y="538163"/>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47" name="Legend3"/>
            <p:cNvSpPr>
              <a:spLocks noChangeArrowheads="1"/>
            </p:cNvSpPr>
            <p:nvPr/>
          </p:nvSpPr>
          <p:spPr bwMode="gray">
            <a:xfrm>
              <a:off x="8089900" y="812802"/>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48" name="Legend4"/>
            <p:cNvSpPr>
              <a:spLocks noChangeArrowheads="1"/>
            </p:cNvSpPr>
            <p:nvPr/>
          </p:nvSpPr>
          <p:spPr bwMode="gray">
            <a:xfrm>
              <a:off x="8089900" y="1084265"/>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49" name="Legend5"/>
            <p:cNvSpPr>
              <a:spLocks noChangeArrowheads="1"/>
            </p:cNvSpPr>
            <p:nvPr/>
          </p:nvSpPr>
          <p:spPr bwMode="gray">
            <a:xfrm>
              <a:off x="8089900" y="1360490"/>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grpSp>
      <p:sp>
        <p:nvSpPr>
          <p:cNvPr id="60" name="SlideBottomBar" hidden="1"/>
          <p:cNvSpPr/>
          <p:nvPr userDrawn="1"/>
        </p:nvSpPr>
        <p:spPr>
          <a:xfrm>
            <a:off x="12003218" y="6639739"/>
            <a:ext cx="46648" cy="126340"/>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7" baseline="0" dirty="0">
              <a:solidFill>
                <a:schemeClr val="tx1"/>
              </a:solidFill>
              <a:latin typeface="+mn-lt"/>
              <a:ea typeface="+mn-ea"/>
            </a:endParaRPr>
          </a:p>
        </p:txBody>
      </p:sp>
      <p:sp>
        <p:nvSpPr>
          <p:cNvPr id="61" name="Text Placeholder 2"/>
          <p:cNvSpPr>
            <a:spLocks noGrp="1"/>
          </p:cNvSpPr>
          <p:nvPr userDrawn="1">
            <p:ph type="body" idx="1"/>
          </p:nvPr>
        </p:nvSpPr>
        <p:spPr bwMode="gray">
          <a:xfrm>
            <a:off x="1482091" y="1991016"/>
            <a:ext cx="4389573" cy="1346156"/>
          </a:xfrm>
          <a:prstGeom prst="rect">
            <a:avLst/>
          </a:prstGeom>
        </p:spPr>
        <p:txBody>
          <a:bodyPr vert="horz" lIns="0" tIns="0" rIns="0" bIns="0" rtlCol="0">
            <a:noAutofit/>
          </a:bodyPr>
          <a:lstStyle/>
          <a:p>
            <a:pPr lvl="0" latinLnBrk="0"/>
            <a:r>
              <a:rPr lang="en-US"/>
              <a:t>Click to 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spTree>
    <p:extLst>
      <p:ext uri="{BB962C8B-B14F-4D97-AF65-F5344CB8AC3E}">
        <p14:creationId xmlns:p14="http://schemas.microsoft.com/office/powerpoint/2010/main" val="1547370990"/>
      </p:ext>
    </p:extLst>
  </p:cSld>
  <p:clrMap bg1="lt1" tx1="dk1" bg2="lt2" tx2="dk2" accent1="accent1" accent2="accent2" accent3="accent3" accent4="accent4" accent5="accent5" accent6="accent6" hlink="hlink" folHlink="folHlink"/>
  <p:sldLayoutIdLst>
    <p:sldLayoutId id="2147483694" r:id="rId1"/>
  </p:sldLayoutIdLst>
  <p:hf hdr="0" ftr="0" dt="0"/>
  <p:txStyles>
    <p:titleStyle>
      <a:lvl1pPr algn="l" defTabSz="1218095" rtl="0" eaLnBrk="1" fontAlgn="base" hangingPunct="1">
        <a:spcBef>
          <a:spcPct val="0"/>
        </a:spcBef>
        <a:spcAft>
          <a:spcPct val="0"/>
        </a:spcAft>
        <a:tabLst>
          <a:tab pos="367156" algn="l"/>
        </a:tabLst>
        <a:defRPr sz="2041" b="0" baseline="0">
          <a:solidFill>
            <a:schemeClr val="tx1"/>
          </a:solidFill>
          <a:latin typeface="+mj-lt"/>
          <a:ea typeface="+mj-ea"/>
          <a:cs typeface="+mj-cs"/>
        </a:defRPr>
      </a:lvl1pPr>
      <a:lvl2pPr algn="l" defTabSz="1218095" rtl="0" eaLnBrk="1" fontAlgn="base" hangingPunct="1">
        <a:spcBef>
          <a:spcPct val="0"/>
        </a:spcBef>
        <a:spcAft>
          <a:spcPct val="0"/>
        </a:spcAft>
        <a:defRPr sz="2584" b="1">
          <a:solidFill>
            <a:schemeClr val="tx2"/>
          </a:solidFill>
          <a:latin typeface="Arial" charset="0"/>
        </a:defRPr>
      </a:lvl2pPr>
      <a:lvl3pPr algn="l" defTabSz="1218095" rtl="0" eaLnBrk="1" fontAlgn="base" hangingPunct="1">
        <a:spcBef>
          <a:spcPct val="0"/>
        </a:spcBef>
        <a:spcAft>
          <a:spcPct val="0"/>
        </a:spcAft>
        <a:defRPr sz="2584" b="1">
          <a:solidFill>
            <a:schemeClr val="tx2"/>
          </a:solidFill>
          <a:latin typeface="Arial" charset="0"/>
        </a:defRPr>
      </a:lvl3pPr>
      <a:lvl4pPr algn="l" defTabSz="1218095" rtl="0" eaLnBrk="1" fontAlgn="base" hangingPunct="1">
        <a:spcBef>
          <a:spcPct val="0"/>
        </a:spcBef>
        <a:spcAft>
          <a:spcPct val="0"/>
        </a:spcAft>
        <a:defRPr sz="2584" b="1">
          <a:solidFill>
            <a:schemeClr val="tx2"/>
          </a:solidFill>
          <a:latin typeface="Arial" charset="0"/>
        </a:defRPr>
      </a:lvl4pPr>
      <a:lvl5pPr algn="l" defTabSz="1218095" rtl="0" eaLnBrk="1" fontAlgn="base" hangingPunct="1">
        <a:spcBef>
          <a:spcPct val="0"/>
        </a:spcBef>
        <a:spcAft>
          <a:spcPct val="0"/>
        </a:spcAft>
        <a:defRPr sz="2584" b="1">
          <a:solidFill>
            <a:schemeClr val="tx2"/>
          </a:solidFill>
          <a:latin typeface="Arial" charset="0"/>
        </a:defRPr>
      </a:lvl5pPr>
      <a:lvl6pPr marL="622005" algn="l" defTabSz="1218095" rtl="0" eaLnBrk="1" fontAlgn="base" hangingPunct="1">
        <a:spcBef>
          <a:spcPct val="0"/>
        </a:spcBef>
        <a:spcAft>
          <a:spcPct val="0"/>
        </a:spcAft>
        <a:defRPr sz="2584" b="1">
          <a:solidFill>
            <a:schemeClr val="tx2"/>
          </a:solidFill>
          <a:latin typeface="Arial" charset="0"/>
        </a:defRPr>
      </a:lvl6pPr>
      <a:lvl7pPr marL="1244012" algn="l" defTabSz="1218095" rtl="0" eaLnBrk="1" fontAlgn="base" hangingPunct="1">
        <a:spcBef>
          <a:spcPct val="0"/>
        </a:spcBef>
        <a:spcAft>
          <a:spcPct val="0"/>
        </a:spcAft>
        <a:defRPr sz="2584" b="1">
          <a:solidFill>
            <a:schemeClr val="tx2"/>
          </a:solidFill>
          <a:latin typeface="Arial" charset="0"/>
        </a:defRPr>
      </a:lvl7pPr>
      <a:lvl8pPr marL="1866017" algn="l" defTabSz="1218095" rtl="0" eaLnBrk="1" fontAlgn="base" hangingPunct="1">
        <a:spcBef>
          <a:spcPct val="0"/>
        </a:spcBef>
        <a:spcAft>
          <a:spcPct val="0"/>
        </a:spcAft>
        <a:defRPr sz="2584" b="1">
          <a:solidFill>
            <a:schemeClr val="tx2"/>
          </a:solidFill>
          <a:latin typeface="Arial" charset="0"/>
        </a:defRPr>
      </a:lvl8pPr>
      <a:lvl9pPr marL="2488024" algn="l" defTabSz="1218095" rtl="0" eaLnBrk="1" fontAlgn="base" hangingPunct="1">
        <a:spcBef>
          <a:spcPct val="0"/>
        </a:spcBef>
        <a:spcAft>
          <a:spcPct val="0"/>
        </a:spcAft>
        <a:defRPr sz="2584" b="1">
          <a:solidFill>
            <a:schemeClr val="tx2"/>
          </a:solidFill>
          <a:latin typeface="Arial" charset="0"/>
        </a:defRPr>
      </a:lvl9pPr>
    </p:titleStyle>
    <p:bodyStyle>
      <a:lvl1pPr marL="0" indent="0" algn="l" defTabSz="913526" rtl="0" eaLnBrk="1" fontAlgn="base" latinLnBrk="0" hangingPunct="1">
        <a:spcBef>
          <a:spcPct val="0"/>
        </a:spcBef>
        <a:spcAft>
          <a:spcPct val="0"/>
        </a:spcAft>
        <a:buClr>
          <a:schemeClr val="tx2"/>
        </a:buClr>
        <a:buSzPct val="100000"/>
        <a:defRPr lang="en-US" sz="1632" baseline="0" dirty="0">
          <a:solidFill>
            <a:schemeClr val="tx1"/>
          </a:solidFill>
          <a:latin typeface="+mn-lt"/>
          <a:ea typeface="+mn-ea"/>
          <a:cs typeface="+mn-cs"/>
        </a:defRPr>
      </a:lvl1pPr>
      <a:lvl2pPr marL="198346" indent="-194673" algn="l" defTabSz="913526" rtl="0" eaLnBrk="1" fontAlgn="base" latinLnBrk="0" hangingPunct="1">
        <a:spcBef>
          <a:spcPct val="0"/>
        </a:spcBef>
        <a:spcAft>
          <a:spcPct val="0"/>
        </a:spcAft>
        <a:buClr>
          <a:schemeClr val="tx2"/>
        </a:buClr>
        <a:buSzPct val="125000"/>
        <a:buFont typeface="Arial" charset="0"/>
        <a:buChar char="▪"/>
        <a:defRPr lang="en-US" sz="1632" baseline="0" dirty="0">
          <a:solidFill>
            <a:schemeClr val="tx1"/>
          </a:solidFill>
          <a:latin typeface="+mn-lt"/>
          <a:ea typeface="+mn-ea"/>
          <a:cs typeface="+mn-cs"/>
        </a:defRPr>
      </a:lvl2pPr>
      <a:lvl3pPr marL="455462" indent="-253443" algn="l" defTabSz="913526" rtl="0" eaLnBrk="1" fontAlgn="base" latinLnBrk="0" hangingPunct="1">
        <a:spcBef>
          <a:spcPct val="0"/>
        </a:spcBef>
        <a:spcAft>
          <a:spcPct val="0"/>
        </a:spcAft>
        <a:buClr>
          <a:schemeClr val="tx2"/>
        </a:buClr>
        <a:buSzPct val="120000"/>
        <a:buFont typeface="Arial" charset="0"/>
        <a:buChar char="–"/>
        <a:defRPr lang="en-US" sz="1632" baseline="0" dirty="0">
          <a:solidFill>
            <a:schemeClr val="tx1"/>
          </a:solidFill>
          <a:latin typeface="+mn-lt"/>
          <a:ea typeface="+mn-ea"/>
          <a:cs typeface="+mn-cs"/>
        </a:defRPr>
      </a:lvl3pPr>
      <a:lvl4pPr marL="628097" indent="-157942" algn="l" defTabSz="913526" rtl="0" eaLnBrk="1" fontAlgn="base" latinLnBrk="0" hangingPunct="1">
        <a:spcBef>
          <a:spcPct val="0"/>
        </a:spcBef>
        <a:spcAft>
          <a:spcPct val="0"/>
        </a:spcAft>
        <a:buClr>
          <a:schemeClr val="tx2"/>
        </a:buClr>
        <a:buSzPct val="120000"/>
        <a:buFont typeface="Arial" charset="0"/>
        <a:buChar char="▫"/>
        <a:defRPr lang="en-US" sz="1632" baseline="0" dirty="0">
          <a:solidFill>
            <a:schemeClr val="tx1"/>
          </a:solidFill>
          <a:latin typeface="+mn-lt"/>
          <a:ea typeface="+mn-ea"/>
          <a:cs typeface="+mn-cs"/>
        </a:defRPr>
      </a:lvl4pPr>
      <a:lvl5pPr marL="764001" indent="-132231" algn="l" defTabSz="913526" rtl="0" eaLnBrk="1" fontAlgn="base" latinLnBrk="0" hangingPunct="1">
        <a:spcBef>
          <a:spcPct val="0"/>
        </a:spcBef>
        <a:spcAft>
          <a:spcPct val="0"/>
        </a:spcAft>
        <a:buClr>
          <a:schemeClr val="tx2"/>
        </a:buClr>
        <a:buSzPct val="89000"/>
        <a:buFont typeface="Arial" charset="0"/>
        <a:buChar char="-"/>
        <a:defRPr lang="en-US" sz="1632" baseline="0" dirty="0">
          <a:solidFill>
            <a:schemeClr val="tx1"/>
          </a:solidFill>
          <a:latin typeface="+mn-lt"/>
          <a:ea typeface="+mn-ea"/>
          <a:cs typeface="+mn-cs"/>
        </a:defRPr>
      </a:lvl5pPr>
      <a:lvl6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6pPr>
      <a:lvl7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7pPr>
      <a:lvl8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8pPr>
      <a:lvl9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9pPr>
    </p:bodyStyle>
    <p:otherStyle>
      <a:defPPr>
        <a:defRPr lang="en-US"/>
      </a:defPPr>
      <a:lvl1pPr marL="0" algn="l" defTabSz="1244012" rtl="0" eaLnBrk="1" latinLnBrk="0" hangingPunct="1">
        <a:defRPr sz="2449" kern="1200">
          <a:solidFill>
            <a:schemeClr val="tx1"/>
          </a:solidFill>
          <a:latin typeface="+mn-lt"/>
          <a:ea typeface="+mn-ea"/>
          <a:cs typeface="+mn-cs"/>
        </a:defRPr>
      </a:lvl1pPr>
      <a:lvl2pPr marL="622005" algn="l" defTabSz="1244012" rtl="0" eaLnBrk="1" latinLnBrk="0" hangingPunct="1">
        <a:defRPr sz="2449" kern="1200">
          <a:solidFill>
            <a:schemeClr val="tx1"/>
          </a:solidFill>
          <a:latin typeface="+mn-lt"/>
          <a:ea typeface="+mn-ea"/>
          <a:cs typeface="+mn-cs"/>
        </a:defRPr>
      </a:lvl2pPr>
      <a:lvl3pPr marL="1244012" algn="l" defTabSz="1244012" rtl="0" eaLnBrk="1" latinLnBrk="0" hangingPunct="1">
        <a:defRPr sz="2449" kern="1200">
          <a:solidFill>
            <a:schemeClr val="tx1"/>
          </a:solidFill>
          <a:latin typeface="+mn-lt"/>
          <a:ea typeface="+mn-ea"/>
          <a:cs typeface="+mn-cs"/>
        </a:defRPr>
      </a:lvl3pPr>
      <a:lvl4pPr marL="1866017" algn="l" defTabSz="1244012" rtl="0" eaLnBrk="1" latinLnBrk="0" hangingPunct="1">
        <a:defRPr sz="2449" kern="1200">
          <a:solidFill>
            <a:schemeClr val="tx1"/>
          </a:solidFill>
          <a:latin typeface="+mn-lt"/>
          <a:ea typeface="+mn-ea"/>
          <a:cs typeface="+mn-cs"/>
        </a:defRPr>
      </a:lvl4pPr>
      <a:lvl5pPr marL="2488024" algn="l" defTabSz="1244012" rtl="0" eaLnBrk="1" latinLnBrk="0" hangingPunct="1">
        <a:defRPr sz="2449" kern="1200">
          <a:solidFill>
            <a:schemeClr val="tx1"/>
          </a:solidFill>
          <a:latin typeface="+mn-lt"/>
          <a:ea typeface="+mn-ea"/>
          <a:cs typeface="+mn-cs"/>
        </a:defRPr>
      </a:lvl5pPr>
      <a:lvl6pPr marL="3110029" algn="l" defTabSz="1244012" rtl="0" eaLnBrk="1" latinLnBrk="0" hangingPunct="1">
        <a:defRPr sz="2449" kern="1200">
          <a:solidFill>
            <a:schemeClr val="tx1"/>
          </a:solidFill>
          <a:latin typeface="+mn-lt"/>
          <a:ea typeface="+mn-ea"/>
          <a:cs typeface="+mn-cs"/>
        </a:defRPr>
      </a:lvl6pPr>
      <a:lvl7pPr marL="3732036" algn="l" defTabSz="1244012" rtl="0" eaLnBrk="1" latinLnBrk="0" hangingPunct="1">
        <a:defRPr sz="2449" kern="1200">
          <a:solidFill>
            <a:schemeClr val="tx1"/>
          </a:solidFill>
          <a:latin typeface="+mn-lt"/>
          <a:ea typeface="+mn-ea"/>
          <a:cs typeface="+mn-cs"/>
        </a:defRPr>
      </a:lvl7pPr>
      <a:lvl8pPr marL="4354041" algn="l" defTabSz="1244012" rtl="0" eaLnBrk="1" latinLnBrk="0" hangingPunct="1">
        <a:defRPr sz="2449" kern="1200">
          <a:solidFill>
            <a:schemeClr val="tx1"/>
          </a:solidFill>
          <a:latin typeface="+mn-lt"/>
          <a:ea typeface="+mn-ea"/>
          <a:cs typeface="+mn-cs"/>
        </a:defRPr>
      </a:lvl8pPr>
      <a:lvl9pPr marL="4976048" algn="l" defTabSz="1244012" rtl="0" eaLnBrk="1" latinLnBrk="0" hangingPunct="1">
        <a:defRPr sz="244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4"/>
            </p:custDataLst>
            <p:extLst>
              <p:ext uri="{D42A27DB-BD31-4B8C-83A1-F6EECF244321}">
                <p14:modId xmlns:p14="http://schemas.microsoft.com/office/powerpoint/2010/main" val="4170048937"/>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21" imgW="270" imgH="270" progId="TCLayout.ActiveDocument.1">
                  <p:embed/>
                </p:oleObj>
              </mc:Choice>
              <mc:Fallback>
                <p:oleObj name="think-cell Slide" r:id="rId21" imgW="270" imgH="270" progId="TCLayout.ActiveDocument.1">
                  <p:embed/>
                  <p:pic>
                    <p:nvPicPr>
                      <p:cNvPr id="2" name="Object 1" hidden="1"/>
                      <p:cNvPicPr/>
                      <p:nvPr/>
                    </p:nvPicPr>
                    <p:blipFill>
                      <a:blip r:embed="rId22"/>
                      <a:stretch>
                        <a:fillRect/>
                      </a:stretch>
                    </p:blipFill>
                    <p:spPr>
                      <a:xfrm>
                        <a:off x="0" y="0"/>
                        <a:ext cx="215979" cy="161974"/>
                      </a:xfrm>
                      <a:prstGeom prst="rect">
                        <a:avLst/>
                      </a:prstGeom>
                    </p:spPr>
                  </p:pic>
                </p:oleObj>
              </mc:Fallback>
            </mc:AlternateContent>
          </a:graphicData>
        </a:graphic>
      </p:graphicFrame>
      <p:sp>
        <p:nvSpPr>
          <p:cNvPr id="6" name="Rectangle 5" hidden="1"/>
          <p:cNvSpPr/>
          <p:nvPr userDrawn="1">
            <p:custDataLst>
              <p:tags r:id="rId5"/>
            </p:custDataLst>
          </p:nvPr>
        </p:nvSpPr>
        <p:spPr bwMode="auto">
          <a:xfrm>
            <a:off x="0"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en-US" sz="2176" b="0" i="0" baseline="0" dirty="0">
              <a:solidFill>
                <a:schemeClr val="tx1"/>
              </a:solidFill>
              <a:latin typeface="Arial" panose="020B0604020202020204" pitchFamily="34" charset="0"/>
              <a:ea typeface="+mn-ea"/>
              <a:cs typeface="+mn-cs"/>
              <a:sym typeface="Arial" panose="020B0604020202020204" pitchFamily="34" charset="0"/>
            </a:endParaRPr>
          </a:p>
        </p:txBody>
      </p:sp>
      <p:sp>
        <p:nvSpPr>
          <p:cNvPr id="1033" name="doc id" hidden="1"/>
          <p:cNvSpPr>
            <a:spLocks noChangeArrowheads="1"/>
          </p:cNvSpPr>
          <p:nvPr/>
        </p:nvSpPr>
        <p:spPr bwMode="gray">
          <a:xfrm flipH="1">
            <a:off x="10658002" y="51835"/>
            <a:ext cx="1231563" cy="96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8095"/>
            <a:endParaRPr lang="en-US" sz="612" baseline="0" noProof="0" dirty="0">
              <a:solidFill>
                <a:schemeClr val="accent6"/>
              </a:solidFill>
              <a:latin typeface="+mn-lt"/>
              <a:ea typeface="+mn-ea"/>
            </a:endParaRPr>
          </a:p>
        </p:txBody>
      </p:sp>
      <p:sp>
        <p:nvSpPr>
          <p:cNvPr id="1034" name="Working Draft" hidden="1"/>
          <p:cNvSpPr txBox="1">
            <a:spLocks noChangeArrowheads="1"/>
          </p:cNvSpPr>
          <p:nvPr/>
        </p:nvSpPr>
        <p:spPr bwMode="gray">
          <a:xfrm rot="5400000">
            <a:off x="11106321" y="1980017"/>
            <a:ext cx="1981312"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612" baseline="0" noProof="0" dirty="0">
                <a:solidFill>
                  <a:schemeClr val="accent6"/>
                </a:solidFill>
                <a:latin typeface="+mn-lt"/>
                <a:ea typeface="+mn-ea"/>
              </a:rPr>
              <a:t>Last Modified 5/18/2021 2:55 PM Eastern Standard Time</a:t>
            </a:r>
          </a:p>
        </p:txBody>
      </p:sp>
      <p:sp>
        <p:nvSpPr>
          <p:cNvPr id="1035" name="Printed" hidden="1"/>
          <p:cNvSpPr txBox="1">
            <a:spLocks noChangeArrowheads="1"/>
          </p:cNvSpPr>
          <p:nvPr/>
        </p:nvSpPr>
        <p:spPr bwMode="gray">
          <a:xfrm rot="5400000">
            <a:off x="11970213" y="4197040"/>
            <a:ext cx="253513" cy="96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612" baseline="0" noProof="0" dirty="0">
                <a:solidFill>
                  <a:schemeClr val="accent6"/>
                </a:solidFill>
                <a:latin typeface="+mn-lt"/>
                <a:ea typeface="+mn-ea"/>
              </a:rPr>
              <a:t>Printed</a:t>
            </a:r>
          </a:p>
        </p:txBody>
      </p:sp>
      <p:sp>
        <p:nvSpPr>
          <p:cNvPr id="19" name="Title Placeholder 2"/>
          <p:cNvSpPr>
            <a:spLocks noGrp="1" noChangeArrowheads="1"/>
          </p:cNvSpPr>
          <p:nvPr>
            <p:ph type="title"/>
          </p:nvPr>
        </p:nvSpPr>
        <p:spPr bwMode="gray">
          <a:xfrm>
            <a:off x="161987" y="234865"/>
            <a:ext cx="11725484"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endParaRPr lang="en-US" noProof="0" dirty="0"/>
          </a:p>
        </p:txBody>
      </p:sp>
      <p:sp>
        <p:nvSpPr>
          <p:cNvPr id="10" name="1. On-page tracker" hidden="1"/>
          <p:cNvSpPr>
            <a:spLocks noChangeArrowheads="1"/>
          </p:cNvSpPr>
          <p:nvPr userDrawn="1"/>
        </p:nvSpPr>
        <p:spPr bwMode="gray">
          <a:xfrm>
            <a:off x="161985" y="77303"/>
            <a:ext cx="511939"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16" cap="all" baseline="0" noProof="0" dirty="0">
                <a:solidFill>
                  <a:schemeClr val="accent6"/>
                </a:solidFill>
                <a:latin typeface="+mn-lt"/>
                <a:ea typeface="+mn-ea"/>
              </a:rPr>
              <a:t>Tracker</a:t>
            </a:r>
          </a:p>
        </p:txBody>
      </p:sp>
      <p:sp>
        <p:nvSpPr>
          <p:cNvPr id="11" name="3. Unit of measure" hidden="1"/>
          <p:cNvSpPr txBox="1">
            <a:spLocks noChangeArrowheads="1"/>
          </p:cNvSpPr>
          <p:nvPr userDrawn="1"/>
        </p:nvSpPr>
        <p:spPr bwMode="gray">
          <a:xfrm>
            <a:off x="161987" y="566136"/>
            <a:ext cx="11725484" cy="256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32" baseline="0" noProof="0" dirty="0">
                <a:solidFill>
                  <a:schemeClr val="accent6"/>
                </a:solidFill>
                <a:latin typeface="+mn-lt"/>
                <a:ea typeface="+mn-ea"/>
              </a:rPr>
              <a:t>CLIENT</a:t>
            </a:r>
          </a:p>
        </p:txBody>
      </p:sp>
      <p:sp>
        <p:nvSpPr>
          <p:cNvPr id="13" name="4. Footnote" hidden="1"/>
          <p:cNvSpPr txBox="1">
            <a:spLocks noChangeArrowheads="1"/>
          </p:cNvSpPr>
          <p:nvPr/>
        </p:nvSpPr>
        <p:spPr bwMode="gray">
          <a:xfrm>
            <a:off x="161985" y="6432273"/>
            <a:ext cx="11630454"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7465" indent="-87465">
              <a:defRPr/>
            </a:pPr>
            <a:r>
              <a:rPr lang="en-US" sz="816" baseline="0" noProof="0" dirty="0">
                <a:solidFill>
                  <a:schemeClr val="accent6"/>
                </a:solidFill>
                <a:latin typeface="+mn-lt"/>
                <a:ea typeface="+mn-ea"/>
              </a:rPr>
              <a:t>1 Footnote</a:t>
            </a:r>
          </a:p>
        </p:txBody>
      </p:sp>
      <p:sp>
        <p:nvSpPr>
          <p:cNvPr id="14" name="5. Source" hidden="1"/>
          <p:cNvSpPr>
            <a:spLocks noChangeArrowheads="1"/>
          </p:cNvSpPr>
          <p:nvPr/>
        </p:nvSpPr>
        <p:spPr bwMode="gray">
          <a:xfrm>
            <a:off x="161985" y="6637982"/>
            <a:ext cx="10155320"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03735" indent="-503735" defTabSz="1218095">
              <a:tabLst/>
            </a:pPr>
            <a:r>
              <a:rPr lang="en-US" sz="816" baseline="0" noProof="0" dirty="0">
                <a:solidFill>
                  <a:schemeClr val="accent6"/>
                </a:solidFill>
                <a:latin typeface="+mn-lt"/>
                <a:ea typeface="+mn-ea"/>
              </a:rPr>
              <a:t>SOURCE: Source</a:t>
            </a:r>
          </a:p>
        </p:txBody>
      </p:sp>
      <p:grpSp>
        <p:nvGrpSpPr>
          <p:cNvPr id="15" name="ACET" hidden="1"/>
          <p:cNvGrpSpPr>
            <a:grpSpLocks/>
          </p:cNvGrpSpPr>
          <p:nvPr userDrawn="1"/>
        </p:nvGrpSpPr>
        <p:grpSpPr bwMode="gray">
          <a:xfrm>
            <a:off x="1976207" y="1270343"/>
            <a:ext cx="5801188" cy="531276"/>
            <a:chOff x="915" y="702"/>
            <a:chExt cx="2686" cy="328"/>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32" b="1" baseline="0" noProof="0" dirty="0">
                  <a:latin typeface="+mn-lt"/>
                  <a:ea typeface="+mn-ea"/>
                </a:rPr>
                <a:t>Title</a:t>
              </a:r>
            </a:p>
            <a:p>
              <a:r>
                <a:rPr lang="en-US" sz="1632" baseline="0" noProof="0" dirty="0">
                  <a:solidFill>
                    <a:schemeClr val="accent6"/>
                  </a:solidFill>
                  <a:latin typeface="+mn-lt"/>
                  <a:ea typeface="+mn-ea"/>
                </a:rPr>
                <a:t>Unit of measure</a:t>
              </a:r>
            </a:p>
          </p:txBody>
        </p:sp>
      </p:grpSp>
      <p:grpSp>
        <p:nvGrpSpPr>
          <p:cNvPr id="17" name="Sticker" hidden="1"/>
          <p:cNvGrpSpPr/>
          <p:nvPr userDrawn="1"/>
        </p:nvGrpSpPr>
        <p:grpSpPr bwMode="gray">
          <a:xfrm>
            <a:off x="11394692" y="291554"/>
            <a:ext cx="492770" cy="156360"/>
            <a:chOff x="8378576" y="285750"/>
            <a:chExt cx="362199" cy="153247"/>
          </a:xfrm>
        </p:grpSpPr>
        <p:sp>
          <p:nvSpPr>
            <p:cNvPr id="20" name="StickerRectangle"/>
            <p:cNvSpPr>
              <a:spLocks noChangeArrowheads="1"/>
            </p:cNvSpPr>
            <p:nvPr/>
          </p:nvSpPr>
          <p:spPr bwMode="gray">
            <a:xfrm>
              <a:off x="8378576" y="285750"/>
              <a:ext cx="362199" cy="15324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1218095">
                <a:buClr>
                  <a:schemeClr val="tx2"/>
                </a:buClr>
              </a:pPr>
              <a:r>
                <a:rPr lang="en-US" sz="816"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378576" y="285750"/>
              <a:ext cx="0" cy="153247"/>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378576" y="438997"/>
              <a:ext cx="362199"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23" name="LegendBoxes" hidden="1"/>
          <p:cNvGrpSpPr/>
          <p:nvPr userDrawn="1"/>
        </p:nvGrpSpPr>
        <p:grpSpPr bwMode="gray">
          <a:xfrm>
            <a:off x="11108191" y="285075"/>
            <a:ext cx="789093" cy="1021522"/>
            <a:chOff x="7835905" y="279400"/>
            <a:chExt cx="773373" cy="1001186"/>
          </a:xfrm>
        </p:grpSpPr>
        <p:sp>
          <p:nvSpPr>
            <p:cNvPr id="24" name="RectangleLegend1"/>
            <p:cNvSpPr>
              <a:spLocks noChangeArrowheads="1"/>
            </p:cNvSpPr>
            <p:nvPr/>
          </p:nvSpPr>
          <p:spPr bwMode="gray">
            <a:xfrm>
              <a:off x="7835905" y="290513"/>
              <a:ext cx="165100" cy="160338"/>
            </a:xfrm>
            <a:prstGeom prst="rect">
              <a:avLst/>
            </a:prstGeom>
            <a:solidFill>
              <a:schemeClr val="accent1"/>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25" name="RectangleLegend2"/>
            <p:cNvSpPr>
              <a:spLocks noChangeArrowheads="1"/>
            </p:cNvSpPr>
            <p:nvPr/>
          </p:nvSpPr>
          <p:spPr bwMode="gray">
            <a:xfrm>
              <a:off x="7835905" y="560388"/>
              <a:ext cx="165100" cy="160338"/>
            </a:xfrm>
            <a:prstGeom prst="rect">
              <a:avLst/>
            </a:prstGeom>
            <a:solidFill>
              <a:schemeClr val="accent2"/>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26" name="RectangleLegend3"/>
            <p:cNvSpPr>
              <a:spLocks noChangeArrowheads="1"/>
            </p:cNvSpPr>
            <p:nvPr/>
          </p:nvSpPr>
          <p:spPr bwMode="gray">
            <a:xfrm>
              <a:off x="7835905" y="831851"/>
              <a:ext cx="165100" cy="160338"/>
            </a:xfrm>
            <a:prstGeom prst="rect">
              <a:avLst/>
            </a:prstGeom>
            <a:solidFill>
              <a:schemeClr val="accent3"/>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27" name="RectangleLegend4"/>
            <p:cNvSpPr>
              <a:spLocks noChangeArrowheads="1"/>
            </p:cNvSpPr>
            <p:nvPr/>
          </p:nvSpPr>
          <p:spPr bwMode="gray">
            <a:xfrm>
              <a:off x="7835905" y="1103313"/>
              <a:ext cx="165100" cy="160338"/>
            </a:xfrm>
            <a:prstGeom prst="rect">
              <a:avLst/>
            </a:prstGeom>
            <a:solidFill>
              <a:schemeClr val="accent4"/>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28" name="Legend1"/>
            <p:cNvSpPr>
              <a:spLocks noChangeArrowheads="1"/>
            </p:cNvSpPr>
            <p:nvPr/>
          </p:nvSpPr>
          <p:spPr bwMode="gray">
            <a:xfrm>
              <a:off x="8089905" y="27940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29" name="Legend2"/>
            <p:cNvSpPr>
              <a:spLocks noChangeArrowheads="1"/>
            </p:cNvSpPr>
            <p:nvPr/>
          </p:nvSpPr>
          <p:spPr bwMode="gray">
            <a:xfrm>
              <a:off x="8089905" y="549275"/>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30" name="Legend3"/>
            <p:cNvSpPr>
              <a:spLocks noChangeArrowheads="1"/>
            </p:cNvSpPr>
            <p:nvPr/>
          </p:nvSpPr>
          <p:spPr bwMode="gray">
            <a:xfrm>
              <a:off x="8089905" y="820738"/>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31" name="Legend4"/>
            <p:cNvSpPr>
              <a:spLocks noChangeArrowheads="1"/>
            </p:cNvSpPr>
            <p:nvPr/>
          </p:nvSpPr>
          <p:spPr bwMode="gray">
            <a:xfrm>
              <a:off x="8089905" y="1092201"/>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grpSp>
      <p:grpSp>
        <p:nvGrpSpPr>
          <p:cNvPr id="32" name="LegendLines" hidden="1"/>
          <p:cNvGrpSpPr/>
          <p:nvPr userDrawn="1"/>
        </p:nvGrpSpPr>
        <p:grpSpPr bwMode="gray">
          <a:xfrm>
            <a:off x="10794126" y="285075"/>
            <a:ext cx="1103328" cy="749405"/>
            <a:chOff x="7540629" y="279400"/>
            <a:chExt cx="1081348" cy="734486"/>
          </a:xfrm>
        </p:grpSpPr>
        <p:sp>
          <p:nvSpPr>
            <p:cNvPr id="33"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837" baseline="0" dirty="0">
                <a:latin typeface="+mn-lt"/>
                <a:ea typeface="+mn-ea"/>
              </a:endParaRPr>
            </a:p>
          </p:txBody>
        </p:sp>
        <p:sp>
          <p:nvSpPr>
            <p:cNvPr id="34"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837" baseline="0" dirty="0">
                <a:latin typeface="+mn-lt"/>
                <a:ea typeface="+mn-ea"/>
              </a:endParaRPr>
            </a:p>
          </p:txBody>
        </p:sp>
        <p:sp>
          <p:nvSpPr>
            <p:cNvPr id="35"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837" baseline="0" dirty="0">
                <a:latin typeface="+mn-lt"/>
                <a:ea typeface="+mn-ea"/>
              </a:endParaRPr>
            </a:p>
          </p:txBody>
        </p:sp>
        <p:sp>
          <p:nvSpPr>
            <p:cNvPr id="36" name="Legend1"/>
            <p:cNvSpPr>
              <a:spLocks noChangeArrowheads="1"/>
            </p:cNvSpPr>
            <p:nvPr/>
          </p:nvSpPr>
          <p:spPr bwMode="gray">
            <a:xfrm>
              <a:off x="8102604" y="27940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37" name="Legend2"/>
            <p:cNvSpPr>
              <a:spLocks noChangeArrowheads="1"/>
            </p:cNvSpPr>
            <p:nvPr/>
          </p:nvSpPr>
          <p:spPr bwMode="gray">
            <a:xfrm>
              <a:off x="8102604" y="54610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38" name="Legend3"/>
            <p:cNvSpPr>
              <a:spLocks noChangeArrowheads="1"/>
            </p:cNvSpPr>
            <p:nvPr/>
          </p:nvSpPr>
          <p:spPr bwMode="gray">
            <a:xfrm>
              <a:off x="8102604" y="825501"/>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grpSp>
      <p:grpSp>
        <p:nvGrpSpPr>
          <p:cNvPr id="39" name="LegendMoons" hidden="1"/>
          <p:cNvGrpSpPr/>
          <p:nvPr userDrawn="1"/>
        </p:nvGrpSpPr>
        <p:grpSpPr bwMode="gray">
          <a:xfrm>
            <a:off x="11040160" y="255920"/>
            <a:ext cx="857123" cy="1333054"/>
            <a:chOff x="7769225" y="250825"/>
            <a:chExt cx="840048" cy="1306516"/>
          </a:xfrm>
        </p:grpSpPr>
        <p:grpSp>
          <p:nvGrpSpPr>
            <p:cNvPr id="40" name="MoonLegend1"/>
            <p:cNvGrpSpPr>
              <a:grpSpLocks noChangeAspect="1"/>
            </p:cNvGrpSpPr>
            <p:nvPr>
              <p:custDataLst>
                <p:tags r:id="rId6"/>
              </p:custDataLst>
            </p:nvPr>
          </p:nvGrpSpPr>
          <p:grpSpPr bwMode="gray">
            <a:xfrm>
              <a:off x="7769225" y="250825"/>
              <a:ext cx="209550" cy="209551"/>
              <a:chOff x="4533" y="183"/>
              <a:chExt cx="144" cy="144"/>
            </a:xfrm>
          </p:grpSpPr>
          <p:sp>
            <p:nvSpPr>
              <p:cNvPr id="58" name="Oval 38"/>
              <p:cNvSpPr>
                <a:spLocks noChangeAspect="1" noChangeArrowheads="1"/>
              </p:cNvSpPr>
              <p:nvPr>
                <p:custDataLst>
                  <p:tags r:id="rId19"/>
                </p:custDataLst>
              </p:nvPr>
            </p:nvSpPr>
            <p:spPr bwMode="gray">
              <a:xfrm>
                <a:off x="4533" y="183"/>
                <a:ext cx="144" cy="144"/>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59" name="Arc 39"/>
              <p:cNvSpPr>
                <a:spLocks noChangeAspect="1"/>
              </p:cNvSpPr>
              <p:nvPr>
                <p:custDataLst>
                  <p:tags r:id="rId20"/>
                </p:custDataLst>
              </p:nvPr>
            </p:nvSpPr>
            <p:spPr bwMode="gray">
              <a:xfrm>
                <a:off x="4533" y="183"/>
                <a:ext cx="144" cy="144"/>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grpSp>
        <p:grpSp>
          <p:nvGrpSpPr>
            <p:cNvPr id="41" name="MoonLegend2"/>
            <p:cNvGrpSpPr>
              <a:grpSpLocks noChangeAspect="1"/>
            </p:cNvGrpSpPr>
            <p:nvPr>
              <p:custDataLst>
                <p:tags r:id="rId7"/>
              </p:custDataLst>
            </p:nvPr>
          </p:nvGrpSpPr>
          <p:grpSpPr bwMode="gray">
            <a:xfrm>
              <a:off x="7769225" y="525066"/>
              <a:ext cx="209550" cy="209551"/>
              <a:chOff x="1694" y="2044"/>
              <a:chExt cx="160" cy="160"/>
            </a:xfrm>
          </p:grpSpPr>
          <p:sp>
            <p:nvSpPr>
              <p:cNvPr id="56" name="Oval 41"/>
              <p:cNvSpPr>
                <a:spLocks noChangeAspect="1" noChangeArrowheads="1"/>
              </p:cNvSpPr>
              <p:nvPr>
                <p:custDataLst>
                  <p:tags r:id="rId17"/>
                </p:custDataLst>
              </p:nvPr>
            </p:nvSpPr>
            <p:spPr bwMode="gray">
              <a:xfrm>
                <a:off x="1694" y="2044"/>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57" name="Arc 42"/>
              <p:cNvSpPr>
                <a:spLocks noChangeAspect="1"/>
              </p:cNvSpPr>
              <p:nvPr>
                <p:custDataLst>
                  <p:tags r:id="rId18"/>
                </p:custDataLst>
              </p:nvPr>
            </p:nvSpPr>
            <p:spPr bwMode="gray">
              <a:xfrm>
                <a:off x="1694" y="2044"/>
                <a:ext cx="160" cy="160"/>
              </a:xfrm>
              <a:prstGeom prst="arc">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grpSp>
        <p:grpSp>
          <p:nvGrpSpPr>
            <p:cNvPr id="42" name="MoonLegend4"/>
            <p:cNvGrpSpPr>
              <a:grpSpLocks noChangeAspect="1"/>
            </p:cNvGrpSpPr>
            <p:nvPr>
              <p:custDataLst>
                <p:tags r:id="rId8"/>
              </p:custDataLst>
            </p:nvPr>
          </p:nvGrpSpPr>
          <p:grpSpPr bwMode="gray">
            <a:xfrm>
              <a:off x="7769225" y="1073548"/>
              <a:ext cx="209550" cy="209551"/>
              <a:chOff x="4495" y="1198"/>
              <a:chExt cx="160" cy="160"/>
            </a:xfrm>
          </p:grpSpPr>
          <p:sp>
            <p:nvSpPr>
              <p:cNvPr id="54" name="Oval 47"/>
              <p:cNvSpPr>
                <a:spLocks noChangeAspect="1" noChangeArrowheads="1"/>
              </p:cNvSpPr>
              <p:nvPr>
                <p:custDataLst>
                  <p:tags r:id="rId15"/>
                </p:custDataLst>
              </p:nvPr>
            </p:nvSpPr>
            <p:spPr bwMode="gray">
              <a:xfrm>
                <a:off x="4495" y="1198"/>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55" name="Arc 48"/>
              <p:cNvSpPr>
                <a:spLocks noChangeAspect="1"/>
              </p:cNvSpPr>
              <p:nvPr>
                <p:custDataLst>
                  <p:tags r:id="rId16"/>
                </p:custDataLst>
              </p:nvPr>
            </p:nvSpPr>
            <p:spPr bwMode="gray">
              <a:xfrm>
                <a:off x="4495" y="1198"/>
                <a:ext cx="160" cy="160"/>
              </a:xfrm>
              <a:prstGeom prst="arc">
                <a:avLst>
                  <a:gd name="adj1" fmla="val 16200000"/>
                  <a:gd name="adj2" fmla="val 108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grpSp>
        <p:grpSp>
          <p:nvGrpSpPr>
            <p:cNvPr id="43" name="MoonLegend5"/>
            <p:cNvGrpSpPr>
              <a:grpSpLocks noChangeAspect="1"/>
            </p:cNvGrpSpPr>
            <p:nvPr>
              <p:custDataLst>
                <p:tags r:id="rId9"/>
              </p:custDataLst>
            </p:nvPr>
          </p:nvGrpSpPr>
          <p:grpSpPr bwMode="gray">
            <a:xfrm>
              <a:off x="7769225" y="1347790"/>
              <a:ext cx="209550" cy="209551"/>
              <a:chOff x="4495" y="1440"/>
              <a:chExt cx="160" cy="160"/>
            </a:xfrm>
          </p:grpSpPr>
          <p:sp>
            <p:nvSpPr>
              <p:cNvPr id="52" name="Oval 50"/>
              <p:cNvSpPr>
                <a:spLocks noChangeAspect="1" noChangeArrowheads="1"/>
              </p:cNvSpPr>
              <p:nvPr>
                <p:custDataLst>
                  <p:tags r:id="rId13"/>
                </p:custDataLst>
              </p:nvPr>
            </p:nvSpPr>
            <p:spPr bwMode="gray">
              <a:xfrm>
                <a:off x="4495" y="1440"/>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53" name="Oval 51"/>
              <p:cNvSpPr>
                <a:spLocks noChangeAspect="1" noChangeArrowheads="1"/>
              </p:cNvSpPr>
              <p:nvPr>
                <p:custDataLst>
                  <p:tags r:id="rId14"/>
                </p:custDataLst>
              </p:nvPr>
            </p:nvSpPr>
            <p:spPr bwMode="gray">
              <a:xfrm>
                <a:off x="4495" y="1440"/>
                <a:ext cx="160" cy="160"/>
              </a:xfrm>
              <a:prstGeom prst="arc">
                <a:avLst>
                  <a:gd name="adj1" fmla="val 16200000"/>
                  <a:gd name="adj2" fmla="val 162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grpSp>
        <p:grpSp>
          <p:nvGrpSpPr>
            <p:cNvPr id="44" name="MoonLegend3"/>
            <p:cNvGrpSpPr>
              <a:grpSpLocks noChangeAspect="1"/>
            </p:cNvGrpSpPr>
            <p:nvPr>
              <p:custDataLst>
                <p:tags r:id="rId10"/>
              </p:custDataLst>
            </p:nvPr>
          </p:nvGrpSpPr>
          <p:grpSpPr bwMode="gray">
            <a:xfrm>
              <a:off x="7769225" y="799307"/>
              <a:ext cx="209550" cy="209551"/>
              <a:chOff x="4495" y="1198"/>
              <a:chExt cx="160" cy="160"/>
            </a:xfrm>
          </p:grpSpPr>
          <p:sp>
            <p:nvSpPr>
              <p:cNvPr id="50" name="Oval 47"/>
              <p:cNvSpPr>
                <a:spLocks noChangeAspect="1" noChangeArrowheads="1"/>
              </p:cNvSpPr>
              <p:nvPr>
                <p:custDataLst>
                  <p:tags r:id="rId11"/>
                </p:custDataLst>
              </p:nvPr>
            </p:nvSpPr>
            <p:spPr bwMode="gray">
              <a:xfrm>
                <a:off x="4495" y="1198"/>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51" name="Arc 48"/>
              <p:cNvSpPr>
                <a:spLocks noChangeAspect="1"/>
              </p:cNvSpPr>
              <p:nvPr>
                <p:custDataLst>
                  <p:tags r:id="rId12"/>
                </p:custDataLst>
              </p:nvPr>
            </p:nvSpPr>
            <p:spPr bwMode="gray">
              <a:xfrm>
                <a:off x="4495" y="1198"/>
                <a:ext cx="160" cy="160"/>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grpSp>
        <p:sp>
          <p:nvSpPr>
            <p:cNvPr id="45" name="Legend1"/>
            <p:cNvSpPr>
              <a:spLocks noChangeArrowheads="1"/>
            </p:cNvSpPr>
            <p:nvPr/>
          </p:nvSpPr>
          <p:spPr bwMode="gray">
            <a:xfrm>
              <a:off x="8089900" y="263525"/>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46" name="Legend2"/>
            <p:cNvSpPr>
              <a:spLocks noChangeArrowheads="1"/>
            </p:cNvSpPr>
            <p:nvPr/>
          </p:nvSpPr>
          <p:spPr bwMode="gray">
            <a:xfrm>
              <a:off x="8089900" y="538163"/>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47" name="Legend3"/>
            <p:cNvSpPr>
              <a:spLocks noChangeArrowheads="1"/>
            </p:cNvSpPr>
            <p:nvPr/>
          </p:nvSpPr>
          <p:spPr bwMode="gray">
            <a:xfrm>
              <a:off x="8089900" y="812802"/>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48" name="Legend4"/>
            <p:cNvSpPr>
              <a:spLocks noChangeArrowheads="1"/>
            </p:cNvSpPr>
            <p:nvPr/>
          </p:nvSpPr>
          <p:spPr bwMode="gray">
            <a:xfrm>
              <a:off x="8089900" y="1084265"/>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49" name="Legend5"/>
            <p:cNvSpPr>
              <a:spLocks noChangeArrowheads="1"/>
            </p:cNvSpPr>
            <p:nvPr/>
          </p:nvSpPr>
          <p:spPr bwMode="gray">
            <a:xfrm>
              <a:off x="8089900" y="1360490"/>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grpSp>
      <p:sp>
        <p:nvSpPr>
          <p:cNvPr id="60" name="SlideBottomBar" hidden="1"/>
          <p:cNvSpPr/>
          <p:nvPr userDrawn="1"/>
        </p:nvSpPr>
        <p:spPr>
          <a:xfrm>
            <a:off x="12003218" y="6639739"/>
            <a:ext cx="46648" cy="126340"/>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7" baseline="0" dirty="0">
              <a:solidFill>
                <a:schemeClr val="tx1"/>
              </a:solidFill>
              <a:latin typeface="+mn-lt"/>
              <a:ea typeface="+mn-ea"/>
            </a:endParaRPr>
          </a:p>
        </p:txBody>
      </p:sp>
      <p:sp>
        <p:nvSpPr>
          <p:cNvPr id="61" name="Text Placeholder 2"/>
          <p:cNvSpPr>
            <a:spLocks noGrp="1"/>
          </p:cNvSpPr>
          <p:nvPr userDrawn="1">
            <p:ph type="body" idx="1"/>
          </p:nvPr>
        </p:nvSpPr>
        <p:spPr bwMode="gray">
          <a:xfrm>
            <a:off x="1482091" y="1991016"/>
            <a:ext cx="4389573" cy="1346156"/>
          </a:xfrm>
          <a:prstGeom prst="rect">
            <a:avLst/>
          </a:prstGeom>
        </p:spPr>
        <p:txBody>
          <a:bodyPr vert="horz" lIns="0" tIns="0" rIns="0" bIns="0" rtlCol="0">
            <a:noAutofit/>
          </a:bodyPr>
          <a:lstStyle/>
          <a:p>
            <a:pPr lvl="0" latinLnBrk="0"/>
            <a:r>
              <a:rPr lang="en-US"/>
              <a:t>Click to 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sp>
        <p:nvSpPr>
          <p:cNvPr id="62" name="TextBox 61">
            <a:extLst>
              <a:ext uri="{FF2B5EF4-FFF2-40B4-BE49-F238E27FC236}">
                <a16:creationId xmlns:a16="http://schemas.microsoft.com/office/drawing/2014/main" id="{33646FAC-ECEE-4FA6-9BB6-F88D88B30172}"/>
              </a:ext>
            </a:extLst>
          </p:cNvPr>
          <p:cNvSpPr txBox="1"/>
          <p:nvPr userDrawn="1"/>
        </p:nvSpPr>
        <p:spPr>
          <a:xfrm>
            <a:off x="161986" y="6566446"/>
            <a:ext cx="11270830" cy="136144"/>
          </a:xfrm>
          <a:prstGeom prst="rect">
            <a:avLst/>
          </a:prstGeom>
          <a:noFill/>
        </p:spPr>
        <p:txBody>
          <a:bodyPr vert="horz" wrap="none" lIns="0" tIns="0" rIns="0" bIns="0" rtlCol="0">
            <a:spAutoFit/>
          </a:bodyPr>
          <a:lstStyle/>
          <a:p>
            <a:pPr algn="l"/>
            <a:r>
              <a:rPr lang="en-US" sz="867" b="0" i="0" baseline="0" dirty="0">
                <a:solidFill>
                  <a:schemeClr val="tx1"/>
                </a:solidFill>
              </a:rPr>
              <a:t>Preliminary, pre-decisional, and deliberative. Based on input provided by State agency leaders and staff, to date, and subject to change. Content is descriptive only and is not meant to constitute legal, clinical, or policy advice.</a:t>
            </a:r>
          </a:p>
        </p:txBody>
      </p:sp>
    </p:spTree>
    <p:extLst>
      <p:ext uri="{BB962C8B-B14F-4D97-AF65-F5344CB8AC3E}">
        <p14:creationId xmlns:p14="http://schemas.microsoft.com/office/powerpoint/2010/main" val="739134864"/>
      </p:ext>
    </p:extLst>
  </p:cSld>
  <p:clrMap bg1="lt1" tx1="dk1" bg2="lt2" tx2="dk2" accent1="accent1" accent2="accent2" accent3="accent3" accent4="accent4" accent5="accent5" accent6="accent6" hlink="hlink" folHlink="folHlink"/>
  <p:sldLayoutIdLst>
    <p:sldLayoutId id="2147483655" r:id="rId1"/>
    <p:sldLayoutId id="2147483656" r:id="rId2"/>
  </p:sldLayoutIdLst>
  <p:hf hdr="0" ftr="0" dt="0"/>
  <p:txStyles>
    <p:titleStyle>
      <a:lvl1pPr algn="l" defTabSz="1218095" rtl="0" eaLnBrk="1" fontAlgn="base" hangingPunct="1">
        <a:spcBef>
          <a:spcPct val="0"/>
        </a:spcBef>
        <a:spcAft>
          <a:spcPct val="0"/>
        </a:spcAft>
        <a:tabLst>
          <a:tab pos="367156" algn="l"/>
        </a:tabLst>
        <a:defRPr sz="2041" b="0" baseline="0">
          <a:solidFill>
            <a:schemeClr val="tx1"/>
          </a:solidFill>
          <a:latin typeface="+mj-lt"/>
          <a:ea typeface="+mj-ea"/>
          <a:cs typeface="+mj-cs"/>
        </a:defRPr>
      </a:lvl1pPr>
      <a:lvl2pPr algn="l" defTabSz="1218095" rtl="0" eaLnBrk="1" fontAlgn="base" hangingPunct="1">
        <a:spcBef>
          <a:spcPct val="0"/>
        </a:spcBef>
        <a:spcAft>
          <a:spcPct val="0"/>
        </a:spcAft>
        <a:defRPr sz="2584" b="1">
          <a:solidFill>
            <a:schemeClr val="tx2"/>
          </a:solidFill>
          <a:latin typeface="Arial" charset="0"/>
        </a:defRPr>
      </a:lvl2pPr>
      <a:lvl3pPr algn="l" defTabSz="1218095" rtl="0" eaLnBrk="1" fontAlgn="base" hangingPunct="1">
        <a:spcBef>
          <a:spcPct val="0"/>
        </a:spcBef>
        <a:spcAft>
          <a:spcPct val="0"/>
        </a:spcAft>
        <a:defRPr sz="2584" b="1">
          <a:solidFill>
            <a:schemeClr val="tx2"/>
          </a:solidFill>
          <a:latin typeface="Arial" charset="0"/>
        </a:defRPr>
      </a:lvl3pPr>
      <a:lvl4pPr algn="l" defTabSz="1218095" rtl="0" eaLnBrk="1" fontAlgn="base" hangingPunct="1">
        <a:spcBef>
          <a:spcPct val="0"/>
        </a:spcBef>
        <a:spcAft>
          <a:spcPct val="0"/>
        </a:spcAft>
        <a:defRPr sz="2584" b="1">
          <a:solidFill>
            <a:schemeClr val="tx2"/>
          </a:solidFill>
          <a:latin typeface="Arial" charset="0"/>
        </a:defRPr>
      </a:lvl4pPr>
      <a:lvl5pPr algn="l" defTabSz="1218095" rtl="0" eaLnBrk="1" fontAlgn="base" hangingPunct="1">
        <a:spcBef>
          <a:spcPct val="0"/>
        </a:spcBef>
        <a:spcAft>
          <a:spcPct val="0"/>
        </a:spcAft>
        <a:defRPr sz="2584" b="1">
          <a:solidFill>
            <a:schemeClr val="tx2"/>
          </a:solidFill>
          <a:latin typeface="Arial" charset="0"/>
        </a:defRPr>
      </a:lvl5pPr>
      <a:lvl6pPr marL="622005" algn="l" defTabSz="1218095" rtl="0" eaLnBrk="1" fontAlgn="base" hangingPunct="1">
        <a:spcBef>
          <a:spcPct val="0"/>
        </a:spcBef>
        <a:spcAft>
          <a:spcPct val="0"/>
        </a:spcAft>
        <a:defRPr sz="2584" b="1">
          <a:solidFill>
            <a:schemeClr val="tx2"/>
          </a:solidFill>
          <a:latin typeface="Arial" charset="0"/>
        </a:defRPr>
      </a:lvl6pPr>
      <a:lvl7pPr marL="1244012" algn="l" defTabSz="1218095" rtl="0" eaLnBrk="1" fontAlgn="base" hangingPunct="1">
        <a:spcBef>
          <a:spcPct val="0"/>
        </a:spcBef>
        <a:spcAft>
          <a:spcPct val="0"/>
        </a:spcAft>
        <a:defRPr sz="2584" b="1">
          <a:solidFill>
            <a:schemeClr val="tx2"/>
          </a:solidFill>
          <a:latin typeface="Arial" charset="0"/>
        </a:defRPr>
      </a:lvl7pPr>
      <a:lvl8pPr marL="1866017" algn="l" defTabSz="1218095" rtl="0" eaLnBrk="1" fontAlgn="base" hangingPunct="1">
        <a:spcBef>
          <a:spcPct val="0"/>
        </a:spcBef>
        <a:spcAft>
          <a:spcPct val="0"/>
        </a:spcAft>
        <a:defRPr sz="2584" b="1">
          <a:solidFill>
            <a:schemeClr val="tx2"/>
          </a:solidFill>
          <a:latin typeface="Arial" charset="0"/>
        </a:defRPr>
      </a:lvl8pPr>
      <a:lvl9pPr marL="2488024" algn="l" defTabSz="1218095" rtl="0" eaLnBrk="1" fontAlgn="base" hangingPunct="1">
        <a:spcBef>
          <a:spcPct val="0"/>
        </a:spcBef>
        <a:spcAft>
          <a:spcPct val="0"/>
        </a:spcAft>
        <a:defRPr sz="2584" b="1">
          <a:solidFill>
            <a:schemeClr val="tx2"/>
          </a:solidFill>
          <a:latin typeface="Arial" charset="0"/>
        </a:defRPr>
      </a:lvl9pPr>
    </p:titleStyle>
    <p:bodyStyle>
      <a:lvl1pPr marL="0" indent="0" algn="l" defTabSz="913526" rtl="0" eaLnBrk="1" fontAlgn="base" latinLnBrk="0" hangingPunct="1">
        <a:spcBef>
          <a:spcPct val="0"/>
        </a:spcBef>
        <a:spcAft>
          <a:spcPct val="0"/>
        </a:spcAft>
        <a:buClr>
          <a:schemeClr val="tx2"/>
        </a:buClr>
        <a:buSzPct val="100000"/>
        <a:defRPr lang="en-US" sz="1632" baseline="0" dirty="0">
          <a:solidFill>
            <a:schemeClr val="tx1"/>
          </a:solidFill>
          <a:latin typeface="+mn-lt"/>
          <a:ea typeface="+mn-ea"/>
          <a:cs typeface="+mn-cs"/>
        </a:defRPr>
      </a:lvl1pPr>
      <a:lvl2pPr marL="198346" indent="-194673" algn="l" defTabSz="913526" rtl="0" eaLnBrk="1" fontAlgn="base" latinLnBrk="0" hangingPunct="1">
        <a:spcBef>
          <a:spcPct val="0"/>
        </a:spcBef>
        <a:spcAft>
          <a:spcPct val="0"/>
        </a:spcAft>
        <a:buClr>
          <a:schemeClr val="tx2"/>
        </a:buClr>
        <a:buSzPct val="125000"/>
        <a:buFont typeface="Arial" charset="0"/>
        <a:buChar char="▪"/>
        <a:defRPr lang="en-US" sz="1632" baseline="0" dirty="0">
          <a:solidFill>
            <a:schemeClr val="tx1"/>
          </a:solidFill>
          <a:latin typeface="+mn-lt"/>
          <a:ea typeface="+mn-ea"/>
          <a:cs typeface="+mn-cs"/>
        </a:defRPr>
      </a:lvl2pPr>
      <a:lvl3pPr marL="455462" indent="-253443" algn="l" defTabSz="913526" rtl="0" eaLnBrk="1" fontAlgn="base" latinLnBrk="0" hangingPunct="1">
        <a:spcBef>
          <a:spcPct val="0"/>
        </a:spcBef>
        <a:spcAft>
          <a:spcPct val="0"/>
        </a:spcAft>
        <a:buClr>
          <a:schemeClr val="tx2"/>
        </a:buClr>
        <a:buSzPct val="120000"/>
        <a:buFont typeface="Arial" charset="0"/>
        <a:buChar char="–"/>
        <a:defRPr lang="en-US" sz="1632" baseline="0" dirty="0">
          <a:solidFill>
            <a:schemeClr val="tx1"/>
          </a:solidFill>
          <a:latin typeface="+mn-lt"/>
          <a:ea typeface="+mn-ea"/>
          <a:cs typeface="+mn-cs"/>
        </a:defRPr>
      </a:lvl3pPr>
      <a:lvl4pPr marL="628097" indent="-157942" algn="l" defTabSz="913526" rtl="0" eaLnBrk="1" fontAlgn="base" latinLnBrk="0" hangingPunct="1">
        <a:spcBef>
          <a:spcPct val="0"/>
        </a:spcBef>
        <a:spcAft>
          <a:spcPct val="0"/>
        </a:spcAft>
        <a:buClr>
          <a:schemeClr val="tx2"/>
        </a:buClr>
        <a:buSzPct val="120000"/>
        <a:buFont typeface="Arial" charset="0"/>
        <a:buChar char="▫"/>
        <a:defRPr lang="en-US" sz="1632" baseline="0" dirty="0">
          <a:solidFill>
            <a:schemeClr val="tx1"/>
          </a:solidFill>
          <a:latin typeface="+mn-lt"/>
          <a:ea typeface="+mn-ea"/>
          <a:cs typeface="+mn-cs"/>
        </a:defRPr>
      </a:lvl4pPr>
      <a:lvl5pPr marL="764001" indent="-132231" algn="l" defTabSz="913526" rtl="0" eaLnBrk="1" fontAlgn="base" latinLnBrk="0" hangingPunct="1">
        <a:spcBef>
          <a:spcPct val="0"/>
        </a:spcBef>
        <a:spcAft>
          <a:spcPct val="0"/>
        </a:spcAft>
        <a:buClr>
          <a:schemeClr val="tx2"/>
        </a:buClr>
        <a:buSzPct val="89000"/>
        <a:buFont typeface="Arial" charset="0"/>
        <a:buChar char="-"/>
        <a:defRPr lang="en-US" sz="1632" baseline="0" dirty="0">
          <a:solidFill>
            <a:schemeClr val="tx1"/>
          </a:solidFill>
          <a:latin typeface="+mn-lt"/>
          <a:ea typeface="+mn-ea"/>
          <a:cs typeface="+mn-cs"/>
        </a:defRPr>
      </a:lvl5pPr>
      <a:lvl6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6pPr>
      <a:lvl7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7pPr>
      <a:lvl8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8pPr>
      <a:lvl9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9pPr>
    </p:bodyStyle>
    <p:otherStyle>
      <a:defPPr>
        <a:defRPr lang="en-US"/>
      </a:defPPr>
      <a:lvl1pPr marL="0" algn="l" defTabSz="1244012" rtl="0" eaLnBrk="1" latinLnBrk="0" hangingPunct="1">
        <a:defRPr sz="2449" kern="1200">
          <a:solidFill>
            <a:schemeClr val="tx1"/>
          </a:solidFill>
          <a:latin typeface="+mn-lt"/>
          <a:ea typeface="+mn-ea"/>
          <a:cs typeface="+mn-cs"/>
        </a:defRPr>
      </a:lvl1pPr>
      <a:lvl2pPr marL="622005" algn="l" defTabSz="1244012" rtl="0" eaLnBrk="1" latinLnBrk="0" hangingPunct="1">
        <a:defRPr sz="2449" kern="1200">
          <a:solidFill>
            <a:schemeClr val="tx1"/>
          </a:solidFill>
          <a:latin typeface="+mn-lt"/>
          <a:ea typeface="+mn-ea"/>
          <a:cs typeface="+mn-cs"/>
        </a:defRPr>
      </a:lvl2pPr>
      <a:lvl3pPr marL="1244012" algn="l" defTabSz="1244012" rtl="0" eaLnBrk="1" latinLnBrk="0" hangingPunct="1">
        <a:defRPr sz="2449" kern="1200">
          <a:solidFill>
            <a:schemeClr val="tx1"/>
          </a:solidFill>
          <a:latin typeface="+mn-lt"/>
          <a:ea typeface="+mn-ea"/>
          <a:cs typeface="+mn-cs"/>
        </a:defRPr>
      </a:lvl3pPr>
      <a:lvl4pPr marL="1866017" algn="l" defTabSz="1244012" rtl="0" eaLnBrk="1" latinLnBrk="0" hangingPunct="1">
        <a:defRPr sz="2449" kern="1200">
          <a:solidFill>
            <a:schemeClr val="tx1"/>
          </a:solidFill>
          <a:latin typeface="+mn-lt"/>
          <a:ea typeface="+mn-ea"/>
          <a:cs typeface="+mn-cs"/>
        </a:defRPr>
      </a:lvl4pPr>
      <a:lvl5pPr marL="2488024" algn="l" defTabSz="1244012" rtl="0" eaLnBrk="1" latinLnBrk="0" hangingPunct="1">
        <a:defRPr sz="2449" kern="1200">
          <a:solidFill>
            <a:schemeClr val="tx1"/>
          </a:solidFill>
          <a:latin typeface="+mn-lt"/>
          <a:ea typeface="+mn-ea"/>
          <a:cs typeface="+mn-cs"/>
        </a:defRPr>
      </a:lvl5pPr>
      <a:lvl6pPr marL="3110029" algn="l" defTabSz="1244012" rtl="0" eaLnBrk="1" latinLnBrk="0" hangingPunct="1">
        <a:defRPr sz="2449" kern="1200">
          <a:solidFill>
            <a:schemeClr val="tx1"/>
          </a:solidFill>
          <a:latin typeface="+mn-lt"/>
          <a:ea typeface="+mn-ea"/>
          <a:cs typeface="+mn-cs"/>
        </a:defRPr>
      </a:lvl6pPr>
      <a:lvl7pPr marL="3732036" algn="l" defTabSz="1244012" rtl="0" eaLnBrk="1" latinLnBrk="0" hangingPunct="1">
        <a:defRPr sz="2449" kern="1200">
          <a:solidFill>
            <a:schemeClr val="tx1"/>
          </a:solidFill>
          <a:latin typeface="+mn-lt"/>
          <a:ea typeface="+mn-ea"/>
          <a:cs typeface="+mn-cs"/>
        </a:defRPr>
      </a:lvl7pPr>
      <a:lvl8pPr marL="4354041" algn="l" defTabSz="1244012" rtl="0" eaLnBrk="1" latinLnBrk="0" hangingPunct="1">
        <a:defRPr sz="2449" kern="1200">
          <a:solidFill>
            <a:schemeClr val="tx1"/>
          </a:solidFill>
          <a:latin typeface="+mn-lt"/>
          <a:ea typeface="+mn-ea"/>
          <a:cs typeface="+mn-cs"/>
        </a:defRPr>
      </a:lvl8pPr>
      <a:lvl9pPr marL="4976048" algn="l" defTabSz="1244012" rtl="0" eaLnBrk="1" latinLnBrk="0" hangingPunct="1">
        <a:defRPr sz="244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57C86D6-500D-48AE-91AF-B1DBCD1E732C}"/>
              </a:ext>
            </a:extLst>
          </p:cNvPr>
          <p:cNvGraphicFramePr>
            <a:graphicFrameLocks noChangeAspect="1"/>
          </p:cNvGraphicFramePr>
          <p:nvPr userDrawn="1">
            <p:custDataLst>
              <p:tags r:id="rId5"/>
            </p:custDataLst>
            <p:extLst>
              <p:ext uri="{D42A27DB-BD31-4B8C-83A1-F6EECF244321}">
                <p14:modId xmlns:p14="http://schemas.microsoft.com/office/powerpoint/2010/main" val="19662043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5" progId="TCLayout.ActiveDocument.1">
                  <p:embed/>
                </p:oleObj>
              </mc:Choice>
              <mc:Fallback>
                <p:oleObj name="think-cell Slide" r:id="rId7" imgW="592" imgH="595" progId="TCLayout.ActiveDocument.1">
                  <p:embed/>
                  <p:pic>
                    <p:nvPicPr>
                      <p:cNvPr id="10" name="Object 9" hidden="1">
                        <a:extLst>
                          <a:ext uri="{FF2B5EF4-FFF2-40B4-BE49-F238E27FC236}">
                            <a16:creationId xmlns:a16="http://schemas.microsoft.com/office/drawing/2014/main" id="{057C86D6-500D-48AE-91AF-B1DBCD1E732C}"/>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AF017D0C-5F7C-4B2E-85C3-D9E89B7C3B69}"/>
              </a:ext>
            </a:extLst>
          </p:cNvPr>
          <p:cNvSpPr/>
          <p:nvPr userDrawn="1">
            <p:custDataLst>
              <p:tags r:id="rId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588CC4D8-642B-44B1-AC7F-35DDEEAD3A1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C8990A8-6A8A-4E32-AC7D-D5A0160A759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Picture 14">
            <a:extLst>
              <a:ext uri="{FF2B5EF4-FFF2-40B4-BE49-F238E27FC236}">
                <a16:creationId xmlns:a16="http://schemas.microsoft.com/office/drawing/2014/main" id="{97BF38E6-10DF-4F4A-81F4-7B8900FDC7F4}"/>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806074" y="19770"/>
            <a:ext cx="1362152" cy="345355"/>
          </a:xfrm>
          <a:prstGeom prst="rect">
            <a:avLst/>
          </a:prstGeom>
        </p:spPr>
      </p:pic>
    </p:spTree>
    <p:extLst>
      <p:ext uri="{BB962C8B-B14F-4D97-AF65-F5344CB8AC3E}">
        <p14:creationId xmlns:p14="http://schemas.microsoft.com/office/powerpoint/2010/main" val="1376623466"/>
      </p:ext>
    </p:extLst>
  </p:cSld>
  <p:clrMap bg1="lt1" tx1="dk1" bg2="lt2" tx2="dk2" accent1="accent1" accent2="accent2" accent3="accent3" accent4="accent4" accent5="accent5" accent6="accent6" hlink="hlink" folHlink="folHlink"/>
  <p:sldLayoutIdLst>
    <p:sldLayoutId id="2147483658" r:id="rId1"/>
    <p:sldLayoutId id="2147483659" r:id="rId2"/>
    <p:sldLayoutId id="2147483660" r:id="rId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3227743157"/>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20" imgW="270" imgH="270" progId="TCLayout.ActiveDocument.1">
                  <p:embed/>
                </p:oleObj>
              </mc:Choice>
              <mc:Fallback>
                <p:oleObj name="think-cell Slide" r:id="rId20" imgW="270" imgH="270" progId="TCLayout.ActiveDocument.1">
                  <p:embed/>
                  <p:pic>
                    <p:nvPicPr>
                      <p:cNvPr id="2" name="Object 1" hidden="1"/>
                      <p:cNvPicPr/>
                      <p:nvPr/>
                    </p:nvPicPr>
                    <p:blipFill>
                      <a:blip r:embed="rId21"/>
                      <a:stretch>
                        <a:fillRect/>
                      </a:stretch>
                    </p:blipFill>
                    <p:spPr>
                      <a:xfrm>
                        <a:off x="0" y="0"/>
                        <a:ext cx="215979" cy="161974"/>
                      </a:xfrm>
                      <a:prstGeom prst="rect">
                        <a:avLst/>
                      </a:prstGeom>
                    </p:spPr>
                  </p:pic>
                </p:oleObj>
              </mc:Fallback>
            </mc:AlternateContent>
          </a:graphicData>
        </a:graphic>
      </p:graphicFrame>
      <p:sp>
        <p:nvSpPr>
          <p:cNvPr id="6" name="Rectangle 5" hidden="1"/>
          <p:cNvSpPr/>
          <p:nvPr userDrawn="1">
            <p:custDataLst>
              <p:tags r:id="rId4"/>
            </p:custDataLst>
          </p:nvPr>
        </p:nvSpPr>
        <p:spPr bwMode="auto">
          <a:xfrm>
            <a:off x="0"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en-US" sz="2176" b="0" i="0" baseline="0" dirty="0">
              <a:solidFill>
                <a:schemeClr val="tx1"/>
              </a:solidFill>
              <a:latin typeface="Arial" panose="020B0604020202020204" pitchFamily="34" charset="0"/>
              <a:ea typeface="+mn-ea"/>
              <a:cs typeface="+mn-cs"/>
              <a:sym typeface="Arial" panose="020B0604020202020204" pitchFamily="34" charset="0"/>
            </a:endParaRPr>
          </a:p>
        </p:txBody>
      </p:sp>
      <p:sp>
        <p:nvSpPr>
          <p:cNvPr id="1033" name="doc id" hidden="1"/>
          <p:cNvSpPr>
            <a:spLocks noChangeArrowheads="1"/>
          </p:cNvSpPr>
          <p:nvPr/>
        </p:nvSpPr>
        <p:spPr bwMode="gray">
          <a:xfrm flipH="1">
            <a:off x="10658002" y="51835"/>
            <a:ext cx="1231563" cy="96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8095"/>
            <a:endParaRPr lang="en-US" sz="612" baseline="0" noProof="0" dirty="0">
              <a:solidFill>
                <a:schemeClr val="accent6"/>
              </a:solidFill>
              <a:latin typeface="+mn-lt"/>
              <a:ea typeface="+mn-ea"/>
            </a:endParaRPr>
          </a:p>
        </p:txBody>
      </p:sp>
      <p:sp>
        <p:nvSpPr>
          <p:cNvPr id="1034" name="Working Draft" hidden="1"/>
          <p:cNvSpPr txBox="1">
            <a:spLocks noChangeArrowheads="1"/>
          </p:cNvSpPr>
          <p:nvPr/>
        </p:nvSpPr>
        <p:spPr bwMode="gray">
          <a:xfrm rot="5400000">
            <a:off x="11106321" y="1980017"/>
            <a:ext cx="1981312"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612" baseline="0" noProof="0" dirty="0">
                <a:solidFill>
                  <a:schemeClr val="accent6"/>
                </a:solidFill>
                <a:latin typeface="+mn-lt"/>
                <a:ea typeface="+mn-ea"/>
              </a:rPr>
              <a:t>Last Modified 5/18/2021 2:55 PM Eastern Standard Time</a:t>
            </a:r>
          </a:p>
        </p:txBody>
      </p:sp>
      <p:sp>
        <p:nvSpPr>
          <p:cNvPr id="1035" name="Printed" hidden="1"/>
          <p:cNvSpPr txBox="1">
            <a:spLocks noChangeArrowheads="1"/>
          </p:cNvSpPr>
          <p:nvPr/>
        </p:nvSpPr>
        <p:spPr bwMode="gray">
          <a:xfrm rot="5400000">
            <a:off x="11970213" y="4197040"/>
            <a:ext cx="253513" cy="96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612" baseline="0" noProof="0" dirty="0">
                <a:solidFill>
                  <a:schemeClr val="accent6"/>
                </a:solidFill>
                <a:latin typeface="+mn-lt"/>
                <a:ea typeface="+mn-ea"/>
              </a:rPr>
              <a:t>Printed</a:t>
            </a:r>
          </a:p>
        </p:txBody>
      </p:sp>
      <p:sp>
        <p:nvSpPr>
          <p:cNvPr id="19" name="Title Placeholder 2"/>
          <p:cNvSpPr>
            <a:spLocks noGrp="1" noChangeArrowheads="1"/>
          </p:cNvSpPr>
          <p:nvPr>
            <p:ph type="title"/>
          </p:nvPr>
        </p:nvSpPr>
        <p:spPr bwMode="gray">
          <a:xfrm>
            <a:off x="161987" y="234865"/>
            <a:ext cx="11725484"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endParaRPr lang="en-US" noProof="0" dirty="0"/>
          </a:p>
        </p:txBody>
      </p:sp>
      <p:sp>
        <p:nvSpPr>
          <p:cNvPr id="10" name="1. On-page tracker" hidden="1"/>
          <p:cNvSpPr>
            <a:spLocks noChangeArrowheads="1"/>
          </p:cNvSpPr>
          <p:nvPr userDrawn="1"/>
        </p:nvSpPr>
        <p:spPr bwMode="gray">
          <a:xfrm>
            <a:off x="161985" y="77303"/>
            <a:ext cx="511939"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16" cap="all" baseline="0" noProof="0" dirty="0">
                <a:solidFill>
                  <a:schemeClr val="accent6"/>
                </a:solidFill>
                <a:latin typeface="+mn-lt"/>
                <a:ea typeface="+mn-ea"/>
              </a:rPr>
              <a:t>Tracker</a:t>
            </a:r>
          </a:p>
        </p:txBody>
      </p:sp>
      <p:sp>
        <p:nvSpPr>
          <p:cNvPr id="11" name="3. Unit of measure" hidden="1"/>
          <p:cNvSpPr txBox="1">
            <a:spLocks noChangeArrowheads="1"/>
          </p:cNvSpPr>
          <p:nvPr userDrawn="1"/>
        </p:nvSpPr>
        <p:spPr bwMode="gray">
          <a:xfrm>
            <a:off x="161987" y="566136"/>
            <a:ext cx="11725484" cy="256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32" baseline="0" noProof="0" dirty="0">
                <a:solidFill>
                  <a:schemeClr val="accent6"/>
                </a:solidFill>
                <a:latin typeface="+mn-lt"/>
                <a:ea typeface="+mn-ea"/>
              </a:rPr>
              <a:t>CLIENT</a:t>
            </a:r>
          </a:p>
        </p:txBody>
      </p:sp>
      <p:sp>
        <p:nvSpPr>
          <p:cNvPr id="13" name="4. Footnote" hidden="1"/>
          <p:cNvSpPr txBox="1">
            <a:spLocks noChangeArrowheads="1"/>
          </p:cNvSpPr>
          <p:nvPr/>
        </p:nvSpPr>
        <p:spPr bwMode="gray">
          <a:xfrm>
            <a:off x="161985" y="6432273"/>
            <a:ext cx="11630454"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7465" indent="-87465">
              <a:defRPr/>
            </a:pPr>
            <a:r>
              <a:rPr lang="en-US" sz="816" baseline="0" noProof="0" dirty="0">
                <a:solidFill>
                  <a:schemeClr val="accent6"/>
                </a:solidFill>
                <a:latin typeface="+mn-lt"/>
                <a:ea typeface="+mn-ea"/>
              </a:rPr>
              <a:t>1 Footnote</a:t>
            </a:r>
          </a:p>
        </p:txBody>
      </p:sp>
      <p:sp>
        <p:nvSpPr>
          <p:cNvPr id="14" name="5. Source" hidden="1"/>
          <p:cNvSpPr>
            <a:spLocks noChangeArrowheads="1"/>
          </p:cNvSpPr>
          <p:nvPr/>
        </p:nvSpPr>
        <p:spPr bwMode="gray">
          <a:xfrm>
            <a:off x="161985" y="6637982"/>
            <a:ext cx="10155320"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03735" indent="-503735" defTabSz="1218095">
              <a:tabLst/>
            </a:pPr>
            <a:r>
              <a:rPr lang="en-US" sz="816" baseline="0" noProof="0" dirty="0">
                <a:solidFill>
                  <a:schemeClr val="accent6"/>
                </a:solidFill>
                <a:latin typeface="+mn-lt"/>
                <a:ea typeface="+mn-ea"/>
              </a:rPr>
              <a:t>SOURCE: Source</a:t>
            </a:r>
          </a:p>
        </p:txBody>
      </p:sp>
      <p:grpSp>
        <p:nvGrpSpPr>
          <p:cNvPr id="15" name="ACET" hidden="1"/>
          <p:cNvGrpSpPr>
            <a:grpSpLocks/>
          </p:cNvGrpSpPr>
          <p:nvPr userDrawn="1"/>
        </p:nvGrpSpPr>
        <p:grpSpPr bwMode="gray">
          <a:xfrm>
            <a:off x="1976207" y="1270343"/>
            <a:ext cx="5801188" cy="531276"/>
            <a:chOff x="915" y="702"/>
            <a:chExt cx="2686" cy="328"/>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32" b="1" baseline="0" noProof="0" dirty="0">
                  <a:latin typeface="+mn-lt"/>
                  <a:ea typeface="+mn-ea"/>
                </a:rPr>
                <a:t>Title</a:t>
              </a:r>
            </a:p>
            <a:p>
              <a:r>
                <a:rPr lang="en-US" sz="1632" baseline="0" noProof="0" dirty="0">
                  <a:solidFill>
                    <a:schemeClr val="accent6"/>
                  </a:solidFill>
                  <a:latin typeface="+mn-lt"/>
                  <a:ea typeface="+mn-ea"/>
                </a:rPr>
                <a:t>Unit of measure</a:t>
              </a:r>
            </a:p>
          </p:txBody>
        </p:sp>
      </p:grpSp>
      <p:grpSp>
        <p:nvGrpSpPr>
          <p:cNvPr id="17" name="Sticker" hidden="1"/>
          <p:cNvGrpSpPr/>
          <p:nvPr userDrawn="1"/>
        </p:nvGrpSpPr>
        <p:grpSpPr bwMode="gray">
          <a:xfrm>
            <a:off x="11394692" y="291554"/>
            <a:ext cx="492770" cy="156360"/>
            <a:chOff x="8378576" y="285750"/>
            <a:chExt cx="362199" cy="153247"/>
          </a:xfrm>
        </p:grpSpPr>
        <p:sp>
          <p:nvSpPr>
            <p:cNvPr id="20" name="StickerRectangle"/>
            <p:cNvSpPr>
              <a:spLocks noChangeArrowheads="1"/>
            </p:cNvSpPr>
            <p:nvPr/>
          </p:nvSpPr>
          <p:spPr bwMode="gray">
            <a:xfrm>
              <a:off x="8378576" y="285750"/>
              <a:ext cx="362199" cy="15324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1218095">
                <a:buClr>
                  <a:schemeClr val="tx2"/>
                </a:buClr>
              </a:pPr>
              <a:r>
                <a:rPr lang="en-US" sz="816"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378576" y="285750"/>
              <a:ext cx="0" cy="153247"/>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378576" y="438997"/>
              <a:ext cx="362199"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23" name="LegendBoxes" hidden="1"/>
          <p:cNvGrpSpPr/>
          <p:nvPr userDrawn="1"/>
        </p:nvGrpSpPr>
        <p:grpSpPr bwMode="gray">
          <a:xfrm>
            <a:off x="11108191" y="285075"/>
            <a:ext cx="789093" cy="1021522"/>
            <a:chOff x="7835905" y="279400"/>
            <a:chExt cx="773373" cy="1001186"/>
          </a:xfrm>
        </p:grpSpPr>
        <p:sp>
          <p:nvSpPr>
            <p:cNvPr id="24" name="RectangleLegend1"/>
            <p:cNvSpPr>
              <a:spLocks noChangeArrowheads="1"/>
            </p:cNvSpPr>
            <p:nvPr/>
          </p:nvSpPr>
          <p:spPr bwMode="gray">
            <a:xfrm>
              <a:off x="7835905" y="290513"/>
              <a:ext cx="165100" cy="160338"/>
            </a:xfrm>
            <a:prstGeom prst="rect">
              <a:avLst/>
            </a:prstGeom>
            <a:solidFill>
              <a:schemeClr val="accent1"/>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25" name="RectangleLegend2"/>
            <p:cNvSpPr>
              <a:spLocks noChangeArrowheads="1"/>
            </p:cNvSpPr>
            <p:nvPr/>
          </p:nvSpPr>
          <p:spPr bwMode="gray">
            <a:xfrm>
              <a:off x="7835905" y="560388"/>
              <a:ext cx="165100" cy="160338"/>
            </a:xfrm>
            <a:prstGeom prst="rect">
              <a:avLst/>
            </a:prstGeom>
            <a:solidFill>
              <a:schemeClr val="accent2"/>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26" name="RectangleLegend3"/>
            <p:cNvSpPr>
              <a:spLocks noChangeArrowheads="1"/>
            </p:cNvSpPr>
            <p:nvPr/>
          </p:nvSpPr>
          <p:spPr bwMode="gray">
            <a:xfrm>
              <a:off x="7835905" y="831851"/>
              <a:ext cx="165100" cy="160338"/>
            </a:xfrm>
            <a:prstGeom prst="rect">
              <a:avLst/>
            </a:prstGeom>
            <a:solidFill>
              <a:schemeClr val="accent3"/>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27" name="RectangleLegend4"/>
            <p:cNvSpPr>
              <a:spLocks noChangeArrowheads="1"/>
            </p:cNvSpPr>
            <p:nvPr/>
          </p:nvSpPr>
          <p:spPr bwMode="gray">
            <a:xfrm>
              <a:off x="7835905" y="1103313"/>
              <a:ext cx="165100" cy="160338"/>
            </a:xfrm>
            <a:prstGeom prst="rect">
              <a:avLst/>
            </a:prstGeom>
            <a:solidFill>
              <a:schemeClr val="accent4"/>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28" name="Legend1"/>
            <p:cNvSpPr>
              <a:spLocks noChangeArrowheads="1"/>
            </p:cNvSpPr>
            <p:nvPr/>
          </p:nvSpPr>
          <p:spPr bwMode="gray">
            <a:xfrm>
              <a:off x="8089905" y="27940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29" name="Legend2"/>
            <p:cNvSpPr>
              <a:spLocks noChangeArrowheads="1"/>
            </p:cNvSpPr>
            <p:nvPr/>
          </p:nvSpPr>
          <p:spPr bwMode="gray">
            <a:xfrm>
              <a:off x="8089905" y="549275"/>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30" name="Legend3"/>
            <p:cNvSpPr>
              <a:spLocks noChangeArrowheads="1"/>
            </p:cNvSpPr>
            <p:nvPr/>
          </p:nvSpPr>
          <p:spPr bwMode="gray">
            <a:xfrm>
              <a:off x="8089905" y="820738"/>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31" name="Legend4"/>
            <p:cNvSpPr>
              <a:spLocks noChangeArrowheads="1"/>
            </p:cNvSpPr>
            <p:nvPr/>
          </p:nvSpPr>
          <p:spPr bwMode="gray">
            <a:xfrm>
              <a:off x="8089905" y="1092201"/>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grpSp>
      <p:grpSp>
        <p:nvGrpSpPr>
          <p:cNvPr id="32" name="LegendLines" hidden="1"/>
          <p:cNvGrpSpPr/>
          <p:nvPr userDrawn="1"/>
        </p:nvGrpSpPr>
        <p:grpSpPr bwMode="gray">
          <a:xfrm>
            <a:off x="10794126" y="285075"/>
            <a:ext cx="1103328" cy="749405"/>
            <a:chOff x="7540629" y="279400"/>
            <a:chExt cx="1081348" cy="734486"/>
          </a:xfrm>
        </p:grpSpPr>
        <p:sp>
          <p:nvSpPr>
            <p:cNvPr id="33"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837" baseline="0" dirty="0">
                <a:latin typeface="+mn-lt"/>
                <a:ea typeface="+mn-ea"/>
              </a:endParaRPr>
            </a:p>
          </p:txBody>
        </p:sp>
        <p:sp>
          <p:nvSpPr>
            <p:cNvPr id="34"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837" baseline="0" dirty="0">
                <a:latin typeface="+mn-lt"/>
                <a:ea typeface="+mn-ea"/>
              </a:endParaRPr>
            </a:p>
          </p:txBody>
        </p:sp>
        <p:sp>
          <p:nvSpPr>
            <p:cNvPr id="35"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837" baseline="0" dirty="0">
                <a:latin typeface="+mn-lt"/>
                <a:ea typeface="+mn-ea"/>
              </a:endParaRPr>
            </a:p>
          </p:txBody>
        </p:sp>
        <p:sp>
          <p:nvSpPr>
            <p:cNvPr id="36" name="Legend1"/>
            <p:cNvSpPr>
              <a:spLocks noChangeArrowheads="1"/>
            </p:cNvSpPr>
            <p:nvPr/>
          </p:nvSpPr>
          <p:spPr bwMode="gray">
            <a:xfrm>
              <a:off x="8102604" y="27940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37" name="Legend2"/>
            <p:cNvSpPr>
              <a:spLocks noChangeArrowheads="1"/>
            </p:cNvSpPr>
            <p:nvPr/>
          </p:nvSpPr>
          <p:spPr bwMode="gray">
            <a:xfrm>
              <a:off x="8102604" y="54610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38" name="Legend3"/>
            <p:cNvSpPr>
              <a:spLocks noChangeArrowheads="1"/>
            </p:cNvSpPr>
            <p:nvPr/>
          </p:nvSpPr>
          <p:spPr bwMode="gray">
            <a:xfrm>
              <a:off x="8102604" y="825501"/>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grpSp>
      <p:grpSp>
        <p:nvGrpSpPr>
          <p:cNvPr id="39" name="LegendMoons" hidden="1"/>
          <p:cNvGrpSpPr/>
          <p:nvPr userDrawn="1"/>
        </p:nvGrpSpPr>
        <p:grpSpPr bwMode="gray">
          <a:xfrm>
            <a:off x="11040160" y="255920"/>
            <a:ext cx="857123" cy="1333054"/>
            <a:chOff x="7769225" y="250825"/>
            <a:chExt cx="840048" cy="1306516"/>
          </a:xfrm>
        </p:grpSpPr>
        <p:grpSp>
          <p:nvGrpSpPr>
            <p:cNvPr id="40" name="MoonLegend1"/>
            <p:cNvGrpSpPr>
              <a:grpSpLocks noChangeAspect="1"/>
            </p:cNvGrpSpPr>
            <p:nvPr>
              <p:custDataLst>
                <p:tags r:id="rId5"/>
              </p:custDataLst>
            </p:nvPr>
          </p:nvGrpSpPr>
          <p:grpSpPr bwMode="gray">
            <a:xfrm>
              <a:off x="7769225" y="250825"/>
              <a:ext cx="209550" cy="209551"/>
              <a:chOff x="4533" y="183"/>
              <a:chExt cx="144" cy="144"/>
            </a:xfrm>
          </p:grpSpPr>
          <p:sp>
            <p:nvSpPr>
              <p:cNvPr id="58" name="Oval 38"/>
              <p:cNvSpPr>
                <a:spLocks noChangeAspect="1" noChangeArrowheads="1"/>
              </p:cNvSpPr>
              <p:nvPr>
                <p:custDataLst>
                  <p:tags r:id="rId18"/>
                </p:custDataLst>
              </p:nvPr>
            </p:nvSpPr>
            <p:spPr bwMode="gray">
              <a:xfrm>
                <a:off x="4533" y="183"/>
                <a:ext cx="144" cy="144"/>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59" name="Arc 39"/>
              <p:cNvSpPr>
                <a:spLocks noChangeAspect="1"/>
              </p:cNvSpPr>
              <p:nvPr>
                <p:custDataLst>
                  <p:tags r:id="rId19"/>
                </p:custDataLst>
              </p:nvPr>
            </p:nvSpPr>
            <p:spPr bwMode="gray">
              <a:xfrm>
                <a:off x="4533" y="183"/>
                <a:ext cx="144" cy="144"/>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grpSp>
        <p:grpSp>
          <p:nvGrpSpPr>
            <p:cNvPr id="41" name="MoonLegend2"/>
            <p:cNvGrpSpPr>
              <a:grpSpLocks noChangeAspect="1"/>
            </p:cNvGrpSpPr>
            <p:nvPr>
              <p:custDataLst>
                <p:tags r:id="rId6"/>
              </p:custDataLst>
            </p:nvPr>
          </p:nvGrpSpPr>
          <p:grpSpPr bwMode="gray">
            <a:xfrm>
              <a:off x="7769225" y="525066"/>
              <a:ext cx="209550" cy="209551"/>
              <a:chOff x="1694" y="2044"/>
              <a:chExt cx="160" cy="160"/>
            </a:xfrm>
          </p:grpSpPr>
          <p:sp>
            <p:nvSpPr>
              <p:cNvPr id="56" name="Oval 41"/>
              <p:cNvSpPr>
                <a:spLocks noChangeAspect="1" noChangeArrowheads="1"/>
              </p:cNvSpPr>
              <p:nvPr>
                <p:custDataLst>
                  <p:tags r:id="rId16"/>
                </p:custDataLst>
              </p:nvPr>
            </p:nvSpPr>
            <p:spPr bwMode="gray">
              <a:xfrm>
                <a:off x="1694" y="2044"/>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57" name="Arc 42"/>
              <p:cNvSpPr>
                <a:spLocks noChangeAspect="1"/>
              </p:cNvSpPr>
              <p:nvPr>
                <p:custDataLst>
                  <p:tags r:id="rId17"/>
                </p:custDataLst>
              </p:nvPr>
            </p:nvSpPr>
            <p:spPr bwMode="gray">
              <a:xfrm>
                <a:off x="1694" y="2044"/>
                <a:ext cx="160" cy="160"/>
              </a:xfrm>
              <a:prstGeom prst="arc">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grpSp>
        <p:grpSp>
          <p:nvGrpSpPr>
            <p:cNvPr id="42" name="MoonLegend4"/>
            <p:cNvGrpSpPr>
              <a:grpSpLocks noChangeAspect="1"/>
            </p:cNvGrpSpPr>
            <p:nvPr>
              <p:custDataLst>
                <p:tags r:id="rId7"/>
              </p:custDataLst>
            </p:nvPr>
          </p:nvGrpSpPr>
          <p:grpSpPr bwMode="gray">
            <a:xfrm>
              <a:off x="7769225" y="1073548"/>
              <a:ext cx="209550" cy="209551"/>
              <a:chOff x="4495" y="1198"/>
              <a:chExt cx="160" cy="160"/>
            </a:xfrm>
          </p:grpSpPr>
          <p:sp>
            <p:nvSpPr>
              <p:cNvPr id="54"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55" name="Arc 48"/>
              <p:cNvSpPr>
                <a:spLocks noChangeAspect="1"/>
              </p:cNvSpPr>
              <p:nvPr>
                <p:custDataLst>
                  <p:tags r:id="rId15"/>
                </p:custDataLst>
              </p:nvPr>
            </p:nvSpPr>
            <p:spPr bwMode="gray">
              <a:xfrm>
                <a:off x="4495" y="1198"/>
                <a:ext cx="160" cy="160"/>
              </a:xfrm>
              <a:prstGeom prst="arc">
                <a:avLst>
                  <a:gd name="adj1" fmla="val 16200000"/>
                  <a:gd name="adj2" fmla="val 108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grpSp>
        <p:grpSp>
          <p:nvGrpSpPr>
            <p:cNvPr id="43" name="MoonLegend5"/>
            <p:cNvGrpSpPr>
              <a:grpSpLocks noChangeAspect="1"/>
            </p:cNvGrpSpPr>
            <p:nvPr>
              <p:custDataLst>
                <p:tags r:id="rId8"/>
              </p:custDataLst>
            </p:nvPr>
          </p:nvGrpSpPr>
          <p:grpSpPr bwMode="gray">
            <a:xfrm>
              <a:off x="7769225" y="1347790"/>
              <a:ext cx="209550" cy="209551"/>
              <a:chOff x="4495" y="1440"/>
              <a:chExt cx="160" cy="160"/>
            </a:xfrm>
          </p:grpSpPr>
          <p:sp>
            <p:nvSpPr>
              <p:cNvPr id="52" name="Oval 50"/>
              <p:cNvSpPr>
                <a:spLocks noChangeAspect="1" noChangeArrowheads="1"/>
              </p:cNvSpPr>
              <p:nvPr>
                <p:custDataLst>
                  <p:tags r:id="rId12"/>
                </p:custDataLst>
              </p:nvPr>
            </p:nvSpPr>
            <p:spPr bwMode="gray">
              <a:xfrm>
                <a:off x="4495" y="1440"/>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53" name="Oval 51"/>
              <p:cNvSpPr>
                <a:spLocks noChangeAspect="1" noChangeArrowheads="1"/>
              </p:cNvSpPr>
              <p:nvPr>
                <p:custDataLst>
                  <p:tags r:id="rId13"/>
                </p:custDataLst>
              </p:nvPr>
            </p:nvSpPr>
            <p:spPr bwMode="gray">
              <a:xfrm>
                <a:off x="4495" y="1440"/>
                <a:ext cx="160" cy="160"/>
              </a:xfrm>
              <a:prstGeom prst="arc">
                <a:avLst>
                  <a:gd name="adj1" fmla="val 16200000"/>
                  <a:gd name="adj2" fmla="val 162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grpSp>
        <p:grpSp>
          <p:nvGrpSpPr>
            <p:cNvPr id="44" name="MoonLegend3"/>
            <p:cNvGrpSpPr>
              <a:grpSpLocks noChangeAspect="1"/>
            </p:cNvGrpSpPr>
            <p:nvPr>
              <p:custDataLst>
                <p:tags r:id="rId9"/>
              </p:custDataLst>
            </p:nvPr>
          </p:nvGrpSpPr>
          <p:grpSpPr bwMode="gray">
            <a:xfrm>
              <a:off x="7769225" y="799307"/>
              <a:ext cx="209550" cy="209551"/>
              <a:chOff x="4495" y="1198"/>
              <a:chExt cx="160" cy="160"/>
            </a:xfrm>
          </p:grpSpPr>
          <p:sp>
            <p:nvSpPr>
              <p:cNvPr id="50" name="Oval 47"/>
              <p:cNvSpPr>
                <a:spLocks noChangeAspect="1" noChangeArrowheads="1"/>
              </p:cNvSpPr>
              <p:nvPr>
                <p:custDataLst>
                  <p:tags r:id="rId10"/>
                </p:custDataLst>
              </p:nvPr>
            </p:nvSpPr>
            <p:spPr bwMode="gray">
              <a:xfrm>
                <a:off x="4495" y="1198"/>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51" name="Arc 48"/>
              <p:cNvSpPr>
                <a:spLocks noChangeAspect="1"/>
              </p:cNvSpPr>
              <p:nvPr>
                <p:custDataLst>
                  <p:tags r:id="rId11"/>
                </p:custDataLst>
              </p:nvPr>
            </p:nvSpPr>
            <p:spPr bwMode="gray">
              <a:xfrm>
                <a:off x="4495" y="1198"/>
                <a:ext cx="160" cy="160"/>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grpSp>
        <p:sp>
          <p:nvSpPr>
            <p:cNvPr id="45" name="Legend1"/>
            <p:cNvSpPr>
              <a:spLocks noChangeArrowheads="1"/>
            </p:cNvSpPr>
            <p:nvPr/>
          </p:nvSpPr>
          <p:spPr bwMode="gray">
            <a:xfrm>
              <a:off x="8089900" y="263525"/>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46" name="Legend2"/>
            <p:cNvSpPr>
              <a:spLocks noChangeArrowheads="1"/>
            </p:cNvSpPr>
            <p:nvPr/>
          </p:nvSpPr>
          <p:spPr bwMode="gray">
            <a:xfrm>
              <a:off x="8089900" y="538163"/>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47" name="Legend3"/>
            <p:cNvSpPr>
              <a:spLocks noChangeArrowheads="1"/>
            </p:cNvSpPr>
            <p:nvPr/>
          </p:nvSpPr>
          <p:spPr bwMode="gray">
            <a:xfrm>
              <a:off x="8089900" y="812802"/>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48" name="Legend4"/>
            <p:cNvSpPr>
              <a:spLocks noChangeArrowheads="1"/>
            </p:cNvSpPr>
            <p:nvPr/>
          </p:nvSpPr>
          <p:spPr bwMode="gray">
            <a:xfrm>
              <a:off x="8089900" y="1084265"/>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49" name="Legend5"/>
            <p:cNvSpPr>
              <a:spLocks noChangeArrowheads="1"/>
            </p:cNvSpPr>
            <p:nvPr/>
          </p:nvSpPr>
          <p:spPr bwMode="gray">
            <a:xfrm>
              <a:off x="8089900" y="1360490"/>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grpSp>
      <p:sp>
        <p:nvSpPr>
          <p:cNvPr id="60" name="SlideBottomBar" hidden="1"/>
          <p:cNvSpPr/>
          <p:nvPr userDrawn="1"/>
        </p:nvSpPr>
        <p:spPr>
          <a:xfrm>
            <a:off x="12003218" y="6639739"/>
            <a:ext cx="46648" cy="126340"/>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7" baseline="0" dirty="0">
              <a:solidFill>
                <a:schemeClr val="tx1"/>
              </a:solidFill>
              <a:latin typeface="+mn-lt"/>
              <a:ea typeface="+mn-ea"/>
            </a:endParaRPr>
          </a:p>
        </p:txBody>
      </p:sp>
      <p:sp>
        <p:nvSpPr>
          <p:cNvPr id="61" name="Text Placeholder 2"/>
          <p:cNvSpPr>
            <a:spLocks noGrp="1"/>
          </p:cNvSpPr>
          <p:nvPr userDrawn="1">
            <p:ph type="body" idx="1"/>
          </p:nvPr>
        </p:nvSpPr>
        <p:spPr bwMode="gray">
          <a:xfrm>
            <a:off x="1482091" y="1991016"/>
            <a:ext cx="4389573" cy="1346156"/>
          </a:xfrm>
          <a:prstGeom prst="rect">
            <a:avLst/>
          </a:prstGeom>
        </p:spPr>
        <p:txBody>
          <a:bodyPr vert="horz" lIns="0" tIns="0" rIns="0" bIns="0" rtlCol="0">
            <a:noAutofit/>
          </a:bodyPr>
          <a:lstStyle/>
          <a:p>
            <a:pPr lvl="0" latinLnBrk="0"/>
            <a:r>
              <a:rPr lang="en-US"/>
              <a:t>Click to 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sp>
        <p:nvSpPr>
          <p:cNvPr id="62" name="TextBox 61">
            <a:extLst>
              <a:ext uri="{FF2B5EF4-FFF2-40B4-BE49-F238E27FC236}">
                <a16:creationId xmlns:a16="http://schemas.microsoft.com/office/drawing/2014/main" id="{33646FAC-ECEE-4FA6-9BB6-F88D88B30172}"/>
              </a:ext>
            </a:extLst>
          </p:cNvPr>
          <p:cNvSpPr txBox="1"/>
          <p:nvPr userDrawn="1"/>
        </p:nvSpPr>
        <p:spPr>
          <a:xfrm>
            <a:off x="161986" y="6566446"/>
            <a:ext cx="11270830" cy="136144"/>
          </a:xfrm>
          <a:prstGeom prst="rect">
            <a:avLst/>
          </a:prstGeom>
          <a:noFill/>
        </p:spPr>
        <p:txBody>
          <a:bodyPr vert="horz" wrap="none" lIns="0" tIns="0" rIns="0" bIns="0" rtlCol="0">
            <a:spAutoFit/>
          </a:bodyPr>
          <a:lstStyle/>
          <a:p>
            <a:pPr algn="l"/>
            <a:r>
              <a:rPr lang="en-US" sz="867" b="0" i="0" baseline="0" dirty="0">
                <a:solidFill>
                  <a:schemeClr val="tx1"/>
                </a:solidFill>
              </a:rPr>
              <a:t>Preliminary, pre-decisional, and deliberative. Based on input provided by State agency leaders and staff, to date, and subject to change. Content is descriptive only and is not meant to constitute legal, clinical, or policy advice.</a:t>
            </a:r>
          </a:p>
        </p:txBody>
      </p:sp>
    </p:spTree>
    <p:extLst>
      <p:ext uri="{BB962C8B-B14F-4D97-AF65-F5344CB8AC3E}">
        <p14:creationId xmlns:p14="http://schemas.microsoft.com/office/powerpoint/2010/main" val="140805696"/>
      </p:ext>
    </p:extLst>
  </p:cSld>
  <p:clrMap bg1="lt1" tx1="dk1" bg2="lt2" tx2="dk2" accent1="accent1" accent2="accent2" accent3="accent3" accent4="accent4" accent5="accent5" accent6="accent6" hlink="hlink" folHlink="folHlink"/>
  <p:sldLayoutIdLst>
    <p:sldLayoutId id="2147483663" r:id="rId1"/>
  </p:sldLayoutIdLst>
  <p:hf hdr="0" ftr="0" dt="0"/>
  <p:txStyles>
    <p:titleStyle>
      <a:lvl1pPr algn="l" defTabSz="1218095" rtl="0" eaLnBrk="1" fontAlgn="base" hangingPunct="1">
        <a:spcBef>
          <a:spcPct val="0"/>
        </a:spcBef>
        <a:spcAft>
          <a:spcPct val="0"/>
        </a:spcAft>
        <a:tabLst>
          <a:tab pos="367156" algn="l"/>
        </a:tabLst>
        <a:defRPr sz="2041" b="0" baseline="0">
          <a:solidFill>
            <a:schemeClr val="tx1"/>
          </a:solidFill>
          <a:latin typeface="+mj-lt"/>
          <a:ea typeface="+mj-ea"/>
          <a:cs typeface="+mj-cs"/>
        </a:defRPr>
      </a:lvl1pPr>
      <a:lvl2pPr algn="l" defTabSz="1218095" rtl="0" eaLnBrk="1" fontAlgn="base" hangingPunct="1">
        <a:spcBef>
          <a:spcPct val="0"/>
        </a:spcBef>
        <a:spcAft>
          <a:spcPct val="0"/>
        </a:spcAft>
        <a:defRPr sz="2584" b="1">
          <a:solidFill>
            <a:schemeClr val="tx2"/>
          </a:solidFill>
          <a:latin typeface="Arial" charset="0"/>
        </a:defRPr>
      </a:lvl2pPr>
      <a:lvl3pPr algn="l" defTabSz="1218095" rtl="0" eaLnBrk="1" fontAlgn="base" hangingPunct="1">
        <a:spcBef>
          <a:spcPct val="0"/>
        </a:spcBef>
        <a:spcAft>
          <a:spcPct val="0"/>
        </a:spcAft>
        <a:defRPr sz="2584" b="1">
          <a:solidFill>
            <a:schemeClr val="tx2"/>
          </a:solidFill>
          <a:latin typeface="Arial" charset="0"/>
        </a:defRPr>
      </a:lvl3pPr>
      <a:lvl4pPr algn="l" defTabSz="1218095" rtl="0" eaLnBrk="1" fontAlgn="base" hangingPunct="1">
        <a:spcBef>
          <a:spcPct val="0"/>
        </a:spcBef>
        <a:spcAft>
          <a:spcPct val="0"/>
        </a:spcAft>
        <a:defRPr sz="2584" b="1">
          <a:solidFill>
            <a:schemeClr val="tx2"/>
          </a:solidFill>
          <a:latin typeface="Arial" charset="0"/>
        </a:defRPr>
      </a:lvl4pPr>
      <a:lvl5pPr algn="l" defTabSz="1218095" rtl="0" eaLnBrk="1" fontAlgn="base" hangingPunct="1">
        <a:spcBef>
          <a:spcPct val="0"/>
        </a:spcBef>
        <a:spcAft>
          <a:spcPct val="0"/>
        </a:spcAft>
        <a:defRPr sz="2584" b="1">
          <a:solidFill>
            <a:schemeClr val="tx2"/>
          </a:solidFill>
          <a:latin typeface="Arial" charset="0"/>
        </a:defRPr>
      </a:lvl5pPr>
      <a:lvl6pPr marL="622005" algn="l" defTabSz="1218095" rtl="0" eaLnBrk="1" fontAlgn="base" hangingPunct="1">
        <a:spcBef>
          <a:spcPct val="0"/>
        </a:spcBef>
        <a:spcAft>
          <a:spcPct val="0"/>
        </a:spcAft>
        <a:defRPr sz="2584" b="1">
          <a:solidFill>
            <a:schemeClr val="tx2"/>
          </a:solidFill>
          <a:latin typeface="Arial" charset="0"/>
        </a:defRPr>
      </a:lvl6pPr>
      <a:lvl7pPr marL="1244012" algn="l" defTabSz="1218095" rtl="0" eaLnBrk="1" fontAlgn="base" hangingPunct="1">
        <a:spcBef>
          <a:spcPct val="0"/>
        </a:spcBef>
        <a:spcAft>
          <a:spcPct val="0"/>
        </a:spcAft>
        <a:defRPr sz="2584" b="1">
          <a:solidFill>
            <a:schemeClr val="tx2"/>
          </a:solidFill>
          <a:latin typeface="Arial" charset="0"/>
        </a:defRPr>
      </a:lvl7pPr>
      <a:lvl8pPr marL="1866017" algn="l" defTabSz="1218095" rtl="0" eaLnBrk="1" fontAlgn="base" hangingPunct="1">
        <a:spcBef>
          <a:spcPct val="0"/>
        </a:spcBef>
        <a:spcAft>
          <a:spcPct val="0"/>
        </a:spcAft>
        <a:defRPr sz="2584" b="1">
          <a:solidFill>
            <a:schemeClr val="tx2"/>
          </a:solidFill>
          <a:latin typeface="Arial" charset="0"/>
        </a:defRPr>
      </a:lvl8pPr>
      <a:lvl9pPr marL="2488024" algn="l" defTabSz="1218095" rtl="0" eaLnBrk="1" fontAlgn="base" hangingPunct="1">
        <a:spcBef>
          <a:spcPct val="0"/>
        </a:spcBef>
        <a:spcAft>
          <a:spcPct val="0"/>
        </a:spcAft>
        <a:defRPr sz="2584" b="1">
          <a:solidFill>
            <a:schemeClr val="tx2"/>
          </a:solidFill>
          <a:latin typeface="Arial" charset="0"/>
        </a:defRPr>
      </a:lvl9pPr>
    </p:titleStyle>
    <p:bodyStyle>
      <a:lvl1pPr marL="0" indent="0" algn="l" defTabSz="913526" rtl="0" eaLnBrk="1" fontAlgn="base" latinLnBrk="0" hangingPunct="1">
        <a:spcBef>
          <a:spcPct val="0"/>
        </a:spcBef>
        <a:spcAft>
          <a:spcPct val="0"/>
        </a:spcAft>
        <a:buClr>
          <a:schemeClr val="tx2"/>
        </a:buClr>
        <a:buSzPct val="100000"/>
        <a:defRPr lang="en-US" sz="1632" baseline="0" dirty="0">
          <a:solidFill>
            <a:schemeClr val="tx1"/>
          </a:solidFill>
          <a:latin typeface="+mn-lt"/>
          <a:ea typeface="+mn-ea"/>
          <a:cs typeface="+mn-cs"/>
        </a:defRPr>
      </a:lvl1pPr>
      <a:lvl2pPr marL="198346" indent="-194673" algn="l" defTabSz="913526" rtl="0" eaLnBrk="1" fontAlgn="base" latinLnBrk="0" hangingPunct="1">
        <a:spcBef>
          <a:spcPct val="0"/>
        </a:spcBef>
        <a:spcAft>
          <a:spcPct val="0"/>
        </a:spcAft>
        <a:buClr>
          <a:schemeClr val="tx2"/>
        </a:buClr>
        <a:buSzPct val="125000"/>
        <a:buFont typeface="Arial" charset="0"/>
        <a:buChar char="▪"/>
        <a:defRPr lang="en-US" sz="1632" baseline="0" dirty="0">
          <a:solidFill>
            <a:schemeClr val="tx1"/>
          </a:solidFill>
          <a:latin typeface="+mn-lt"/>
          <a:ea typeface="+mn-ea"/>
          <a:cs typeface="+mn-cs"/>
        </a:defRPr>
      </a:lvl2pPr>
      <a:lvl3pPr marL="455462" indent="-253443" algn="l" defTabSz="913526" rtl="0" eaLnBrk="1" fontAlgn="base" latinLnBrk="0" hangingPunct="1">
        <a:spcBef>
          <a:spcPct val="0"/>
        </a:spcBef>
        <a:spcAft>
          <a:spcPct val="0"/>
        </a:spcAft>
        <a:buClr>
          <a:schemeClr val="tx2"/>
        </a:buClr>
        <a:buSzPct val="120000"/>
        <a:buFont typeface="Arial" charset="0"/>
        <a:buChar char="–"/>
        <a:defRPr lang="en-US" sz="1632" baseline="0" dirty="0">
          <a:solidFill>
            <a:schemeClr val="tx1"/>
          </a:solidFill>
          <a:latin typeface="+mn-lt"/>
          <a:ea typeface="+mn-ea"/>
          <a:cs typeface="+mn-cs"/>
        </a:defRPr>
      </a:lvl3pPr>
      <a:lvl4pPr marL="628097" indent="-157942" algn="l" defTabSz="913526" rtl="0" eaLnBrk="1" fontAlgn="base" latinLnBrk="0" hangingPunct="1">
        <a:spcBef>
          <a:spcPct val="0"/>
        </a:spcBef>
        <a:spcAft>
          <a:spcPct val="0"/>
        </a:spcAft>
        <a:buClr>
          <a:schemeClr val="tx2"/>
        </a:buClr>
        <a:buSzPct val="120000"/>
        <a:buFont typeface="Arial" charset="0"/>
        <a:buChar char="▫"/>
        <a:defRPr lang="en-US" sz="1632" baseline="0" dirty="0">
          <a:solidFill>
            <a:schemeClr val="tx1"/>
          </a:solidFill>
          <a:latin typeface="+mn-lt"/>
          <a:ea typeface="+mn-ea"/>
          <a:cs typeface="+mn-cs"/>
        </a:defRPr>
      </a:lvl4pPr>
      <a:lvl5pPr marL="764001" indent="-132231" algn="l" defTabSz="913526" rtl="0" eaLnBrk="1" fontAlgn="base" latinLnBrk="0" hangingPunct="1">
        <a:spcBef>
          <a:spcPct val="0"/>
        </a:spcBef>
        <a:spcAft>
          <a:spcPct val="0"/>
        </a:spcAft>
        <a:buClr>
          <a:schemeClr val="tx2"/>
        </a:buClr>
        <a:buSzPct val="89000"/>
        <a:buFont typeface="Arial" charset="0"/>
        <a:buChar char="-"/>
        <a:defRPr lang="en-US" sz="1632" baseline="0" dirty="0">
          <a:solidFill>
            <a:schemeClr val="tx1"/>
          </a:solidFill>
          <a:latin typeface="+mn-lt"/>
          <a:ea typeface="+mn-ea"/>
          <a:cs typeface="+mn-cs"/>
        </a:defRPr>
      </a:lvl5pPr>
      <a:lvl6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6pPr>
      <a:lvl7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7pPr>
      <a:lvl8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8pPr>
      <a:lvl9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9pPr>
    </p:bodyStyle>
    <p:otherStyle>
      <a:defPPr>
        <a:defRPr lang="en-US"/>
      </a:defPPr>
      <a:lvl1pPr marL="0" algn="l" defTabSz="1244012" rtl="0" eaLnBrk="1" latinLnBrk="0" hangingPunct="1">
        <a:defRPr sz="2449" kern="1200">
          <a:solidFill>
            <a:schemeClr val="tx1"/>
          </a:solidFill>
          <a:latin typeface="+mn-lt"/>
          <a:ea typeface="+mn-ea"/>
          <a:cs typeface="+mn-cs"/>
        </a:defRPr>
      </a:lvl1pPr>
      <a:lvl2pPr marL="622005" algn="l" defTabSz="1244012" rtl="0" eaLnBrk="1" latinLnBrk="0" hangingPunct="1">
        <a:defRPr sz="2449" kern="1200">
          <a:solidFill>
            <a:schemeClr val="tx1"/>
          </a:solidFill>
          <a:latin typeface="+mn-lt"/>
          <a:ea typeface="+mn-ea"/>
          <a:cs typeface="+mn-cs"/>
        </a:defRPr>
      </a:lvl2pPr>
      <a:lvl3pPr marL="1244012" algn="l" defTabSz="1244012" rtl="0" eaLnBrk="1" latinLnBrk="0" hangingPunct="1">
        <a:defRPr sz="2449" kern="1200">
          <a:solidFill>
            <a:schemeClr val="tx1"/>
          </a:solidFill>
          <a:latin typeface="+mn-lt"/>
          <a:ea typeface="+mn-ea"/>
          <a:cs typeface="+mn-cs"/>
        </a:defRPr>
      </a:lvl3pPr>
      <a:lvl4pPr marL="1866017" algn="l" defTabSz="1244012" rtl="0" eaLnBrk="1" latinLnBrk="0" hangingPunct="1">
        <a:defRPr sz="2449" kern="1200">
          <a:solidFill>
            <a:schemeClr val="tx1"/>
          </a:solidFill>
          <a:latin typeface="+mn-lt"/>
          <a:ea typeface="+mn-ea"/>
          <a:cs typeface="+mn-cs"/>
        </a:defRPr>
      </a:lvl4pPr>
      <a:lvl5pPr marL="2488024" algn="l" defTabSz="1244012" rtl="0" eaLnBrk="1" latinLnBrk="0" hangingPunct="1">
        <a:defRPr sz="2449" kern="1200">
          <a:solidFill>
            <a:schemeClr val="tx1"/>
          </a:solidFill>
          <a:latin typeface="+mn-lt"/>
          <a:ea typeface="+mn-ea"/>
          <a:cs typeface="+mn-cs"/>
        </a:defRPr>
      </a:lvl5pPr>
      <a:lvl6pPr marL="3110029" algn="l" defTabSz="1244012" rtl="0" eaLnBrk="1" latinLnBrk="0" hangingPunct="1">
        <a:defRPr sz="2449" kern="1200">
          <a:solidFill>
            <a:schemeClr val="tx1"/>
          </a:solidFill>
          <a:latin typeface="+mn-lt"/>
          <a:ea typeface="+mn-ea"/>
          <a:cs typeface="+mn-cs"/>
        </a:defRPr>
      </a:lvl6pPr>
      <a:lvl7pPr marL="3732036" algn="l" defTabSz="1244012" rtl="0" eaLnBrk="1" latinLnBrk="0" hangingPunct="1">
        <a:defRPr sz="2449" kern="1200">
          <a:solidFill>
            <a:schemeClr val="tx1"/>
          </a:solidFill>
          <a:latin typeface="+mn-lt"/>
          <a:ea typeface="+mn-ea"/>
          <a:cs typeface="+mn-cs"/>
        </a:defRPr>
      </a:lvl7pPr>
      <a:lvl8pPr marL="4354041" algn="l" defTabSz="1244012" rtl="0" eaLnBrk="1" latinLnBrk="0" hangingPunct="1">
        <a:defRPr sz="2449" kern="1200">
          <a:solidFill>
            <a:schemeClr val="tx1"/>
          </a:solidFill>
          <a:latin typeface="+mn-lt"/>
          <a:ea typeface="+mn-ea"/>
          <a:cs typeface="+mn-cs"/>
        </a:defRPr>
      </a:lvl8pPr>
      <a:lvl9pPr marL="4976048" algn="l" defTabSz="1244012" rtl="0" eaLnBrk="1" latinLnBrk="0" hangingPunct="1">
        <a:defRPr sz="244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
            </p:custDataLst>
            <p:extLst>
              <p:ext uri="{D42A27DB-BD31-4B8C-83A1-F6EECF244321}">
                <p14:modId xmlns:p14="http://schemas.microsoft.com/office/powerpoint/2010/main" val="3884377397"/>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23" imgW="270" imgH="270" progId="TCLayout.ActiveDocument.1">
                  <p:embed/>
                </p:oleObj>
              </mc:Choice>
              <mc:Fallback>
                <p:oleObj name="think-cell Slide" r:id="rId23" imgW="270" imgH="270" progId="TCLayout.ActiveDocument.1">
                  <p:embed/>
                  <p:pic>
                    <p:nvPicPr>
                      <p:cNvPr id="2" name="Object 1" hidden="1"/>
                      <p:cNvPicPr/>
                      <p:nvPr/>
                    </p:nvPicPr>
                    <p:blipFill>
                      <a:blip r:embed="rId24"/>
                      <a:stretch>
                        <a:fillRect/>
                      </a:stretch>
                    </p:blipFill>
                    <p:spPr>
                      <a:xfrm>
                        <a:off x="0" y="0"/>
                        <a:ext cx="215979" cy="161974"/>
                      </a:xfrm>
                      <a:prstGeom prst="rect">
                        <a:avLst/>
                      </a:prstGeom>
                    </p:spPr>
                  </p:pic>
                </p:oleObj>
              </mc:Fallback>
            </mc:AlternateContent>
          </a:graphicData>
        </a:graphic>
      </p:graphicFrame>
      <p:sp>
        <p:nvSpPr>
          <p:cNvPr id="6" name="Rectangle 5" hidden="1"/>
          <p:cNvSpPr/>
          <p:nvPr userDrawn="1">
            <p:custDataLst>
              <p:tags r:id="rId7"/>
            </p:custDataLst>
          </p:nvPr>
        </p:nvSpPr>
        <p:spPr bwMode="auto">
          <a:xfrm>
            <a:off x="0"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en-US" sz="2176" b="0" i="0" baseline="0" dirty="0">
              <a:solidFill>
                <a:schemeClr val="tx1"/>
              </a:solidFill>
              <a:latin typeface="Arial" panose="020B0604020202020204" pitchFamily="34" charset="0"/>
              <a:ea typeface="+mn-ea"/>
              <a:cs typeface="+mn-cs"/>
              <a:sym typeface="Arial" panose="020B0604020202020204" pitchFamily="34" charset="0"/>
            </a:endParaRPr>
          </a:p>
        </p:txBody>
      </p:sp>
      <p:sp>
        <p:nvSpPr>
          <p:cNvPr id="1033" name="doc id" hidden="1"/>
          <p:cNvSpPr>
            <a:spLocks noChangeArrowheads="1"/>
          </p:cNvSpPr>
          <p:nvPr/>
        </p:nvSpPr>
        <p:spPr bwMode="gray">
          <a:xfrm flipH="1">
            <a:off x="10658002" y="51835"/>
            <a:ext cx="1231563" cy="96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8095"/>
            <a:endParaRPr lang="en-US" sz="612" baseline="0" noProof="0" dirty="0">
              <a:solidFill>
                <a:schemeClr val="accent6"/>
              </a:solidFill>
              <a:latin typeface="+mn-lt"/>
              <a:ea typeface="+mn-ea"/>
            </a:endParaRPr>
          </a:p>
        </p:txBody>
      </p:sp>
      <p:sp>
        <p:nvSpPr>
          <p:cNvPr id="1034" name="Working Draft" hidden="1"/>
          <p:cNvSpPr txBox="1">
            <a:spLocks noChangeArrowheads="1"/>
          </p:cNvSpPr>
          <p:nvPr/>
        </p:nvSpPr>
        <p:spPr bwMode="gray">
          <a:xfrm rot="5400000">
            <a:off x="11106318" y="1980017"/>
            <a:ext cx="1981312"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612" baseline="0" noProof="0" dirty="0">
                <a:solidFill>
                  <a:schemeClr val="accent6"/>
                </a:solidFill>
                <a:latin typeface="+mn-lt"/>
                <a:ea typeface="+mn-ea"/>
              </a:rPr>
              <a:t>Last Modified 5/18/2021 2:55 PM Eastern Standard Time</a:t>
            </a:r>
          </a:p>
        </p:txBody>
      </p:sp>
      <p:sp>
        <p:nvSpPr>
          <p:cNvPr id="1035" name="Printed" hidden="1"/>
          <p:cNvSpPr txBox="1">
            <a:spLocks noChangeArrowheads="1"/>
          </p:cNvSpPr>
          <p:nvPr/>
        </p:nvSpPr>
        <p:spPr bwMode="gray">
          <a:xfrm rot="5400000">
            <a:off x="11970213" y="4197040"/>
            <a:ext cx="253513" cy="96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612" baseline="0" noProof="0" dirty="0">
                <a:solidFill>
                  <a:schemeClr val="accent6"/>
                </a:solidFill>
                <a:latin typeface="+mn-lt"/>
                <a:ea typeface="+mn-ea"/>
              </a:rPr>
              <a:t>Printed</a:t>
            </a:r>
          </a:p>
        </p:txBody>
      </p:sp>
      <p:sp>
        <p:nvSpPr>
          <p:cNvPr id="19" name="Title Placeholder 2"/>
          <p:cNvSpPr>
            <a:spLocks noGrp="1" noChangeArrowheads="1"/>
          </p:cNvSpPr>
          <p:nvPr>
            <p:ph type="title"/>
          </p:nvPr>
        </p:nvSpPr>
        <p:spPr bwMode="gray">
          <a:xfrm>
            <a:off x="161987" y="234865"/>
            <a:ext cx="11725484"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endParaRPr lang="en-US" noProof="0" dirty="0"/>
          </a:p>
        </p:txBody>
      </p:sp>
      <p:sp>
        <p:nvSpPr>
          <p:cNvPr id="10" name="1. On-page tracker" hidden="1"/>
          <p:cNvSpPr>
            <a:spLocks noChangeArrowheads="1"/>
          </p:cNvSpPr>
          <p:nvPr userDrawn="1"/>
        </p:nvSpPr>
        <p:spPr bwMode="gray">
          <a:xfrm>
            <a:off x="161985" y="77303"/>
            <a:ext cx="511939"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16" cap="all" baseline="0" noProof="0" dirty="0">
                <a:solidFill>
                  <a:schemeClr val="accent6"/>
                </a:solidFill>
                <a:latin typeface="+mn-lt"/>
                <a:ea typeface="+mn-ea"/>
              </a:rPr>
              <a:t>Tracker</a:t>
            </a:r>
          </a:p>
        </p:txBody>
      </p:sp>
      <p:sp>
        <p:nvSpPr>
          <p:cNvPr id="11" name="3. Unit of measure" hidden="1"/>
          <p:cNvSpPr txBox="1">
            <a:spLocks noChangeArrowheads="1"/>
          </p:cNvSpPr>
          <p:nvPr userDrawn="1"/>
        </p:nvSpPr>
        <p:spPr bwMode="gray">
          <a:xfrm>
            <a:off x="161987" y="566136"/>
            <a:ext cx="11725484" cy="256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32" baseline="0" noProof="0" dirty="0">
                <a:solidFill>
                  <a:schemeClr val="accent6"/>
                </a:solidFill>
                <a:latin typeface="+mn-lt"/>
                <a:ea typeface="+mn-ea"/>
              </a:rPr>
              <a:t>CLIENT</a:t>
            </a:r>
          </a:p>
        </p:txBody>
      </p:sp>
      <p:sp>
        <p:nvSpPr>
          <p:cNvPr id="13" name="4. Footnote" hidden="1"/>
          <p:cNvSpPr txBox="1">
            <a:spLocks noChangeArrowheads="1"/>
          </p:cNvSpPr>
          <p:nvPr/>
        </p:nvSpPr>
        <p:spPr bwMode="gray">
          <a:xfrm>
            <a:off x="161985" y="6432273"/>
            <a:ext cx="11630454"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7465" indent="-87465">
              <a:defRPr/>
            </a:pPr>
            <a:r>
              <a:rPr lang="en-US" sz="816" baseline="0" noProof="0" dirty="0">
                <a:solidFill>
                  <a:schemeClr val="accent6"/>
                </a:solidFill>
                <a:latin typeface="+mn-lt"/>
                <a:ea typeface="+mn-ea"/>
              </a:rPr>
              <a:t>1 Footnote</a:t>
            </a:r>
          </a:p>
        </p:txBody>
      </p:sp>
      <p:sp>
        <p:nvSpPr>
          <p:cNvPr id="14" name="5. Source" hidden="1"/>
          <p:cNvSpPr>
            <a:spLocks noChangeArrowheads="1"/>
          </p:cNvSpPr>
          <p:nvPr/>
        </p:nvSpPr>
        <p:spPr bwMode="gray">
          <a:xfrm>
            <a:off x="161985" y="6637982"/>
            <a:ext cx="10155320"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03735" indent="-503735" defTabSz="1218095">
              <a:tabLst/>
            </a:pPr>
            <a:r>
              <a:rPr lang="en-US" sz="816" baseline="0" noProof="0" dirty="0">
                <a:solidFill>
                  <a:schemeClr val="accent6"/>
                </a:solidFill>
                <a:latin typeface="+mn-lt"/>
                <a:ea typeface="+mn-ea"/>
              </a:rPr>
              <a:t>SOURCE: Source</a:t>
            </a:r>
          </a:p>
        </p:txBody>
      </p:sp>
      <p:grpSp>
        <p:nvGrpSpPr>
          <p:cNvPr id="15" name="ACET" hidden="1"/>
          <p:cNvGrpSpPr>
            <a:grpSpLocks/>
          </p:cNvGrpSpPr>
          <p:nvPr userDrawn="1"/>
        </p:nvGrpSpPr>
        <p:grpSpPr bwMode="gray">
          <a:xfrm>
            <a:off x="1976207" y="1270343"/>
            <a:ext cx="5801188" cy="531276"/>
            <a:chOff x="915" y="702"/>
            <a:chExt cx="2686" cy="328"/>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32" b="1" baseline="0" noProof="0" dirty="0">
                  <a:latin typeface="+mn-lt"/>
                  <a:ea typeface="+mn-ea"/>
                </a:rPr>
                <a:t>Title</a:t>
              </a:r>
            </a:p>
            <a:p>
              <a:r>
                <a:rPr lang="en-US" sz="1632" baseline="0" noProof="0" dirty="0">
                  <a:solidFill>
                    <a:schemeClr val="accent6"/>
                  </a:solidFill>
                  <a:latin typeface="+mn-lt"/>
                  <a:ea typeface="+mn-ea"/>
                </a:rPr>
                <a:t>Unit of measure</a:t>
              </a:r>
            </a:p>
          </p:txBody>
        </p:sp>
      </p:grpSp>
      <p:grpSp>
        <p:nvGrpSpPr>
          <p:cNvPr id="17" name="Sticker" hidden="1"/>
          <p:cNvGrpSpPr/>
          <p:nvPr userDrawn="1"/>
        </p:nvGrpSpPr>
        <p:grpSpPr bwMode="gray">
          <a:xfrm>
            <a:off x="11394692" y="291554"/>
            <a:ext cx="492770" cy="156360"/>
            <a:chOff x="8378576" y="285750"/>
            <a:chExt cx="362199" cy="153247"/>
          </a:xfrm>
        </p:grpSpPr>
        <p:sp>
          <p:nvSpPr>
            <p:cNvPr id="20" name="StickerRectangle"/>
            <p:cNvSpPr>
              <a:spLocks noChangeArrowheads="1"/>
            </p:cNvSpPr>
            <p:nvPr/>
          </p:nvSpPr>
          <p:spPr bwMode="gray">
            <a:xfrm>
              <a:off x="8378576" y="285750"/>
              <a:ext cx="362199" cy="15324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1218095">
                <a:buClr>
                  <a:schemeClr val="tx2"/>
                </a:buClr>
              </a:pPr>
              <a:r>
                <a:rPr lang="en-US" sz="816"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378576" y="285750"/>
              <a:ext cx="0" cy="153247"/>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378576" y="438997"/>
              <a:ext cx="362199"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23" name="LegendBoxes" hidden="1"/>
          <p:cNvGrpSpPr/>
          <p:nvPr userDrawn="1"/>
        </p:nvGrpSpPr>
        <p:grpSpPr bwMode="gray">
          <a:xfrm>
            <a:off x="11108191" y="285075"/>
            <a:ext cx="789093" cy="1021522"/>
            <a:chOff x="7835905" y="279400"/>
            <a:chExt cx="773373" cy="1001186"/>
          </a:xfrm>
        </p:grpSpPr>
        <p:sp>
          <p:nvSpPr>
            <p:cNvPr id="24" name="RectangleLegend1"/>
            <p:cNvSpPr>
              <a:spLocks noChangeArrowheads="1"/>
            </p:cNvSpPr>
            <p:nvPr/>
          </p:nvSpPr>
          <p:spPr bwMode="gray">
            <a:xfrm>
              <a:off x="7835905" y="290513"/>
              <a:ext cx="165100" cy="160338"/>
            </a:xfrm>
            <a:prstGeom prst="rect">
              <a:avLst/>
            </a:prstGeom>
            <a:solidFill>
              <a:schemeClr val="accent1"/>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25" name="RectangleLegend2"/>
            <p:cNvSpPr>
              <a:spLocks noChangeArrowheads="1"/>
            </p:cNvSpPr>
            <p:nvPr/>
          </p:nvSpPr>
          <p:spPr bwMode="gray">
            <a:xfrm>
              <a:off x="7835905" y="560388"/>
              <a:ext cx="165100" cy="160338"/>
            </a:xfrm>
            <a:prstGeom prst="rect">
              <a:avLst/>
            </a:prstGeom>
            <a:solidFill>
              <a:schemeClr val="accent2"/>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26" name="RectangleLegend3"/>
            <p:cNvSpPr>
              <a:spLocks noChangeArrowheads="1"/>
            </p:cNvSpPr>
            <p:nvPr/>
          </p:nvSpPr>
          <p:spPr bwMode="gray">
            <a:xfrm>
              <a:off x="7835905" y="831851"/>
              <a:ext cx="165100" cy="160338"/>
            </a:xfrm>
            <a:prstGeom prst="rect">
              <a:avLst/>
            </a:prstGeom>
            <a:solidFill>
              <a:schemeClr val="accent3"/>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27" name="RectangleLegend4"/>
            <p:cNvSpPr>
              <a:spLocks noChangeArrowheads="1"/>
            </p:cNvSpPr>
            <p:nvPr/>
          </p:nvSpPr>
          <p:spPr bwMode="gray">
            <a:xfrm>
              <a:off x="7835905" y="1103313"/>
              <a:ext cx="165100" cy="160338"/>
            </a:xfrm>
            <a:prstGeom prst="rect">
              <a:avLst/>
            </a:prstGeom>
            <a:solidFill>
              <a:schemeClr val="accent4"/>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28" name="Legend1"/>
            <p:cNvSpPr>
              <a:spLocks noChangeArrowheads="1"/>
            </p:cNvSpPr>
            <p:nvPr/>
          </p:nvSpPr>
          <p:spPr bwMode="gray">
            <a:xfrm>
              <a:off x="8089905" y="27940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29" name="Legend2"/>
            <p:cNvSpPr>
              <a:spLocks noChangeArrowheads="1"/>
            </p:cNvSpPr>
            <p:nvPr/>
          </p:nvSpPr>
          <p:spPr bwMode="gray">
            <a:xfrm>
              <a:off x="8089905" y="549275"/>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30" name="Legend3"/>
            <p:cNvSpPr>
              <a:spLocks noChangeArrowheads="1"/>
            </p:cNvSpPr>
            <p:nvPr/>
          </p:nvSpPr>
          <p:spPr bwMode="gray">
            <a:xfrm>
              <a:off x="8089905" y="820738"/>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31" name="Legend4"/>
            <p:cNvSpPr>
              <a:spLocks noChangeArrowheads="1"/>
            </p:cNvSpPr>
            <p:nvPr/>
          </p:nvSpPr>
          <p:spPr bwMode="gray">
            <a:xfrm>
              <a:off x="8089905" y="1092201"/>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grpSp>
      <p:grpSp>
        <p:nvGrpSpPr>
          <p:cNvPr id="32" name="LegendLines" hidden="1"/>
          <p:cNvGrpSpPr/>
          <p:nvPr userDrawn="1"/>
        </p:nvGrpSpPr>
        <p:grpSpPr bwMode="gray">
          <a:xfrm>
            <a:off x="10794126" y="285075"/>
            <a:ext cx="1103328" cy="749405"/>
            <a:chOff x="7540629" y="279400"/>
            <a:chExt cx="1081348" cy="734486"/>
          </a:xfrm>
        </p:grpSpPr>
        <p:sp>
          <p:nvSpPr>
            <p:cNvPr id="33"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837" baseline="0" dirty="0">
                <a:latin typeface="+mn-lt"/>
                <a:ea typeface="+mn-ea"/>
              </a:endParaRPr>
            </a:p>
          </p:txBody>
        </p:sp>
        <p:sp>
          <p:nvSpPr>
            <p:cNvPr id="34"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837" baseline="0" dirty="0">
                <a:latin typeface="+mn-lt"/>
                <a:ea typeface="+mn-ea"/>
              </a:endParaRPr>
            </a:p>
          </p:txBody>
        </p:sp>
        <p:sp>
          <p:nvSpPr>
            <p:cNvPr id="35"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837" baseline="0" dirty="0">
                <a:latin typeface="+mn-lt"/>
                <a:ea typeface="+mn-ea"/>
              </a:endParaRPr>
            </a:p>
          </p:txBody>
        </p:sp>
        <p:sp>
          <p:nvSpPr>
            <p:cNvPr id="36" name="Legend1"/>
            <p:cNvSpPr>
              <a:spLocks noChangeArrowheads="1"/>
            </p:cNvSpPr>
            <p:nvPr/>
          </p:nvSpPr>
          <p:spPr bwMode="gray">
            <a:xfrm>
              <a:off x="8102604" y="27940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37" name="Legend2"/>
            <p:cNvSpPr>
              <a:spLocks noChangeArrowheads="1"/>
            </p:cNvSpPr>
            <p:nvPr/>
          </p:nvSpPr>
          <p:spPr bwMode="gray">
            <a:xfrm>
              <a:off x="8102604" y="54610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38" name="Legend3"/>
            <p:cNvSpPr>
              <a:spLocks noChangeArrowheads="1"/>
            </p:cNvSpPr>
            <p:nvPr/>
          </p:nvSpPr>
          <p:spPr bwMode="gray">
            <a:xfrm>
              <a:off x="8102604" y="825501"/>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grpSp>
      <p:grpSp>
        <p:nvGrpSpPr>
          <p:cNvPr id="39" name="LegendMoons" hidden="1"/>
          <p:cNvGrpSpPr/>
          <p:nvPr userDrawn="1"/>
        </p:nvGrpSpPr>
        <p:grpSpPr bwMode="gray">
          <a:xfrm>
            <a:off x="11040160" y="255920"/>
            <a:ext cx="857123" cy="1333054"/>
            <a:chOff x="7769225" y="250825"/>
            <a:chExt cx="840048" cy="1306516"/>
          </a:xfrm>
        </p:grpSpPr>
        <p:grpSp>
          <p:nvGrpSpPr>
            <p:cNvPr id="40" name="MoonLegend1"/>
            <p:cNvGrpSpPr>
              <a:grpSpLocks noChangeAspect="1"/>
            </p:cNvGrpSpPr>
            <p:nvPr>
              <p:custDataLst>
                <p:tags r:id="rId8"/>
              </p:custDataLst>
            </p:nvPr>
          </p:nvGrpSpPr>
          <p:grpSpPr bwMode="gray">
            <a:xfrm>
              <a:off x="7769225" y="250825"/>
              <a:ext cx="209550" cy="209551"/>
              <a:chOff x="4533" y="183"/>
              <a:chExt cx="144" cy="144"/>
            </a:xfrm>
          </p:grpSpPr>
          <p:sp>
            <p:nvSpPr>
              <p:cNvPr id="58" name="Oval 38"/>
              <p:cNvSpPr>
                <a:spLocks noChangeAspect="1" noChangeArrowheads="1"/>
              </p:cNvSpPr>
              <p:nvPr>
                <p:custDataLst>
                  <p:tags r:id="rId21"/>
                </p:custDataLst>
              </p:nvPr>
            </p:nvSpPr>
            <p:spPr bwMode="gray">
              <a:xfrm>
                <a:off x="4533" y="183"/>
                <a:ext cx="144" cy="144"/>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59" name="Arc 39"/>
              <p:cNvSpPr>
                <a:spLocks noChangeAspect="1"/>
              </p:cNvSpPr>
              <p:nvPr>
                <p:custDataLst>
                  <p:tags r:id="rId22"/>
                </p:custDataLst>
              </p:nvPr>
            </p:nvSpPr>
            <p:spPr bwMode="gray">
              <a:xfrm>
                <a:off x="4533" y="183"/>
                <a:ext cx="144" cy="144"/>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grpSp>
        <p:grpSp>
          <p:nvGrpSpPr>
            <p:cNvPr id="41" name="MoonLegend2"/>
            <p:cNvGrpSpPr>
              <a:grpSpLocks noChangeAspect="1"/>
            </p:cNvGrpSpPr>
            <p:nvPr>
              <p:custDataLst>
                <p:tags r:id="rId9"/>
              </p:custDataLst>
            </p:nvPr>
          </p:nvGrpSpPr>
          <p:grpSpPr bwMode="gray">
            <a:xfrm>
              <a:off x="7769225" y="525066"/>
              <a:ext cx="209550" cy="209551"/>
              <a:chOff x="1694" y="2044"/>
              <a:chExt cx="160" cy="160"/>
            </a:xfrm>
          </p:grpSpPr>
          <p:sp>
            <p:nvSpPr>
              <p:cNvPr id="56" name="Oval 41"/>
              <p:cNvSpPr>
                <a:spLocks noChangeAspect="1" noChangeArrowheads="1"/>
              </p:cNvSpPr>
              <p:nvPr>
                <p:custDataLst>
                  <p:tags r:id="rId19"/>
                </p:custDataLst>
              </p:nvPr>
            </p:nvSpPr>
            <p:spPr bwMode="gray">
              <a:xfrm>
                <a:off x="1694" y="2044"/>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57" name="Arc 42"/>
              <p:cNvSpPr>
                <a:spLocks noChangeAspect="1"/>
              </p:cNvSpPr>
              <p:nvPr>
                <p:custDataLst>
                  <p:tags r:id="rId20"/>
                </p:custDataLst>
              </p:nvPr>
            </p:nvSpPr>
            <p:spPr bwMode="gray">
              <a:xfrm>
                <a:off x="1694" y="2044"/>
                <a:ext cx="160" cy="160"/>
              </a:xfrm>
              <a:prstGeom prst="arc">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grpSp>
        <p:grpSp>
          <p:nvGrpSpPr>
            <p:cNvPr id="42" name="MoonLegend4"/>
            <p:cNvGrpSpPr>
              <a:grpSpLocks noChangeAspect="1"/>
            </p:cNvGrpSpPr>
            <p:nvPr>
              <p:custDataLst>
                <p:tags r:id="rId10"/>
              </p:custDataLst>
            </p:nvPr>
          </p:nvGrpSpPr>
          <p:grpSpPr bwMode="gray">
            <a:xfrm>
              <a:off x="7769225" y="1073548"/>
              <a:ext cx="209550" cy="209551"/>
              <a:chOff x="4495" y="1198"/>
              <a:chExt cx="160" cy="160"/>
            </a:xfrm>
          </p:grpSpPr>
          <p:sp>
            <p:nvSpPr>
              <p:cNvPr id="54" name="Oval 47"/>
              <p:cNvSpPr>
                <a:spLocks noChangeAspect="1" noChangeArrowheads="1"/>
              </p:cNvSpPr>
              <p:nvPr>
                <p:custDataLst>
                  <p:tags r:id="rId17"/>
                </p:custDataLst>
              </p:nvPr>
            </p:nvSpPr>
            <p:spPr bwMode="gray">
              <a:xfrm>
                <a:off x="4495" y="1198"/>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55" name="Arc 48"/>
              <p:cNvSpPr>
                <a:spLocks noChangeAspect="1"/>
              </p:cNvSpPr>
              <p:nvPr>
                <p:custDataLst>
                  <p:tags r:id="rId18"/>
                </p:custDataLst>
              </p:nvPr>
            </p:nvSpPr>
            <p:spPr bwMode="gray">
              <a:xfrm>
                <a:off x="4495" y="1198"/>
                <a:ext cx="160" cy="160"/>
              </a:xfrm>
              <a:prstGeom prst="arc">
                <a:avLst>
                  <a:gd name="adj1" fmla="val 16200000"/>
                  <a:gd name="adj2" fmla="val 108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grpSp>
        <p:grpSp>
          <p:nvGrpSpPr>
            <p:cNvPr id="43" name="MoonLegend5"/>
            <p:cNvGrpSpPr>
              <a:grpSpLocks noChangeAspect="1"/>
            </p:cNvGrpSpPr>
            <p:nvPr>
              <p:custDataLst>
                <p:tags r:id="rId11"/>
              </p:custDataLst>
            </p:nvPr>
          </p:nvGrpSpPr>
          <p:grpSpPr bwMode="gray">
            <a:xfrm>
              <a:off x="7769225" y="1347790"/>
              <a:ext cx="209550" cy="209551"/>
              <a:chOff x="4495" y="1440"/>
              <a:chExt cx="160" cy="160"/>
            </a:xfrm>
          </p:grpSpPr>
          <p:sp>
            <p:nvSpPr>
              <p:cNvPr id="52" name="Oval 50"/>
              <p:cNvSpPr>
                <a:spLocks noChangeAspect="1" noChangeArrowheads="1"/>
              </p:cNvSpPr>
              <p:nvPr>
                <p:custDataLst>
                  <p:tags r:id="rId15"/>
                </p:custDataLst>
              </p:nvPr>
            </p:nvSpPr>
            <p:spPr bwMode="gray">
              <a:xfrm>
                <a:off x="4495" y="1440"/>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53" name="Oval 51"/>
              <p:cNvSpPr>
                <a:spLocks noChangeAspect="1" noChangeArrowheads="1"/>
              </p:cNvSpPr>
              <p:nvPr>
                <p:custDataLst>
                  <p:tags r:id="rId16"/>
                </p:custDataLst>
              </p:nvPr>
            </p:nvSpPr>
            <p:spPr bwMode="gray">
              <a:xfrm>
                <a:off x="4495" y="1440"/>
                <a:ext cx="160" cy="160"/>
              </a:xfrm>
              <a:prstGeom prst="arc">
                <a:avLst>
                  <a:gd name="adj1" fmla="val 16200000"/>
                  <a:gd name="adj2" fmla="val 162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grpSp>
        <p:grpSp>
          <p:nvGrpSpPr>
            <p:cNvPr id="44" name="MoonLegend3"/>
            <p:cNvGrpSpPr>
              <a:grpSpLocks noChangeAspect="1"/>
            </p:cNvGrpSpPr>
            <p:nvPr>
              <p:custDataLst>
                <p:tags r:id="rId12"/>
              </p:custDataLst>
            </p:nvPr>
          </p:nvGrpSpPr>
          <p:grpSpPr bwMode="gray">
            <a:xfrm>
              <a:off x="7769225" y="799307"/>
              <a:ext cx="209550" cy="209551"/>
              <a:chOff x="4495" y="1198"/>
              <a:chExt cx="160" cy="160"/>
            </a:xfrm>
          </p:grpSpPr>
          <p:sp>
            <p:nvSpPr>
              <p:cNvPr id="50" name="Oval 47"/>
              <p:cNvSpPr>
                <a:spLocks noChangeAspect="1" noChangeArrowheads="1"/>
              </p:cNvSpPr>
              <p:nvPr>
                <p:custDataLst>
                  <p:tags r:id="rId13"/>
                </p:custDataLst>
              </p:nvPr>
            </p:nvSpPr>
            <p:spPr bwMode="gray">
              <a:xfrm>
                <a:off x="4495" y="1198"/>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51" name="Arc 48"/>
              <p:cNvSpPr>
                <a:spLocks noChangeAspect="1"/>
              </p:cNvSpPr>
              <p:nvPr>
                <p:custDataLst>
                  <p:tags r:id="rId14"/>
                </p:custDataLst>
              </p:nvPr>
            </p:nvSpPr>
            <p:spPr bwMode="gray">
              <a:xfrm>
                <a:off x="4495" y="1198"/>
                <a:ext cx="160" cy="160"/>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grpSp>
        <p:sp>
          <p:nvSpPr>
            <p:cNvPr id="45" name="Legend1"/>
            <p:cNvSpPr>
              <a:spLocks noChangeArrowheads="1"/>
            </p:cNvSpPr>
            <p:nvPr/>
          </p:nvSpPr>
          <p:spPr bwMode="gray">
            <a:xfrm>
              <a:off x="8089900" y="263525"/>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46" name="Legend2"/>
            <p:cNvSpPr>
              <a:spLocks noChangeArrowheads="1"/>
            </p:cNvSpPr>
            <p:nvPr/>
          </p:nvSpPr>
          <p:spPr bwMode="gray">
            <a:xfrm>
              <a:off x="8089900" y="538163"/>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47" name="Legend3"/>
            <p:cNvSpPr>
              <a:spLocks noChangeArrowheads="1"/>
            </p:cNvSpPr>
            <p:nvPr/>
          </p:nvSpPr>
          <p:spPr bwMode="gray">
            <a:xfrm>
              <a:off x="8089900" y="812802"/>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48" name="Legend4"/>
            <p:cNvSpPr>
              <a:spLocks noChangeArrowheads="1"/>
            </p:cNvSpPr>
            <p:nvPr/>
          </p:nvSpPr>
          <p:spPr bwMode="gray">
            <a:xfrm>
              <a:off x="8089900" y="1084265"/>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49" name="Legend5"/>
            <p:cNvSpPr>
              <a:spLocks noChangeArrowheads="1"/>
            </p:cNvSpPr>
            <p:nvPr/>
          </p:nvSpPr>
          <p:spPr bwMode="gray">
            <a:xfrm>
              <a:off x="8089900" y="1360490"/>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grpSp>
      <p:sp>
        <p:nvSpPr>
          <p:cNvPr id="60" name="SlideBottomBar" hidden="1"/>
          <p:cNvSpPr/>
          <p:nvPr userDrawn="1"/>
        </p:nvSpPr>
        <p:spPr>
          <a:xfrm>
            <a:off x="12003218" y="6639739"/>
            <a:ext cx="46648" cy="126340"/>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7" baseline="0" dirty="0">
              <a:solidFill>
                <a:schemeClr val="tx1"/>
              </a:solidFill>
              <a:latin typeface="+mn-lt"/>
              <a:ea typeface="+mn-ea"/>
            </a:endParaRPr>
          </a:p>
        </p:txBody>
      </p:sp>
      <p:sp>
        <p:nvSpPr>
          <p:cNvPr id="61" name="Text Placeholder 2"/>
          <p:cNvSpPr>
            <a:spLocks noGrp="1"/>
          </p:cNvSpPr>
          <p:nvPr userDrawn="1">
            <p:ph type="body" idx="1"/>
          </p:nvPr>
        </p:nvSpPr>
        <p:spPr bwMode="gray">
          <a:xfrm>
            <a:off x="1482091" y="1991016"/>
            <a:ext cx="4389573" cy="1346156"/>
          </a:xfrm>
          <a:prstGeom prst="rect">
            <a:avLst/>
          </a:prstGeom>
        </p:spPr>
        <p:txBody>
          <a:bodyPr vert="horz" lIns="0" tIns="0" rIns="0" bIns="0" rtlCol="0">
            <a:noAutofit/>
          </a:bodyPr>
          <a:lstStyle/>
          <a:p>
            <a:pPr lvl="0" latinLnBrk="0"/>
            <a:r>
              <a:rPr lang="en-US"/>
              <a:t>Click to 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pic>
        <p:nvPicPr>
          <p:cNvPr id="62" name="Picture 61">
            <a:extLst>
              <a:ext uri="{FF2B5EF4-FFF2-40B4-BE49-F238E27FC236}">
                <a16:creationId xmlns:a16="http://schemas.microsoft.com/office/drawing/2014/main" id="{8430C7BC-FF24-4D58-9BE4-A0CFB65EE038}"/>
              </a:ext>
            </a:extLst>
          </p:cNvPr>
          <p:cNvPicPr>
            <a:picLocks noChangeAspect="1"/>
          </p:cNvPicPr>
          <p:nvPr userDrawn="1"/>
        </p:nvPicPr>
        <p:blipFill>
          <a:blip r:embed="rId25" cstate="hqprint">
            <a:extLst>
              <a:ext uri="{28A0092B-C50C-407E-A947-70E740481C1C}">
                <a14:useLocalDpi xmlns:a14="http://schemas.microsoft.com/office/drawing/2010/main" val="0"/>
              </a:ext>
            </a:extLst>
          </a:blip>
          <a:stretch>
            <a:fillRect/>
          </a:stretch>
        </p:blipFill>
        <p:spPr>
          <a:xfrm>
            <a:off x="10435936" y="0"/>
            <a:ext cx="1756064" cy="445494"/>
          </a:xfrm>
          <a:prstGeom prst="rect">
            <a:avLst/>
          </a:prstGeom>
        </p:spPr>
      </p:pic>
    </p:spTree>
    <p:extLst>
      <p:ext uri="{BB962C8B-B14F-4D97-AF65-F5344CB8AC3E}">
        <p14:creationId xmlns:p14="http://schemas.microsoft.com/office/powerpoint/2010/main" val="1879119974"/>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3" r:id="rId3"/>
    <p:sldLayoutId id="2147483674" r:id="rId4"/>
  </p:sldLayoutIdLst>
  <p:hf hdr="0" ftr="0" dt="0"/>
  <p:txStyles>
    <p:titleStyle>
      <a:lvl1pPr algn="l" defTabSz="1218095" rtl="0" eaLnBrk="1" fontAlgn="base" hangingPunct="1">
        <a:spcBef>
          <a:spcPct val="0"/>
        </a:spcBef>
        <a:spcAft>
          <a:spcPct val="0"/>
        </a:spcAft>
        <a:tabLst>
          <a:tab pos="367156" algn="l"/>
        </a:tabLst>
        <a:defRPr sz="2041" b="0" baseline="0">
          <a:solidFill>
            <a:schemeClr val="tx1"/>
          </a:solidFill>
          <a:latin typeface="+mj-lt"/>
          <a:ea typeface="+mj-ea"/>
          <a:cs typeface="+mj-cs"/>
        </a:defRPr>
      </a:lvl1pPr>
      <a:lvl2pPr algn="l" defTabSz="1218095" rtl="0" eaLnBrk="1" fontAlgn="base" hangingPunct="1">
        <a:spcBef>
          <a:spcPct val="0"/>
        </a:spcBef>
        <a:spcAft>
          <a:spcPct val="0"/>
        </a:spcAft>
        <a:defRPr sz="2584" b="1">
          <a:solidFill>
            <a:schemeClr val="tx2"/>
          </a:solidFill>
          <a:latin typeface="Arial" charset="0"/>
        </a:defRPr>
      </a:lvl2pPr>
      <a:lvl3pPr algn="l" defTabSz="1218095" rtl="0" eaLnBrk="1" fontAlgn="base" hangingPunct="1">
        <a:spcBef>
          <a:spcPct val="0"/>
        </a:spcBef>
        <a:spcAft>
          <a:spcPct val="0"/>
        </a:spcAft>
        <a:defRPr sz="2584" b="1">
          <a:solidFill>
            <a:schemeClr val="tx2"/>
          </a:solidFill>
          <a:latin typeface="Arial" charset="0"/>
        </a:defRPr>
      </a:lvl3pPr>
      <a:lvl4pPr algn="l" defTabSz="1218095" rtl="0" eaLnBrk="1" fontAlgn="base" hangingPunct="1">
        <a:spcBef>
          <a:spcPct val="0"/>
        </a:spcBef>
        <a:spcAft>
          <a:spcPct val="0"/>
        </a:spcAft>
        <a:defRPr sz="2584" b="1">
          <a:solidFill>
            <a:schemeClr val="tx2"/>
          </a:solidFill>
          <a:latin typeface="Arial" charset="0"/>
        </a:defRPr>
      </a:lvl4pPr>
      <a:lvl5pPr algn="l" defTabSz="1218095" rtl="0" eaLnBrk="1" fontAlgn="base" hangingPunct="1">
        <a:spcBef>
          <a:spcPct val="0"/>
        </a:spcBef>
        <a:spcAft>
          <a:spcPct val="0"/>
        </a:spcAft>
        <a:defRPr sz="2584" b="1">
          <a:solidFill>
            <a:schemeClr val="tx2"/>
          </a:solidFill>
          <a:latin typeface="Arial" charset="0"/>
        </a:defRPr>
      </a:lvl5pPr>
      <a:lvl6pPr marL="622005" algn="l" defTabSz="1218095" rtl="0" eaLnBrk="1" fontAlgn="base" hangingPunct="1">
        <a:spcBef>
          <a:spcPct val="0"/>
        </a:spcBef>
        <a:spcAft>
          <a:spcPct val="0"/>
        </a:spcAft>
        <a:defRPr sz="2584" b="1">
          <a:solidFill>
            <a:schemeClr val="tx2"/>
          </a:solidFill>
          <a:latin typeface="Arial" charset="0"/>
        </a:defRPr>
      </a:lvl6pPr>
      <a:lvl7pPr marL="1244012" algn="l" defTabSz="1218095" rtl="0" eaLnBrk="1" fontAlgn="base" hangingPunct="1">
        <a:spcBef>
          <a:spcPct val="0"/>
        </a:spcBef>
        <a:spcAft>
          <a:spcPct val="0"/>
        </a:spcAft>
        <a:defRPr sz="2584" b="1">
          <a:solidFill>
            <a:schemeClr val="tx2"/>
          </a:solidFill>
          <a:latin typeface="Arial" charset="0"/>
        </a:defRPr>
      </a:lvl7pPr>
      <a:lvl8pPr marL="1866017" algn="l" defTabSz="1218095" rtl="0" eaLnBrk="1" fontAlgn="base" hangingPunct="1">
        <a:spcBef>
          <a:spcPct val="0"/>
        </a:spcBef>
        <a:spcAft>
          <a:spcPct val="0"/>
        </a:spcAft>
        <a:defRPr sz="2584" b="1">
          <a:solidFill>
            <a:schemeClr val="tx2"/>
          </a:solidFill>
          <a:latin typeface="Arial" charset="0"/>
        </a:defRPr>
      </a:lvl8pPr>
      <a:lvl9pPr marL="2488024" algn="l" defTabSz="1218095" rtl="0" eaLnBrk="1" fontAlgn="base" hangingPunct="1">
        <a:spcBef>
          <a:spcPct val="0"/>
        </a:spcBef>
        <a:spcAft>
          <a:spcPct val="0"/>
        </a:spcAft>
        <a:defRPr sz="2584" b="1">
          <a:solidFill>
            <a:schemeClr val="tx2"/>
          </a:solidFill>
          <a:latin typeface="Arial" charset="0"/>
        </a:defRPr>
      </a:lvl9pPr>
    </p:titleStyle>
    <p:bodyStyle>
      <a:lvl1pPr marL="0" indent="0" algn="l" defTabSz="913526" rtl="0" eaLnBrk="1" fontAlgn="base" latinLnBrk="0" hangingPunct="1">
        <a:spcBef>
          <a:spcPct val="0"/>
        </a:spcBef>
        <a:spcAft>
          <a:spcPct val="0"/>
        </a:spcAft>
        <a:buClr>
          <a:schemeClr val="tx2"/>
        </a:buClr>
        <a:buSzPct val="100000"/>
        <a:defRPr lang="en-US" sz="1632" baseline="0" dirty="0">
          <a:solidFill>
            <a:schemeClr val="tx1"/>
          </a:solidFill>
          <a:latin typeface="+mn-lt"/>
          <a:ea typeface="+mn-ea"/>
          <a:cs typeface="+mn-cs"/>
        </a:defRPr>
      </a:lvl1pPr>
      <a:lvl2pPr marL="198346" indent="-194673" algn="l" defTabSz="913526" rtl="0" eaLnBrk="1" fontAlgn="base" latinLnBrk="0" hangingPunct="1">
        <a:spcBef>
          <a:spcPct val="0"/>
        </a:spcBef>
        <a:spcAft>
          <a:spcPct val="0"/>
        </a:spcAft>
        <a:buClr>
          <a:schemeClr val="tx2"/>
        </a:buClr>
        <a:buSzPct val="125000"/>
        <a:buFont typeface="Arial" charset="0"/>
        <a:buChar char="▪"/>
        <a:defRPr lang="en-US" sz="1632" baseline="0" dirty="0">
          <a:solidFill>
            <a:schemeClr val="tx1"/>
          </a:solidFill>
          <a:latin typeface="+mn-lt"/>
          <a:ea typeface="+mn-ea"/>
          <a:cs typeface="+mn-cs"/>
        </a:defRPr>
      </a:lvl2pPr>
      <a:lvl3pPr marL="455462" indent="-253443" algn="l" defTabSz="913526" rtl="0" eaLnBrk="1" fontAlgn="base" latinLnBrk="0" hangingPunct="1">
        <a:spcBef>
          <a:spcPct val="0"/>
        </a:spcBef>
        <a:spcAft>
          <a:spcPct val="0"/>
        </a:spcAft>
        <a:buClr>
          <a:schemeClr val="tx2"/>
        </a:buClr>
        <a:buSzPct val="120000"/>
        <a:buFont typeface="Arial" charset="0"/>
        <a:buChar char="–"/>
        <a:defRPr lang="en-US" sz="1632" baseline="0" dirty="0">
          <a:solidFill>
            <a:schemeClr val="tx1"/>
          </a:solidFill>
          <a:latin typeface="+mn-lt"/>
          <a:ea typeface="+mn-ea"/>
          <a:cs typeface="+mn-cs"/>
        </a:defRPr>
      </a:lvl3pPr>
      <a:lvl4pPr marL="628097" indent="-157942" algn="l" defTabSz="913526" rtl="0" eaLnBrk="1" fontAlgn="base" latinLnBrk="0" hangingPunct="1">
        <a:spcBef>
          <a:spcPct val="0"/>
        </a:spcBef>
        <a:spcAft>
          <a:spcPct val="0"/>
        </a:spcAft>
        <a:buClr>
          <a:schemeClr val="tx2"/>
        </a:buClr>
        <a:buSzPct val="120000"/>
        <a:buFont typeface="Arial" charset="0"/>
        <a:buChar char="▫"/>
        <a:defRPr lang="en-US" sz="1632" baseline="0" dirty="0">
          <a:solidFill>
            <a:schemeClr val="tx1"/>
          </a:solidFill>
          <a:latin typeface="+mn-lt"/>
          <a:ea typeface="+mn-ea"/>
          <a:cs typeface="+mn-cs"/>
        </a:defRPr>
      </a:lvl4pPr>
      <a:lvl5pPr marL="764001" indent="-132231" algn="l" defTabSz="913526" rtl="0" eaLnBrk="1" fontAlgn="base" latinLnBrk="0" hangingPunct="1">
        <a:spcBef>
          <a:spcPct val="0"/>
        </a:spcBef>
        <a:spcAft>
          <a:spcPct val="0"/>
        </a:spcAft>
        <a:buClr>
          <a:schemeClr val="tx2"/>
        </a:buClr>
        <a:buSzPct val="89000"/>
        <a:buFont typeface="Arial" charset="0"/>
        <a:buChar char="-"/>
        <a:defRPr lang="en-US" sz="1632" baseline="0" dirty="0">
          <a:solidFill>
            <a:schemeClr val="tx1"/>
          </a:solidFill>
          <a:latin typeface="+mn-lt"/>
          <a:ea typeface="+mn-ea"/>
          <a:cs typeface="+mn-cs"/>
        </a:defRPr>
      </a:lvl5pPr>
      <a:lvl6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6pPr>
      <a:lvl7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7pPr>
      <a:lvl8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8pPr>
      <a:lvl9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9pPr>
    </p:bodyStyle>
    <p:otherStyle>
      <a:defPPr>
        <a:defRPr lang="en-US"/>
      </a:defPPr>
      <a:lvl1pPr marL="0" algn="l" defTabSz="1244012" rtl="0" eaLnBrk="1" latinLnBrk="0" hangingPunct="1">
        <a:defRPr sz="2449" kern="1200">
          <a:solidFill>
            <a:schemeClr val="tx1"/>
          </a:solidFill>
          <a:latin typeface="+mn-lt"/>
          <a:ea typeface="+mn-ea"/>
          <a:cs typeface="+mn-cs"/>
        </a:defRPr>
      </a:lvl1pPr>
      <a:lvl2pPr marL="622005" algn="l" defTabSz="1244012" rtl="0" eaLnBrk="1" latinLnBrk="0" hangingPunct="1">
        <a:defRPr sz="2449" kern="1200">
          <a:solidFill>
            <a:schemeClr val="tx1"/>
          </a:solidFill>
          <a:latin typeface="+mn-lt"/>
          <a:ea typeface="+mn-ea"/>
          <a:cs typeface="+mn-cs"/>
        </a:defRPr>
      </a:lvl2pPr>
      <a:lvl3pPr marL="1244012" algn="l" defTabSz="1244012" rtl="0" eaLnBrk="1" latinLnBrk="0" hangingPunct="1">
        <a:defRPr sz="2449" kern="1200">
          <a:solidFill>
            <a:schemeClr val="tx1"/>
          </a:solidFill>
          <a:latin typeface="+mn-lt"/>
          <a:ea typeface="+mn-ea"/>
          <a:cs typeface="+mn-cs"/>
        </a:defRPr>
      </a:lvl3pPr>
      <a:lvl4pPr marL="1866017" algn="l" defTabSz="1244012" rtl="0" eaLnBrk="1" latinLnBrk="0" hangingPunct="1">
        <a:defRPr sz="2449" kern="1200">
          <a:solidFill>
            <a:schemeClr val="tx1"/>
          </a:solidFill>
          <a:latin typeface="+mn-lt"/>
          <a:ea typeface="+mn-ea"/>
          <a:cs typeface="+mn-cs"/>
        </a:defRPr>
      </a:lvl4pPr>
      <a:lvl5pPr marL="2488024" algn="l" defTabSz="1244012" rtl="0" eaLnBrk="1" latinLnBrk="0" hangingPunct="1">
        <a:defRPr sz="2449" kern="1200">
          <a:solidFill>
            <a:schemeClr val="tx1"/>
          </a:solidFill>
          <a:latin typeface="+mn-lt"/>
          <a:ea typeface="+mn-ea"/>
          <a:cs typeface="+mn-cs"/>
        </a:defRPr>
      </a:lvl5pPr>
      <a:lvl6pPr marL="3110029" algn="l" defTabSz="1244012" rtl="0" eaLnBrk="1" latinLnBrk="0" hangingPunct="1">
        <a:defRPr sz="2449" kern="1200">
          <a:solidFill>
            <a:schemeClr val="tx1"/>
          </a:solidFill>
          <a:latin typeface="+mn-lt"/>
          <a:ea typeface="+mn-ea"/>
          <a:cs typeface="+mn-cs"/>
        </a:defRPr>
      </a:lvl6pPr>
      <a:lvl7pPr marL="3732036" algn="l" defTabSz="1244012" rtl="0" eaLnBrk="1" latinLnBrk="0" hangingPunct="1">
        <a:defRPr sz="2449" kern="1200">
          <a:solidFill>
            <a:schemeClr val="tx1"/>
          </a:solidFill>
          <a:latin typeface="+mn-lt"/>
          <a:ea typeface="+mn-ea"/>
          <a:cs typeface="+mn-cs"/>
        </a:defRPr>
      </a:lvl7pPr>
      <a:lvl8pPr marL="4354041" algn="l" defTabSz="1244012" rtl="0" eaLnBrk="1" latinLnBrk="0" hangingPunct="1">
        <a:defRPr sz="2449" kern="1200">
          <a:solidFill>
            <a:schemeClr val="tx1"/>
          </a:solidFill>
          <a:latin typeface="+mn-lt"/>
          <a:ea typeface="+mn-ea"/>
          <a:cs typeface="+mn-cs"/>
        </a:defRPr>
      </a:lvl8pPr>
      <a:lvl9pPr marL="4976048" algn="l" defTabSz="1244012" rtl="0" eaLnBrk="1" latinLnBrk="0" hangingPunct="1">
        <a:defRPr sz="244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2441264147"/>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20" imgW="270" imgH="270" progId="TCLayout.ActiveDocument.1">
                  <p:embed/>
                </p:oleObj>
              </mc:Choice>
              <mc:Fallback>
                <p:oleObj name="think-cell Slide" r:id="rId20" imgW="270" imgH="270" progId="TCLayout.ActiveDocument.1">
                  <p:embed/>
                  <p:pic>
                    <p:nvPicPr>
                      <p:cNvPr id="2" name="Object 1" hidden="1"/>
                      <p:cNvPicPr/>
                      <p:nvPr/>
                    </p:nvPicPr>
                    <p:blipFill>
                      <a:blip r:embed="rId21"/>
                      <a:stretch>
                        <a:fillRect/>
                      </a:stretch>
                    </p:blipFill>
                    <p:spPr>
                      <a:xfrm>
                        <a:off x="0" y="0"/>
                        <a:ext cx="215979" cy="161974"/>
                      </a:xfrm>
                      <a:prstGeom prst="rect">
                        <a:avLst/>
                      </a:prstGeom>
                    </p:spPr>
                  </p:pic>
                </p:oleObj>
              </mc:Fallback>
            </mc:AlternateContent>
          </a:graphicData>
        </a:graphic>
      </p:graphicFrame>
      <p:sp>
        <p:nvSpPr>
          <p:cNvPr id="6" name="Rectangle 5" hidden="1"/>
          <p:cNvSpPr/>
          <p:nvPr userDrawn="1">
            <p:custDataLst>
              <p:tags r:id="rId4"/>
            </p:custDataLst>
          </p:nvPr>
        </p:nvSpPr>
        <p:spPr bwMode="auto">
          <a:xfrm>
            <a:off x="0"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en-US" sz="2176" b="0" i="0" baseline="0" dirty="0">
              <a:solidFill>
                <a:schemeClr val="tx1"/>
              </a:solidFill>
              <a:latin typeface="Arial" panose="020B0604020202020204" pitchFamily="34" charset="0"/>
              <a:ea typeface="+mn-ea"/>
              <a:cs typeface="+mn-cs"/>
              <a:sym typeface="Arial" panose="020B0604020202020204" pitchFamily="34" charset="0"/>
            </a:endParaRPr>
          </a:p>
        </p:txBody>
      </p:sp>
      <p:sp>
        <p:nvSpPr>
          <p:cNvPr id="1033" name="doc id" hidden="1"/>
          <p:cNvSpPr>
            <a:spLocks noChangeArrowheads="1"/>
          </p:cNvSpPr>
          <p:nvPr/>
        </p:nvSpPr>
        <p:spPr bwMode="gray">
          <a:xfrm flipH="1">
            <a:off x="10658002" y="51835"/>
            <a:ext cx="1231563" cy="96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8095"/>
            <a:endParaRPr lang="en-US" sz="612" baseline="0" noProof="0" dirty="0">
              <a:solidFill>
                <a:schemeClr val="accent6"/>
              </a:solidFill>
              <a:latin typeface="+mn-lt"/>
              <a:ea typeface="+mn-ea"/>
            </a:endParaRPr>
          </a:p>
        </p:txBody>
      </p:sp>
      <p:sp>
        <p:nvSpPr>
          <p:cNvPr id="1034" name="Working Draft" hidden="1"/>
          <p:cNvSpPr txBox="1">
            <a:spLocks noChangeArrowheads="1"/>
          </p:cNvSpPr>
          <p:nvPr/>
        </p:nvSpPr>
        <p:spPr bwMode="gray">
          <a:xfrm rot="5400000">
            <a:off x="11064116" y="1979060"/>
            <a:ext cx="2065716" cy="96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612" baseline="0" noProof="0" dirty="0">
                <a:solidFill>
                  <a:schemeClr val="accent6"/>
                </a:solidFill>
                <a:latin typeface="+mn-lt"/>
                <a:ea typeface="+mn-ea"/>
              </a:rPr>
              <a:t>Last Modified 6/14/2021 10:31 AM Eastern Standard Time</a:t>
            </a:r>
          </a:p>
        </p:txBody>
      </p:sp>
      <p:sp>
        <p:nvSpPr>
          <p:cNvPr id="1035" name="Printed" hidden="1"/>
          <p:cNvSpPr txBox="1">
            <a:spLocks noChangeArrowheads="1"/>
          </p:cNvSpPr>
          <p:nvPr/>
        </p:nvSpPr>
        <p:spPr bwMode="gray">
          <a:xfrm rot="5400000">
            <a:off x="11175331" y="4197040"/>
            <a:ext cx="1843280" cy="96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612" baseline="0" noProof="0" dirty="0">
                <a:solidFill>
                  <a:schemeClr val="accent6"/>
                </a:solidFill>
                <a:latin typeface="+mn-lt"/>
                <a:ea typeface="+mn-ea"/>
              </a:rPr>
              <a:t>Printed 12/16/2020 8:01 AM Eastern Standard Time</a:t>
            </a:r>
          </a:p>
        </p:txBody>
      </p:sp>
      <p:sp>
        <p:nvSpPr>
          <p:cNvPr id="19" name="Title Placeholder 2"/>
          <p:cNvSpPr>
            <a:spLocks noGrp="1" noChangeArrowheads="1"/>
          </p:cNvSpPr>
          <p:nvPr>
            <p:ph type="title"/>
          </p:nvPr>
        </p:nvSpPr>
        <p:spPr bwMode="gray">
          <a:xfrm>
            <a:off x="161987" y="234865"/>
            <a:ext cx="11725484"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endParaRPr lang="en-US" noProof="0" dirty="0"/>
          </a:p>
        </p:txBody>
      </p:sp>
      <p:sp>
        <p:nvSpPr>
          <p:cNvPr id="10" name="1. On-page tracker" hidden="1"/>
          <p:cNvSpPr>
            <a:spLocks noChangeArrowheads="1"/>
          </p:cNvSpPr>
          <p:nvPr userDrawn="1"/>
        </p:nvSpPr>
        <p:spPr bwMode="gray">
          <a:xfrm>
            <a:off x="161985" y="77303"/>
            <a:ext cx="511939"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16" cap="all" baseline="0" noProof="0" dirty="0">
                <a:solidFill>
                  <a:schemeClr val="accent6"/>
                </a:solidFill>
                <a:latin typeface="+mn-lt"/>
                <a:ea typeface="+mn-ea"/>
              </a:rPr>
              <a:t>Tracker</a:t>
            </a:r>
          </a:p>
        </p:txBody>
      </p:sp>
      <p:sp>
        <p:nvSpPr>
          <p:cNvPr id="11" name="3. Unit of measure" hidden="1"/>
          <p:cNvSpPr txBox="1">
            <a:spLocks noChangeArrowheads="1"/>
          </p:cNvSpPr>
          <p:nvPr userDrawn="1"/>
        </p:nvSpPr>
        <p:spPr bwMode="gray">
          <a:xfrm>
            <a:off x="161987" y="566136"/>
            <a:ext cx="11725484" cy="256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32" baseline="0" noProof="0" dirty="0">
                <a:solidFill>
                  <a:schemeClr val="accent6"/>
                </a:solidFill>
                <a:latin typeface="+mn-lt"/>
                <a:ea typeface="+mn-ea"/>
              </a:rPr>
              <a:t>CLIENT</a:t>
            </a:r>
          </a:p>
        </p:txBody>
      </p:sp>
      <p:sp>
        <p:nvSpPr>
          <p:cNvPr id="13" name="4. Footnote" hidden="1"/>
          <p:cNvSpPr txBox="1">
            <a:spLocks noChangeArrowheads="1"/>
          </p:cNvSpPr>
          <p:nvPr/>
        </p:nvSpPr>
        <p:spPr bwMode="gray">
          <a:xfrm>
            <a:off x="161985" y="6432273"/>
            <a:ext cx="11630454"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7465" indent="-87465">
              <a:defRPr/>
            </a:pPr>
            <a:r>
              <a:rPr lang="en-US" sz="816" baseline="0" noProof="0" dirty="0">
                <a:solidFill>
                  <a:schemeClr val="accent6"/>
                </a:solidFill>
                <a:latin typeface="+mn-lt"/>
                <a:ea typeface="+mn-ea"/>
              </a:rPr>
              <a:t>1 Footnote</a:t>
            </a:r>
          </a:p>
        </p:txBody>
      </p:sp>
      <p:sp>
        <p:nvSpPr>
          <p:cNvPr id="14" name="5. Source" hidden="1"/>
          <p:cNvSpPr>
            <a:spLocks noChangeArrowheads="1"/>
          </p:cNvSpPr>
          <p:nvPr/>
        </p:nvSpPr>
        <p:spPr bwMode="gray">
          <a:xfrm>
            <a:off x="161985" y="6637982"/>
            <a:ext cx="10155320"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03735" indent="-503735" defTabSz="1218095">
              <a:tabLst/>
            </a:pPr>
            <a:r>
              <a:rPr lang="en-US" sz="816" baseline="0" noProof="0" dirty="0">
                <a:solidFill>
                  <a:schemeClr val="accent6"/>
                </a:solidFill>
                <a:latin typeface="+mn-lt"/>
                <a:ea typeface="+mn-ea"/>
              </a:rPr>
              <a:t>SOURCE: Source</a:t>
            </a:r>
          </a:p>
        </p:txBody>
      </p:sp>
      <p:grpSp>
        <p:nvGrpSpPr>
          <p:cNvPr id="15" name="ACET" hidden="1"/>
          <p:cNvGrpSpPr>
            <a:grpSpLocks/>
          </p:cNvGrpSpPr>
          <p:nvPr userDrawn="1"/>
        </p:nvGrpSpPr>
        <p:grpSpPr bwMode="gray">
          <a:xfrm>
            <a:off x="1976207" y="1270343"/>
            <a:ext cx="5801188" cy="531276"/>
            <a:chOff x="915" y="702"/>
            <a:chExt cx="2686" cy="328"/>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32" b="1" baseline="0" noProof="0" dirty="0">
                  <a:latin typeface="+mn-lt"/>
                  <a:ea typeface="+mn-ea"/>
                </a:rPr>
                <a:t>Title</a:t>
              </a:r>
            </a:p>
            <a:p>
              <a:r>
                <a:rPr lang="en-US" sz="1632" baseline="0" noProof="0" dirty="0">
                  <a:solidFill>
                    <a:schemeClr val="accent6"/>
                  </a:solidFill>
                  <a:latin typeface="+mn-lt"/>
                  <a:ea typeface="+mn-ea"/>
                </a:rPr>
                <a:t>Unit of measure</a:t>
              </a:r>
            </a:p>
          </p:txBody>
        </p:sp>
      </p:grpSp>
      <p:grpSp>
        <p:nvGrpSpPr>
          <p:cNvPr id="17" name="Sticker" hidden="1"/>
          <p:cNvGrpSpPr/>
          <p:nvPr userDrawn="1"/>
        </p:nvGrpSpPr>
        <p:grpSpPr bwMode="gray">
          <a:xfrm>
            <a:off x="11394692" y="291554"/>
            <a:ext cx="492770" cy="156360"/>
            <a:chOff x="8378576" y="285750"/>
            <a:chExt cx="362199" cy="153247"/>
          </a:xfrm>
        </p:grpSpPr>
        <p:sp>
          <p:nvSpPr>
            <p:cNvPr id="20" name="StickerRectangle"/>
            <p:cNvSpPr>
              <a:spLocks noChangeArrowheads="1"/>
            </p:cNvSpPr>
            <p:nvPr/>
          </p:nvSpPr>
          <p:spPr bwMode="gray">
            <a:xfrm>
              <a:off x="8378576" y="285750"/>
              <a:ext cx="362199" cy="15324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1218095">
                <a:buClr>
                  <a:schemeClr val="tx2"/>
                </a:buClr>
              </a:pPr>
              <a:r>
                <a:rPr lang="en-US" sz="816"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378576" y="285750"/>
              <a:ext cx="0" cy="153247"/>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378576" y="438997"/>
              <a:ext cx="362199"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23" name="LegendBoxes" hidden="1"/>
          <p:cNvGrpSpPr/>
          <p:nvPr userDrawn="1"/>
        </p:nvGrpSpPr>
        <p:grpSpPr bwMode="gray">
          <a:xfrm>
            <a:off x="11108191" y="285075"/>
            <a:ext cx="789093" cy="1021522"/>
            <a:chOff x="7835905" y="279400"/>
            <a:chExt cx="773373" cy="1001186"/>
          </a:xfrm>
        </p:grpSpPr>
        <p:sp>
          <p:nvSpPr>
            <p:cNvPr id="24" name="RectangleLegend1"/>
            <p:cNvSpPr>
              <a:spLocks noChangeArrowheads="1"/>
            </p:cNvSpPr>
            <p:nvPr/>
          </p:nvSpPr>
          <p:spPr bwMode="gray">
            <a:xfrm>
              <a:off x="7835905" y="290513"/>
              <a:ext cx="165100" cy="160338"/>
            </a:xfrm>
            <a:prstGeom prst="rect">
              <a:avLst/>
            </a:prstGeom>
            <a:solidFill>
              <a:schemeClr val="accent1"/>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25" name="RectangleLegend2"/>
            <p:cNvSpPr>
              <a:spLocks noChangeArrowheads="1"/>
            </p:cNvSpPr>
            <p:nvPr/>
          </p:nvSpPr>
          <p:spPr bwMode="gray">
            <a:xfrm>
              <a:off x="7835905" y="560388"/>
              <a:ext cx="165100" cy="160338"/>
            </a:xfrm>
            <a:prstGeom prst="rect">
              <a:avLst/>
            </a:prstGeom>
            <a:solidFill>
              <a:schemeClr val="accent2"/>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26" name="RectangleLegend3"/>
            <p:cNvSpPr>
              <a:spLocks noChangeArrowheads="1"/>
            </p:cNvSpPr>
            <p:nvPr/>
          </p:nvSpPr>
          <p:spPr bwMode="gray">
            <a:xfrm>
              <a:off x="7835905" y="831851"/>
              <a:ext cx="165100" cy="160338"/>
            </a:xfrm>
            <a:prstGeom prst="rect">
              <a:avLst/>
            </a:prstGeom>
            <a:solidFill>
              <a:schemeClr val="accent3"/>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27" name="RectangleLegend4"/>
            <p:cNvSpPr>
              <a:spLocks noChangeArrowheads="1"/>
            </p:cNvSpPr>
            <p:nvPr/>
          </p:nvSpPr>
          <p:spPr bwMode="gray">
            <a:xfrm>
              <a:off x="7835905" y="1103313"/>
              <a:ext cx="165100" cy="160338"/>
            </a:xfrm>
            <a:prstGeom prst="rect">
              <a:avLst/>
            </a:prstGeom>
            <a:solidFill>
              <a:schemeClr val="accent4"/>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28" name="Legend1"/>
            <p:cNvSpPr>
              <a:spLocks noChangeArrowheads="1"/>
            </p:cNvSpPr>
            <p:nvPr/>
          </p:nvSpPr>
          <p:spPr bwMode="gray">
            <a:xfrm>
              <a:off x="8089905" y="27940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29" name="Legend2"/>
            <p:cNvSpPr>
              <a:spLocks noChangeArrowheads="1"/>
            </p:cNvSpPr>
            <p:nvPr/>
          </p:nvSpPr>
          <p:spPr bwMode="gray">
            <a:xfrm>
              <a:off x="8089905" y="549275"/>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30" name="Legend3"/>
            <p:cNvSpPr>
              <a:spLocks noChangeArrowheads="1"/>
            </p:cNvSpPr>
            <p:nvPr/>
          </p:nvSpPr>
          <p:spPr bwMode="gray">
            <a:xfrm>
              <a:off x="8089905" y="820738"/>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31" name="Legend4"/>
            <p:cNvSpPr>
              <a:spLocks noChangeArrowheads="1"/>
            </p:cNvSpPr>
            <p:nvPr/>
          </p:nvSpPr>
          <p:spPr bwMode="gray">
            <a:xfrm>
              <a:off x="8089905" y="1092201"/>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grpSp>
      <p:grpSp>
        <p:nvGrpSpPr>
          <p:cNvPr id="32" name="LegendLines" hidden="1"/>
          <p:cNvGrpSpPr/>
          <p:nvPr userDrawn="1"/>
        </p:nvGrpSpPr>
        <p:grpSpPr bwMode="gray">
          <a:xfrm>
            <a:off x="10794126" y="285075"/>
            <a:ext cx="1103328" cy="749405"/>
            <a:chOff x="7540629" y="279400"/>
            <a:chExt cx="1081348" cy="734486"/>
          </a:xfrm>
        </p:grpSpPr>
        <p:sp>
          <p:nvSpPr>
            <p:cNvPr id="33"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837" baseline="0" dirty="0">
                <a:latin typeface="+mn-lt"/>
                <a:ea typeface="+mn-ea"/>
              </a:endParaRPr>
            </a:p>
          </p:txBody>
        </p:sp>
        <p:sp>
          <p:nvSpPr>
            <p:cNvPr id="34"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837" baseline="0" dirty="0">
                <a:latin typeface="+mn-lt"/>
                <a:ea typeface="+mn-ea"/>
              </a:endParaRPr>
            </a:p>
          </p:txBody>
        </p:sp>
        <p:sp>
          <p:nvSpPr>
            <p:cNvPr id="35"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837" baseline="0" dirty="0">
                <a:latin typeface="+mn-lt"/>
                <a:ea typeface="+mn-ea"/>
              </a:endParaRPr>
            </a:p>
          </p:txBody>
        </p:sp>
        <p:sp>
          <p:nvSpPr>
            <p:cNvPr id="36" name="Legend1"/>
            <p:cNvSpPr>
              <a:spLocks noChangeArrowheads="1"/>
            </p:cNvSpPr>
            <p:nvPr/>
          </p:nvSpPr>
          <p:spPr bwMode="gray">
            <a:xfrm>
              <a:off x="8102604" y="27940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37" name="Legend2"/>
            <p:cNvSpPr>
              <a:spLocks noChangeArrowheads="1"/>
            </p:cNvSpPr>
            <p:nvPr/>
          </p:nvSpPr>
          <p:spPr bwMode="gray">
            <a:xfrm>
              <a:off x="8102604" y="54610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38" name="Legend3"/>
            <p:cNvSpPr>
              <a:spLocks noChangeArrowheads="1"/>
            </p:cNvSpPr>
            <p:nvPr/>
          </p:nvSpPr>
          <p:spPr bwMode="gray">
            <a:xfrm>
              <a:off x="8102604" y="825501"/>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grpSp>
      <p:grpSp>
        <p:nvGrpSpPr>
          <p:cNvPr id="39" name="LegendMoons" hidden="1"/>
          <p:cNvGrpSpPr/>
          <p:nvPr userDrawn="1"/>
        </p:nvGrpSpPr>
        <p:grpSpPr bwMode="gray">
          <a:xfrm>
            <a:off x="11040160" y="255920"/>
            <a:ext cx="857123" cy="1333054"/>
            <a:chOff x="7769225" y="250825"/>
            <a:chExt cx="840048" cy="1306516"/>
          </a:xfrm>
        </p:grpSpPr>
        <p:grpSp>
          <p:nvGrpSpPr>
            <p:cNvPr id="40" name="MoonLegend1"/>
            <p:cNvGrpSpPr>
              <a:grpSpLocks noChangeAspect="1"/>
            </p:cNvGrpSpPr>
            <p:nvPr>
              <p:custDataLst>
                <p:tags r:id="rId5"/>
              </p:custDataLst>
            </p:nvPr>
          </p:nvGrpSpPr>
          <p:grpSpPr bwMode="gray">
            <a:xfrm>
              <a:off x="7769225" y="250825"/>
              <a:ext cx="209550" cy="209551"/>
              <a:chOff x="4533" y="183"/>
              <a:chExt cx="144" cy="144"/>
            </a:xfrm>
          </p:grpSpPr>
          <p:sp>
            <p:nvSpPr>
              <p:cNvPr id="58" name="Oval 38"/>
              <p:cNvSpPr>
                <a:spLocks noChangeAspect="1" noChangeArrowheads="1"/>
              </p:cNvSpPr>
              <p:nvPr>
                <p:custDataLst>
                  <p:tags r:id="rId18"/>
                </p:custDataLst>
              </p:nvPr>
            </p:nvSpPr>
            <p:spPr bwMode="gray">
              <a:xfrm>
                <a:off x="4533" y="183"/>
                <a:ext cx="144" cy="144"/>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59" name="Arc 39"/>
              <p:cNvSpPr>
                <a:spLocks noChangeAspect="1"/>
              </p:cNvSpPr>
              <p:nvPr>
                <p:custDataLst>
                  <p:tags r:id="rId19"/>
                </p:custDataLst>
              </p:nvPr>
            </p:nvSpPr>
            <p:spPr bwMode="gray">
              <a:xfrm>
                <a:off x="4533" y="183"/>
                <a:ext cx="144" cy="144"/>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grpSp>
        <p:grpSp>
          <p:nvGrpSpPr>
            <p:cNvPr id="41" name="MoonLegend2"/>
            <p:cNvGrpSpPr>
              <a:grpSpLocks noChangeAspect="1"/>
            </p:cNvGrpSpPr>
            <p:nvPr>
              <p:custDataLst>
                <p:tags r:id="rId6"/>
              </p:custDataLst>
            </p:nvPr>
          </p:nvGrpSpPr>
          <p:grpSpPr bwMode="gray">
            <a:xfrm>
              <a:off x="7769225" y="525066"/>
              <a:ext cx="209550" cy="209551"/>
              <a:chOff x="1694" y="2044"/>
              <a:chExt cx="160" cy="160"/>
            </a:xfrm>
          </p:grpSpPr>
          <p:sp>
            <p:nvSpPr>
              <p:cNvPr id="56" name="Oval 41"/>
              <p:cNvSpPr>
                <a:spLocks noChangeAspect="1" noChangeArrowheads="1"/>
              </p:cNvSpPr>
              <p:nvPr>
                <p:custDataLst>
                  <p:tags r:id="rId16"/>
                </p:custDataLst>
              </p:nvPr>
            </p:nvSpPr>
            <p:spPr bwMode="gray">
              <a:xfrm>
                <a:off x="1694" y="2044"/>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57" name="Arc 42"/>
              <p:cNvSpPr>
                <a:spLocks noChangeAspect="1"/>
              </p:cNvSpPr>
              <p:nvPr>
                <p:custDataLst>
                  <p:tags r:id="rId17"/>
                </p:custDataLst>
              </p:nvPr>
            </p:nvSpPr>
            <p:spPr bwMode="gray">
              <a:xfrm>
                <a:off x="1694" y="2044"/>
                <a:ext cx="160" cy="160"/>
              </a:xfrm>
              <a:prstGeom prst="arc">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grpSp>
        <p:grpSp>
          <p:nvGrpSpPr>
            <p:cNvPr id="42" name="MoonLegend4"/>
            <p:cNvGrpSpPr>
              <a:grpSpLocks noChangeAspect="1"/>
            </p:cNvGrpSpPr>
            <p:nvPr>
              <p:custDataLst>
                <p:tags r:id="rId7"/>
              </p:custDataLst>
            </p:nvPr>
          </p:nvGrpSpPr>
          <p:grpSpPr bwMode="gray">
            <a:xfrm>
              <a:off x="7769225" y="1073548"/>
              <a:ext cx="209550" cy="209551"/>
              <a:chOff x="4495" y="1198"/>
              <a:chExt cx="160" cy="160"/>
            </a:xfrm>
          </p:grpSpPr>
          <p:sp>
            <p:nvSpPr>
              <p:cNvPr id="54"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55" name="Arc 48"/>
              <p:cNvSpPr>
                <a:spLocks noChangeAspect="1"/>
              </p:cNvSpPr>
              <p:nvPr>
                <p:custDataLst>
                  <p:tags r:id="rId15"/>
                </p:custDataLst>
              </p:nvPr>
            </p:nvSpPr>
            <p:spPr bwMode="gray">
              <a:xfrm>
                <a:off x="4495" y="1198"/>
                <a:ext cx="160" cy="160"/>
              </a:xfrm>
              <a:prstGeom prst="arc">
                <a:avLst>
                  <a:gd name="adj1" fmla="val 16200000"/>
                  <a:gd name="adj2" fmla="val 108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grpSp>
        <p:grpSp>
          <p:nvGrpSpPr>
            <p:cNvPr id="43" name="MoonLegend5"/>
            <p:cNvGrpSpPr>
              <a:grpSpLocks noChangeAspect="1"/>
            </p:cNvGrpSpPr>
            <p:nvPr>
              <p:custDataLst>
                <p:tags r:id="rId8"/>
              </p:custDataLst>
            </p:nvPr>
          </p:nvGrpSpPr>
          <p:grpSpPr bwMode="gray">
            <a:xfrm>
              <a:off x="7769225" y="1347790"/>
              <a:ext cx="209550" cy="209551"/>
              <a:chOff x="4495" y="1440"/>
              <a:chExt cx="160" cy="160"/>
            </a:xfrm>
          </p:grpSpPr>
          <p:sp>
            <p:nvSpPr>
              <p:cNvPr id="52" name="Oval 50"/>
              <p:cNvSpPr>
                <a:spLocks noChangeAspect="1" noChangeArrowheads="1"/>
              </p:cNvSpPr>
              <p:nvPr>
                <p:custDataLst>
                  <p:tags r:id="rId12"/>
                </p:custDataLst>
              </p:nvPr>
            </p:nvSpPr>
            <p:spPr bwMode="gray">
              <a:xfrm>
                <a:off x="4495" y="1440"/>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53" name="Oval 51"/>
              <p:cNvSpPr>
                <a:spLocks noChangeAspect="1" noChangeArrowheads="1"/>
              </p:cNvSpPr>
              <p:nvPr>
                <p:custDataLst>
                  <p:tags r:id="rId13"/>
                </p:custDataLst>
              </p:nvPr>
            </p:nvSpPr>
            <p:spPr bwMode="gray">
              <a:xfrm>
                <a:off x="4495" y="1440"/>
                <a:ext cx="160" cy="160"/>
              </a:xfrm>
              <a:prstGeom prst="arc">
                <a:avLst>
                  <a:gd name="adj1" fmla="val 16200000"/>
                  <a:gd name="adj2" fmla="val 162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grpSp>
        <p:grpSp>
          <p:nvGrpSpPr>
            <p:cNvPr id="44" name="MoonLegend3"/>
            <p:cNvGrpSpPr>
              <a:grpSpLocks noChangeAspect="1"/>
            </p:cNvGrpSpPr>
            <p:nvPr>
              <p:custDataLst>
                <p:tags r:id="rId9"/>
              </p:custDataLst>
            </p:nvPr>
          </p:nvGrpSpPr>
          <p:grpSpPr bwMode="gray">
            <a:xfrm>
              <a:off x="7769225" y="799307"/>
              <a:ext cx="209550" cy="209551"/>
              <a:chOff x="4495" y="1198"/>
              <a:chExt cx="160" cy="160"/>
            </a:xfrm>
          </p:grpSpPr>
          <p:sp>
            <p:nvSpPr>
              <p:cNvPr id="50" name="Oval 47"/>
              <p:cNvSpPr>
                <a:spLocks noChangeAspect="1" noChangeArrowheads="1"/>
              </p:cNvSpPr>
              <p:nvPr>
                <p:custDataLst>
                  <p:tags r:id="rId10"/>
                </p:custDataLst>
              </p:nvPr>
            </p:nvSpPr>
            <p:spPr bwMode="gray">
              <a:xfrm>
                <a:off x="4495" y="1198"/>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51" name="Arc 48"/>
              <p:cNvSpPr>
                <a:spLocks noChangeAspect="1"/>
              </p:cNvSpPr>
              <p:nvPr>
                <p:custDataLst>
                  <p:tags r:id="rId11"/>
                </p:custDataLst>
              </p:nvPr>
            </p:nvSpPr>
            <p:spPr bwMode="gray">
              <a:xfrm>
                <a:off x="4495" y="1198"/>
                <a:ext cx="160" cy="160"/>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grpSp>
        <p:sp>
          <p:nvSpPr>
            <p:cNvPr id="45" name="Legend1"/>
            <p:cNvSpPr>
              <a:spLocks noChangeArrowheads="1"/>
            </p:cNvSpPr>
            <p:nvPr/>
          </p:nvSpPr>
          <p:spPr bwMode="gray">
            <a:xfrm>
              <a:off x="8089900" y="263525"/>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46" name="Legend2"/>
            <p:cNvSpPr>
              <a:spLocks noChangeArrowheads="1"/>
            </p:cNvSpPr>
            <p:nvPr/>
          </p:nvSpPr>
          <p:spPr bwMode="gray">
            <a:xfrm>
              <a:off x="8089900" y="538163"/>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47" name="Legend3"/>
            <p:cNvSpPr>
              <a:spLocks noChangeArrowheads="1"/>
            </p:cNvSpPr>
            <p:nvPr/>
          </p:nvSpPr>
          <p:spPr bwMode="gray">
            <a:xfrm>
              <a:off x="8089900" y="812802"/>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48" name="Legend4"/>
            <p:cNvSpPr>
              <a:spLocks noChangeArrowheads="1"/>
            </p:cNvSpPr>
            <p:nvPr/>
          </p:nvSpPr>
          <p:spPr bwMode="gray">
            <a:xfrm>
              <a:off x="8089900" y="1084265"/>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49" name="Legend5"/>
            <p:cNvSpPr>
              <a:spLocks noChangeArrowheads="1"/>
            </p:cNvSpPr>
            <p:nvPr/>
          </p:nvSpPr>
          <p:spPr bwMode="gray">
            <a:xfrm>
              <a:off x="8089900" y="1360490"/>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grpSp>
      <p:sp>
        <p:nvSpPr>
          <p:cNvPr id="60" name="SlideBottomBar" hidden="1"/>
          <p:cNvSpPr/>
          <p:nvPr userDrawn="1"/>
        </p:nvSpPr>
        <p:spPr>
          <a:xfrm>
            <a:off x="12003218" y="6639739"/>
            <a:ext cx="46648" cy="126340"/>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7" baseline="0" dirty="0">
              <a:solidFill>
                <a:schemeClr val="tx1"/>
              </a:solidFill>
              <a:latin typeface="+mn-lt"/>
              <a:ea typeface="+mn-ea"/>
            </a:endParaRPr>
          </a:p>
        </p:txBody>
      </p:sp>
      <p:sp>
        <p:nvSpPr>
          <p:cNvPr id="61" name="Text Placeholder 2"/>
          <p:cNvSpPr>
            <a:spLocks noGrp="1"/>
          </p:cNvSpPr>
          <p:nvPr userDrawn="1">
            <p:ph type="body" idx="1"/>
          </p:nvPr>
        </p:nvSpPr>
        <p:spPr bwMode="gray">
          <a:xfrm>
            <a:off x="1482091" y="1991016"/>
            <a:ext cx="4389573" cy="1346156"/>
          </a:xfrm>
          <a:prstGeom prst="rect">
            <a:avLst/>
          </a:prstGeom>
        </p:spPr>
        <p:txBody>
          <a:bodyPr vert="horz" lIns="0" tIns="0" rIns="0" bIns="0" rtlCol="0">
            <a:noAutofit/>
          </a:bodyPr>
          <a:lstStyle/>
          <a:p>
            <a:pPr lvl="0" latinLnBrk="0"/>
            <a:r>
              <a:rPr lang="en-US"/>
              <a:t>Click to 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spTree>
    <p:extLst>
      <p:ext uri="{BB962C8B-B14F-4D97-AF65-F5344CB8AC3E}">
        <p14:creationId xmlns:p14="http://schemas.microsoft.com/office/powerpoint/2010/main" val="323889754"/>
      </p:ext>
    </p:extLst>
  </p:cSld>
  <p:clrMap bg1="lt1" tx1="dk1" bg2="lt2" tx2="dk2" accent1="accent1" accent2="accent2" accent3="accent3" accent4="accent4" accent5="accent5" accent6="accent6" hlink="hlink" folHlink="folHlink"/>
  <p:sldLayoutIdLst>
    <p:sldLayoutId id="2147483678" r:id="rId1"/>
  </p:sldLayoutIdLst>
  <p:hf hdr="0" ftr="0" dt="0"/>
  <p:txStyles>
    <p:titleStyle>
      <a:lvl1pPr algn="l" defTabSz="1218095" rtl="0" eaLnBrk="1" fontAlgn="base" hangingPunct="1">
        <a:spcBef>
          <a:spcPct val="0"/>
        </a:spcBef>
        <a:spcAft>
          <a:spcPct val="0"/>
        </a:spcAft>
        <a:tabLst>
          <a:tab pos="367156" algn="l"/>
        </a:tabLst>
        <a:defRPr sz="2041" b="0" baseline="0">
          <a:solidFill>
            <a:schemeClr val="tx1"/>
          </a:solidFill>
          <a:latin typeface="+mj-lt"/>
          <a:ea typeface="+mj-ea"/>
          <a:cs typeface="+mj-cs"/>
        </a:defRPr>
      </a:lvl1pPr>
      <a:lvl2pPr algn="l" defTabSz="1218095" rtl="0" eaLnBrk="1" fontAlgn="base" hangingPunct="1">
        <a:spcBef>
          <a:spcPct val="0"/>
        </a:spcBef>
        <a:spcAft>
          <a:spcPct val="0"/>
        </a:spcAft>
        <a:defRPr sz="2584" b="1">
          <a:solidFill>
            <a:schemeClr val="tx2"/>
          </a:solidFill>
          <a:latin typeface="Arial" charset="0"/>
        </a:defRPr>
      </a:lvl2pPr>
      <a:lvl3pPr algn="l" defTabSz="1218095" rtl="0" eaLnBrk="1" fontAlgn="base" hangingPunct="1">
        <a:spcBef>
          <a:spcPct val="0"/>
        </a:spcBef>
        <a:spcAft>
          <a:spcPct val="0"/>
        </a:spcAft>
        <a:defRPr sz="2584" b="1">
          <a:solidFill>
            <a:schemeClr val="tx2"/>
          </a:solidFill>
          <a:latin typeface="Arial" charset="0"/>
        </a:defRPr>
      </a:lvl3pPr>
      <a:lvl4pPr algn="l" defTabSz="1218095" rtl="0" eaLnBrk="1" fontAlgn="base" hangingPunct="1">
        <a:spcBef>
          <a:spcPct val="0"/>
        </a:spcBef>
        <a:spcAft>
          <a:spcPct val="0"/>
        </a:spcAft>
        <a:defRPr sz="2584" b="1">
          <a:solidFill>
            <a:schemeClr val="tx2"/>
          </a:solidFill>
          <a:latin typeface="Arial" charset="0"/>
        </a:defRPr>
      </a:lvl4pPr>
      <a:lvl5pPr algn="l" defTabSz="1218095" rtl="0" eaLnBrk="1" fontAlgn="base" hangingPunct="1">
        <a:spcBef>
          <a:spcPct val="0"/>
        </a:spcBef>
        <a:spcAft>
          <a:spcPct val="0"/>
        </a:spcAft>
        <a:defRPr sz="2584" b="1">
          <a:solidFill>
            <a:schemeClr val="tx2"/>
          </a:solidFill>
          <a:latin typeface="Arial" charset="0"/>
        </a:defRPr>
      </a:lvl5pPr>
      <a:lvl6pPr marL="622005" algn="l" defTabSz="1218095" rtl="0" eaLnBrk="1" fontAlgn="base" hangingPunct="1">
        <a:spcBef>
          <a:spcPct val="0"/>
        </a:spcBef>
        <a:spcAft>
          <a:spcPct val="0"/>
        </a:spcAft>
        <a:defRPr sz="2584" b="1">
          <a:solidFill>
            <a:schemeClr val="tx2"/>
          </a:solidFill>
          <a:latin typeface="Arial" charset="0"/>
        </a:defRPr>
      </a:lvl6pPr>
      <a:lvl7pPr marL="1244012" algn="l" defTabSz="1218095" rtl="0" eaLnBrk="1" fontAlgn="base" hangingPunct="1">
        <a:spcBef>
          <a:spcPct val="0"/>
        </a:spcBef>
        <a:spcAft>
          <a:spcPct val="0"/>
        </a:spcAft>
        <a:defRPr sz="2584" b="1">
          <a:solidFill>
            <a:schemeClr val="tx2"/>
          </a:solidFill>
          <a:latin typeface="Arial" charset="0"/>
        </a:defRPr>
      </a:lvl7pPr>
      <a:lvl8pPr marL="1866017" algn="l" defTabSz="1218095" rtl="0" eaLnBrk="1" fontAlgn="base" hangingPunct="1">
        <a:spcBef>
          <a:spcPct val="0"/>
        </a:spcBef>
        <a:spcAft>
          <a:spcPct val="0"/>
        </a:spcAft>
        <a:defRPr sz="2584" b="1">
          <a:solidFill>
            <a:schemeClr val="tx2"/>
          </a:solidFill>
          <a:latin typeface="Arial" charset="0"/>
        </a:defRPr>
      </a:lvl8pPr>
      <a:lvl9pPr marL="2488024" algn="l" defTabSz="1218095" rtl="0" eaLnBrk="1" fontAlgn="base" hangingPunct="1">
        <a:spcBef>
          <a:spcPct val="0"/>
        </a:spcBef>
        <a:spcAft>
          <a:spcPct val="0"/>
        </a:spcAft>
        <a:defRPr sz="2584" b="1">
          <a:solidFill>
            <a:schemeClr val="tx2"/>
          </a:solidFill>
          <a:latin typeface="Arial" charset="0"/>
        </a:defRPr>
      </a:lvl9pPr>
    </p:titleStyle>
    <p:bodyStyle>
      <a:lvl1pPr marL="0" indent="0" algn="l" defTabSz="913526" rtl="0" eaLnBrk="1" fontAlgn="base" latinLnBrk="0" hangingPunct="1">
        <a:spcBef>
          <a:spcPct val="0"/>
        </a:spcBef>
        <a:spcAft>
          <a:spcPct val="0"/>
        </a:spcAft>
        <a:buClr>
          <a:schemeClr val="tx2"/>
        </a:buClr>
        <a:buSzPct val="100000"/>
        <a:defRPr lang="en-US" sz="1632" baseline="0" dirty="0">
          <a:solidFill>
            <a:schemeClr val="tx1"/>
          </a:solidFill>
          <a:latin typeface="+mn-lt"/>
          <a:ea typeface="+mn-ea"/>
          <a:cs typeface="+mn-cs"/>
        </a:defRPr>
      </a:lvl1pPr>
      <a:lvl2pPr marL="198346" indent="-194673" algn="l" defTabSz="913526" rtl="0" eaLnBrk="1" fontAlgn="base" latinLnBrk="0" hangingPunct="1">
        <a:spcBef>
          <a:spcPct val="0"/>
        </a:spcBef>
        <a:spcAft>
          <a:spcPct val="0"/>
        </a:spcAft>
        <a:buClr>
          <a:schemeClr val="tx2"/>
        </a:buClr>
        <a:buSzPct val="125000"/>
        <a:buFont typeface="Arial" charset="0"/>
        <a:buChar char="▪"/>
        <a:defRPr lang="en-US" sz="1632" baseline="0" dirty="0">
          <a:solidFill>
            <a:schemeClr val="tx1"/>
          </a:solidFill>
          <a:latin typeface="+mn-lt"/>
          <a:ea typeface="+mn-ea"/>
          <a:cs typeface="+mn-cs"/>
        </a:defRPr>
      </a:lvl2pPr>
      <a:lvl3pPr marL="455462" indent="-253443" algn="l" defTabSz="913526" rtl="0" eaLnBrk="1" fontAlgn="base" latinLnBrk="0" hangingPunct="1">
        <a:spcBef>
          <a:spcPct val="0"/>
        </a:spcBef>
        <a:spcAft>
          <a:spcPct val="0"/>
        </a:spcAft>
        <a:buClr>
          <a:schemeClr val="tx2"/>
        </a:buClr>
        <a:buSzPct val="120000"/>
        <a:buFont typeface="Arial" charset="0"/>
        <a:buChar char="–"/>
        <a:defRPr lang="en-US" sz="1632" baseline="0" dirty="0">
          <a:solidFill>
            <a:schemeClr val="tx1"/>
          </a:solidFill>
          <a:latin typeface="+mn-lt"/>
          <a:ea typeface="+mn-ea"/>
          <a:cs typeface="+mn-cs"/>
        </a:defRPr>
      </a:lvl3pPr>
      <a:lvl4pPr marL="628097" indent="-157942" algn="l" defTabSz="913526" rtl="0" eaLnBrk="1" fontAlgn="base" latinLnBrk="0" hangingPunct="1">
        <a:spcBef>
          <a:spcPct val="0"/>
        </a:spcBef>
        <a:spcAft>
          <a:spcPct val="0"/>
        </a:spcAft>
        <a:buClr>
          <a:schemeClr val="tx2"/>
        </a:buClr>
        <a:buSzPct val="120000"/>
        <a:buFont typeface="Arial" charset="0"/>
        <a:buChar char="▫"/>
        <a:defRPr lang="en-US" sz="1632" baseline="0" dirty="0">
          <a:solidFill>
            <a:schemeClr val="tx1"/>
          </a:solidFill>
          <a:latin typeface="+mn-lt"/>
          <a:ea typeface="+mn-ea"/>
          <a:cs typeface="+mn-cs"/>
        </a:defRPr>
      </a:lvl4pPr>
      <a:lvl5pPr marL="764001" indent="-132231" algn="l" defTabSz="913526" rtl="0" eaLnBrk="1" fontAlgn="base" latinLnBrk="0" hangingPunct="1">
        <a:spcBef>
          <a:spcPct val="0"/>
        </a:spcBef>
        <a:spcAft>
          <a:spcPct val="0"/>
        </a:spcAft>
        <a:buClr>
          <a:schemeClr val="tx2"/>
        </a:buClr>
        <a:buSzPct val="89000"/>
        <a:buFont typeface="Arial" charset="0"/>
        <a:buChar char="-"/>
        <a:defRPr lang="en-US" sz="1632" baseline="0" dirty="0">
          <a:solidFill>
            <a:schemeClr val="tx1"/>
          </a:solidFill>
          <a:latin typeface="+mn-lt"/>
          <a:ea typeface="+mn-ea"/>
          <a:cs typeface="+mn-cs"/>
        </a:defRPr>
      </a:lvl5pPr>
      <a:lvl6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6pPr>
      <a:lvl7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7pPr>
      <a:lvl8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8pPr>
      <a:lvl9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9pPr>
    </p:bodyStyle>
    <p:otherStyle>
      <a:defPPr>
        <a:defRPr lang="en-US"/>
      </a:defPPr>
      <a:lvl1pPr marL="0" algn="l" defTabSz="1244012" rtl="0" eaLnBrk="1" latinLnBrk="0" hangingPunct="1">
        <a:defRPr sz="2449" kern="1200">
          <a:solidFill>
            <a:schemeClr val="tx1"/>
          </a:solidFill>
          <a:latin typeface="+mn-lt"/>
          <a:ea typeface="+mn-ea"/>
          <a:cs typeface="+mn-cs"/>
        </a:defRPr>
      </a:lvl1pPr>
      <a:lvl2pPr marL="622005" algn="l" defTabSz="1244012" rtl="0" eaLnBrk="1" latinLnBrk="0" hangingPunct="1">
        <a:defRPr sz="2449" kern="1200">
          <a:solidFill>
            <a:schemeClr val="tx1"/>
          </a:solidFill>
          <a:latin typeface="+mn-lt"/>
          <a:ea typeface="+mn-ea"/>
          <a:cs typeface="+mn-cs"/>
        </a:defRPr>
      </a:lvl2pPr>
      <a:lvl3pPr marL="1244012" algn="l" defTabSz="1244012" rtl="0" eaLnBrk="1" latinLnBrk="0" hangingPunct="1">
        <a:defRPr sz="2449" kern="1200">
          <a:solidFill>
            <a:schemeClr val="tx1"/>
          </a:solidFill>
          <a:latin typeface="+mn-lt"/>
          <a:ea typeface="+mn-ea"/>
          <a:cs typeface="+mn-cs"/>
        </a:defRPr>
      </a:lvl3pPr>
      <a:lvl4pPr marL="1866017" algn="l" defTabSz="1244012" rtl="0" eaLnBrk="1" latinLnBrk="0" hangingPunct="1">
        <a:defRPr sz="2449" kern="1200">
          <a:solidFill>
            <a:schemeClr val="tx1"/>
          </a:solidFill>
          <a:latin typeface="+mn-lt"/>
          <a:ea typeface="+mn-ea"/>
          <a:cs typeface="+mn-cs"/>
        </a:defRPr>
      </a:lvl4pPr>
      <a:lvl5pPr marL="2488024" algn="l" defTabSz="1244012" rtl="0" eaLnBrk="1" latinLnBrk="0" hangingPunct="1">
        <a:defRPr sz="2449" kern="1200">
          <a:solidFill>
            <a:schemeClr val="tx1"/>
          </a:solidFill>
          <a:latin typeface="+mn-lt"/>
          <a:ea typeface="+mn-ea"/>
          <a:cs typeface="+mn-cs"/>
        </a:defRPr>
      </a:lvl5pPr>
      <a:lvl6pPr marL="3110029" algn="l" defTabSz="1244012" rtl="0" eaLnBrk="1" latinLnBrk="0" hangingPunct="1">
        <a:defRPr sz="2449" kern="1200">
          <a:solidFill>
            <a:schemeClr val="tx1"/>
          </a:solidFill>
          <a:latin typeface="+mn-lt"/>
          <a:ea typeface="+mn-ea"/>
          <a:cs typeface="+mn-cs"/>
        </a:defRPr>
      </a:lvl6pPr>
      <a:lvl7pPr marL="3732036" algn="l" defTabSz="1244012" rtl="0" eaLnBrk="1" latinLnBrk="0" hangingPunct="1">
        <a:defRPr sz="2449" kern="1200">
          <a:solidFill>
            <a:schemeClr val="tx1"/>
          </a:solidFill>
          <a:latin typeface="+mn-lt"/>
          <a:ea typeface="+mn-ea"/>
          <a:cs typeface="+mn-cs"/>
        </a:defRPr>
      </a:lvl7pPr>
      <a:lvl8pPr marL="4354041" algn="l" defTabSz="1244012" rtl="0" eaLnBrk="1" latinLnBrk="0" hangingPunct="1">
        <a:defRPr sz="2449" kern="1200">
          <a:solidFill>
            <a:schemeClr val="tx1"/>
          </a:solidFill>
          <a:latin typeface="+mn-lt"/>
          <a:ea typeface="+mn-ea"/>
          <a:cs typeface="+mn-cs"/>
        </a:defRPr>
      </a:lvl8pPr>
      <a:lvl9pPr marL="4976048" algn="l" defTabSz="1244012" rtl="0" eaLnBrk="1" latinLnBrk="0" hangingPunct="1">
        <a:defRPr sz="244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3865323198"/>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20" imgW="270" imgH="270" progId="TCLayout.ActiveDocument.1">
                  <p:embed/>
                </p:oleObj>
              </mc:Choice>
              <mc:Fallback>
                <p:oleObj name="think-cell Slide" r:id="rId20" imgW="270" imgH="270" progId="TCLayout.ActiveDocument.1">
                  <p:embed/>
                  <p:pic>
                    <p:nvPicPr>
                      <p:cNvPr id="2" name="Object 1" hidden="1"/>
                      <p:cNvPicPr/>
                      <p:nvPr/>
                    </p:nvPicPr>
                    <p:blipFill>
                      <a:blip r:embed="rId21"/>
                      <a:stretch>
                        <a:fillRect/>
                      </a:stretch>
                    </p:blipFill>
                    <p:spPr>
                      <a:xfrm>
                        <a:off x="0" y="0"/>
                        <a:ext cx="215979" cy="161974"/>
                      </a:xfrm>
                      <a:prstGeom prst="rect">
                        <a:avLst/>
                      </a:prstGeom>
                    </p:spPr>
                  </p:pic>
                </p:oleObj>
              </mc:Fallback>
            </mc:AlternateContent>
          </a:graphicData>
        </a:graphic>
      </p:graphicFrame>
      <p:sp>
        <p:nvSpPr>
          <p:cNvPr id="6" name="Rectangle 5" hidden="1"/>
          <p:cNvSpPr/>
          <p:nvPr userDrawn="1">
            <p:custDataLst>
              <p:tags r:id="rId4"/>
            </p:custDataLst>
          </p:nvPr>
        </p:nvSpPr>
        <p:spPr bwMode="auto">
          <a:xfrm>
            <a:off x="0"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en-US" sz="2176" b="0" i="0" baseline="0" dirty="0">
              <a:solidFill>
                <a:schemeClr val="tx1"/>
              </a:solidFill>
              <a:latin typeface="Arial" panose="020B0604020202020204" pitchFamily="34" charset="0"/>
              <a:ea typeface="+mn-ea"/>
              <a:cs typeface="+mn-cs"/>
              <a:sym typeface="Arial" panose="020B0604020202020204" pitchFamily="34" charset="0"/>
            </a:endParaRPr>
          </a:p>
        </p:txBody>
      </p:sp>
      <p:sp>
        <p:nvSpPr>
          <p:cNvPr id="1033" name="doc id" hidden="1"/>
          <p:cNvSpPr>
            <a:spLocks noChangeArrowheads="1"/>
          </p:cNvSpPr>
          <p:nvPr/>
        </p:nvSpPr>
        <p:spPr bwMode="gray">
          <a:xfrm flipH="1">
            <a:off x="10658002" y="51835"/>
            <a:ext cx="1231563" cy="96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8095"/>
            <a:endParaRPr lang="en-US" sz="612" baseline="0" noProof="0" dirty="0">
              <a:solidFill>
                <a:schemeClr val="accent6"/>
              </a:solidFill>
              <a:latin typeface="+mn-lt"/>
              <a:ea typeface="+mn-ea"/>
            </a:endParaRPr>
          </a:p>
        </p:txBody>
      </p:sp>
      <p:sp>
        <p:nvSpPr>
          <p:cNvPr id="1034" name="Working Draft" hidden="1"/>
          <p:cNvSpPr txBox="1">
            <a:spLocks noChangeArrowheads="1"/>
          </p:cNvSpPr>
          <p:nvPr/>
        </p:nvSpPr>
        <p:spPr bwMode="gray">
          <a:xfrm rot="5400000">
            <a:off x="11064116" y="1979060"/>
            <a:ext cx="2065716" cy="96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612" baseline="0" noProof="0" dirty="0">
                <a:solidFill>
                  <a:schemeClr val="accent6"/>
                </a:solidFill>
                <a:latin typeface="+mn-lt"/>
                <a:ea typeface="+mn-ea"/>
              </a:rPr>
              <a:t>Last Modified 6/14/2021 10:31 AM Eastern Standard Time</a:t>
            </a:r>
          </a:p>
        </p:txBody>
      </p:sp>
      <p:sp>
        <p:nvSpPr>
          <p:cNvPr id="1035" name="Printed" hidden="1"/>
          <p:cNvSpPr txBox="1">
            <a:spLocks noChangeArrowheads="1"/>
          </p:cNvSpPr>
          <p:nvPr/>
        </p:nvSpPr>
        <p:spPr bwMode="gray">
          <a:xfrm rot="5400000">
            <a:off x="11175331" y="4197040"/>
            <a:ext cx="1843280" cy="96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612" baseline="0" noProof="0" dirty="0">
                <a:solidFill>
                  <a:schemeClr val="accent6"/>
                </a:solidFill>
                <a:latin typeface="+mn-lt"/>
                <a:ea typeface="+mn-ea"/>
              </a:rPr>
              <a:t>Printed 12/16/2020 8:01 AM Eastern Standard Time</a:t>
            </a:r>
          </a:p>
        </p:txBody>
      </p:sp>
      <p:sp>
        <p:nvSpPr>
          <p:cNvPr id="19" name="Title Placeholder 2"/>
          <p:cNvSpPr>
            <a:spLocks noGrp="1" noChangeArrowheads="1"/>
          </p:cNvSpPr>
          <p:nvPr>
            <p:ph type="title"/>
          </p:nvPr>
        </p:nvSpPr>
        <p:spPr bwMode="gray">
          <a:xfrm>
            <a:off x="161987" y="234865"/>
            <a:ext cx="11725484"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endParaRPr lang="en-US" noProof="0" dirty="0"/>
          </a:p>
        </p:txBody>
      </p:sp>
      <p:sp>
        <p:nvSpPr>
          <p:cNvPr id="10" name="1. On-page tracker" hidden="1"/>
          <p:cNvSpPr>
            <a:spLocks noChangeArrowheads="1"/>
          </p:cNvSpPr>
          <p:nvPr userDrawn="1"/>
        </p:nvSpPr>
        <p:spPr bwMode="gray">
          <a:xfrm>
            <a:off x="161985" y="77303"/>
            <a:ext cx="511939"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16" cap="all" baseline="0" noProof="0" dirty="0">
                <a:solidFill>
                  <a:schemeClr val="accent6"/>
                </a:solidFill>
                <a:latin typeface="+mn-lt"/>
                <a:ea typeface="+mn-ea"/>
              </a:rPr>
              <a:t>Tracker</a:t>
            </a:r>
          </a:p>
        </p:txBody>
      </p:sp>
      <p:sp>
        <p:nvSpPr>
          <p:cNvPr id="11" name="3. Unit of measure" hidden="1"/>
          <p:cNvSpPr txBox="1">
            <a:spLocks noChangeArrowheads="1"/>
          </p:cNvSpPr>
          <p:nvPr userDrawn="1"/>
        </p:nvSpPr>
        <p:spPr bwMode="gray">
          <a:xfrm>
            <a:off x="161987" y="566136"/>
            <a:ext cx="11725484" cy="256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32" baseline="0" noProof="0" dirty="0">
                <a:solidFill>
                  <a:schemeClr val="accent6"/>
                </a:solidFill>
                <a:latin typeface="+mn-lt"/>
                <a:ea typeface="+mn-ea"/>
              </a:rPr>
              <a:t>CLIENT</a:t>
            </a:r>
          </a:p>
        </p:txBody>
      </p:sp>
      <p:sp>
        <p:nvSpPr>
          <p:cNvPr id="13" name="4. Footnote" hidden="1"/>
          <p:cNvSpPr txBox="1">
            <a:spLocks noChangeArrowheads="1"/>
          </p:cNvSpPr>
          <p:nvPr/>
        </p:nvSpPr>
        <p:spPr bwMode="gray">
          <a:xfrm>
            <a:off x="161985" y="6432273"/>
            <a:ext cx="11630454"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7465" indent="-87465">
              <a:defRPr/>
            </a:pPr>
            <a:r>
              <a:rPr lang="en-US" sz="816" baseline="0" noProof="0" dirty="0">
                <a:solidFill>
                  <a:schemeClr val="accent6"/>
                </a:solidFill>
                <a:latin typeface="+mn-lt"/>
                <a:ea typeface="+mn-ea"/>
              </a:rPr>
              <a:t>1 Footnote</a:t>
            </a:r>
          </a:p>
        </p:txBody>
      </p:sp>
      <p:sp>
        <p:nvSpPr>
          <p:cNvPr id="14" name="5. Source" hidden="1"/>
          <p:cNvSpPr>
            <a:spLocks noChangeArrowheads="1"/>
          </p:cNvSpPr>
          <p:nvPr/>
        </p:nvSpPr>
        <p:spPr bwMode="gray">
          <a:xfrm>
            <a:off x="161985" y="6637982"/>
            <a:ext cx="10155320"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03735" indent="-503735" defTabSz="1218095">
              <a:tabLst/>
            </a:pPr>
            <a:r>
              <a:rPr lang="en-US" sz="816" baseline="0" noProof="0" dirty="0">
                <a:solidFill>
                  <a:schemeClr val="accent6"/>
                </a:solidFill>
                <a:latin typeface="+mn-lt"/>
                <a:ea typeface="+mn-ea"/>
              </a:rPr>
              <a:t>SOURCE: Source</a:t>
            </a:r>
          </a:p>
        </p:txBody>
      </p:sp>
      <p:grpSp>
        <p:nvGrpSpPr>
          <p:cNvPr id="15" name="ACET" hidden="1"/>
          <p:cNvGrpSpPr>
            <a:grpSpLocks/>
          </p:cNvGrpSpPr>
          <p:nvPr userDrawn="1"/>
        </p:nvGrpSpPr>
        <p:grpSpPr bwMode="gray">
          <a:xfrm>
            <a:off x="1976207" y="1270343"/>
            <a:ext cx="5801188" cy="531276"/>
            <a:chOff x="915" y="702"/>
            <a:chExt cx="2686" cy="328"/>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32" b="1" baseline="0" noProof="0" dirty="0">
                  <a:latin typeface="+mn-lt"/>
                  <a:ea typeface="+mn-ea"/>
                </a:rPr>
                <a:t>Title</a:t>
              </a:r>
            </a:p>
            <a:p>
              <a:r>
                <a:rPr lang="en-US" sz="1632" baseline="0" noProof="0" dirty="0">
                  <a:solidFill>
                    <a:schemeClr val="accent6"/>
                  </a:solidFill>
                  <a:latin typeface="+mn-lt"/>
                  <a:ea typeface="+mn-ea"/>
                </a:rPr>
                <a:t>Unit of measure</a:t>
              </a:r>
            </a:p>
          </p:txBody>
        </p:sp>
      </p:grpSp>
      <p:grpSp>
        <p:nvGrpSpPr>
          <p:cNvPr id="17" name="Sticker" hidden="1"/>
          <p:cNvGrpSpPr/>
          <p:nvPr userDrawn="1"/>
        </p:nvGrpSpPr>
        <p:grpSpPr bwMode="gray">
          <a:xfrm>
            <a:off x="11394692" y="291554"/>
            <a:ext cx="492770" cy="156360"/>
            <a:chOff x="8378576" y="285750"/>
            <a:chExt cx="362199" cy="153247"/>
          </a:xfrm>
        </p:grpSpPr>
        <p:sp>
          <p:nvSpPr>
            <p:cNvPr id="20" name="StickerRectangle"/>
            <p:cNvSpPr>
              <a:spLocks noChangeArrowheads="1"/>
            </p:cNvSpPr>
            <p:nvPr/>
          </p:nvSpPr>
          <p:spPr bwMode="gray">
            <a:xfrm>
              <a:off x="8378576" y="285750"/>
              <a:ext cx="362199" cy="15324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1218095">
                <a:buClr>
                  <a:schemeClr val="tx2"/>
                </a:buClr>
              </a:pPr>
              <a:r>
                <a:rPr lang="en-US" sz="816"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378576" y="285750"/>
              <a:ext cx="0" cy="153247"/>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378576" y="438997"/>
              <a:ext cx="362199"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23" name="LegendBoxes" hidden="1"/>
          <p:cNvGrpSpPr/>
          <p:nvPr userDrawn="1"/>
        </p:nvGrpSpPr>
        <p:grpSpPr bwMode="gray">
          <a:xfrm>
            <a:off x="11108191" y="285075"/>
            <a:ext cx="789093" cy="1021522"/>
            <a:chOff x="7835905" y="279400"/>
            <a:chExt cx="773373" cy="1001186"/>
          </a:xfrm>
        </p:grpSpPr>
        <p:sp>
          <p:nvSpPr>
            <p:cNvPr id="24" name="RectangleLegend1"/>
            <p:cNvSpPr>
              <a:spLocks noChangeArrowheads="1"/>
            </p:cNvSpPr>
            <p:nvPr/>
          </p:nvSpPr>
          <p:spPr bwMode="gray">
            <a:xfrm>
              <a:off x="7835905" y="290513"/>
              <a:ext cx="165100" cy="160338"/>
            </a:xfrm>
            <a:prstGeom prst="rect">
              <a:avLst/>
            </a:prstGeom>
            <a:solidFill>
              <a:schemeClr val="accent1"/>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25" name="RectangleLegend2"/>
            <p:cNvSpPr>
              <a:spLocks noChangeArrowheads="1"/>
            </p:cNvSpPr>
            <p:nvPr/>
          </p:nvSpPr>
          <p:spPr bwMode="gray">
            <a:xfrm>
              <a:off x="7835905" y="560388"/>
              <a:ext cx="165100" cy="160338"/>
            </a:xfrm>
            <a:prstGeom prst="rect">
              <a:avLst/>
            </a:prstGeom>
            <a:solidFill>
              <a:schemeClr val="accent2"/>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26" name="RectangleLegend3"/>
            <p:cNvSpPr>
              <a:spLocks noChangeArrowheads="1"/>
            </p:cNvSpPr>
            <p:nvPr/>
          </p:nvSpPr>
          <p:spPr bwMode="gray">
            <a:xfrm>
              <a:off x="7835905" y="831851"/>
              <a:ext cx="165100" cy="160338"/>
            </a:xfrm>
            <a:prstGeom prst="rect">
              <a:avLst/>
            </a:prstGeom>
            <a:solidFill>
              <a:schemeClr val="accent3"/>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27" name="RectangleLegend4"/>
            <p:cNvSpPr>
              <a:spLocks noChangeArrowheads="1"/>
            </p:cNvSpPr>
            <p:nvPr/>
          </p:nvSpPr>
          <p:spPr bwMode="gray">
            <a:xfrm>
              <a:off x="7835905" y="1103313"/>
              <a:ext cx="165100" cy="160338"/>
            </a:xfrm>
            <a:prstGeom prst="rect">
              <a:avLst/>
            </a:prstGeom>
            <a:solidFill>
              <a:schemeClr val="accent4"/>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28" name="Legend1"/>
            <p:cNvSpPr>
              <a:spLocks noChangeArrowheads="1"/>
            </p:cNvSpPr>
            <p:nvPr/>
          </p:nvSpPr>
          <p:spPr bwMode="gray">
            <a:xfrm>
              <a:off x="8089905" y="27940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29" name="Legend2"/>
            <p:cNvSpPr>
              <a:spLocks noChangeArrowheads="1"/>
            </p:cNvSpPr>
            <p:nvPr/>
          </p:nvSpPr>
          <p:spPr bwMode="gray">
            <a:xfrm>
              <a:off x="8089905" y="549275"/>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30" name="Legend3"/>
            <p:cNvSpPr>
              <a:spLocks noChangeArrowheads="1"/>
            </p:cNvSpPr>
            <p:nvPr/>
          </p:nvSpPr>
          <p:spPr bwMode="gray">
            <a:xfrm>
              <a:off x="8089905" y="820738"/>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31" name="Legend4"/>
            <p:cNvSpPr>
              <a:spLocks noChangeArrowheads="1"/>
            </p:cNvSpPr>
            <p:nvPr/>
          </p:nvSpPr>
          <p:spPr bwMode="gray">
            <a:xfrm>
              <a:off x="8089905" y="1092201"/>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grpSp>
      <p:grpSp>
        <p:nvGrpSpPr>
          <p:cNvPr id="32" name="LegendLines" hidden="1"/>
          <p:cNvGrpSpPr/>
          <p:nvPr userDrawn="1"/>
        </p:nvGrpSpPr>
        <p:grpSpPr bwMode="gray">
          <a:xfrm>
            <a:off x="10794126" y="285075"/>
            <a:ext cx="1103328" cy="749405"/>
            <a:chOff x="7540629" y="279400"/>
            <a:chExt cx="1081348" cy="734486"/>
          </a:xfrm>
        </p:grpSpPr>
        <p:sp>
          <p:nvSpPr>
            <p:cNvPr id="33"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837" baseline="0" dirty="0">
                <a:latin typeface="+mn-lt"/>
                <a:ea typeface="+mn-ea"/>
              </a:endParaRPr>
            </a:p>
          </p:txBody>
        </p:sp>
        <p:sp>
          <p:nvSpPr>
            <p:cNvPr id="34"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837" baseline="0" dirty="0">
                <a:latin typeface="+mn-lt"/>
                <a:ea typeface="+mn-ea"/>
              </a:endParaRPr>
            </a:p>
          </p:txBody>
        </p:sp>
        <p:sp>
          <p:nvSpPr>
            <p:cNvPr id="35"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837" baseline="0" dirty="0">
                <a:latin typeface="+mn-lt"/>
                <a:ea typeface="+mn-ea"/>
              </a:endParaRPr>
            </a:p>
          </p:txBody>
        </p:sp>
        <p:sp>
          <p:nvSpPr>
            <p:cNvPr id="36" name="Legend1"/>
            <p:cNvSpPr>
              <a:spLocks noChangeArrowheads="1"/>
            </p:cNvSpPr>
            <p:nvPr/>
          </p:nvSpPr>
          <p:spPr bwMode="gray">
            <a:xfrm>
              <a:off x="8102604" y="27940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37" name="Legend2"/>
            <p:cNvSpPr>
              <a:spLocks noChangeArrowheads="1"/>
            </p:cNvSpPr>
            <p:nvPr/>
          </p:nvSpPr>
          <p:spPr bwMode="gray">
            <a:xfrm>
              <a:off x="8102604" y="54610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38" name="Legend3"/>
            <p:cNvSpPr>
              <a:spLocks noChangeArrowheads="1"/>
            </p:cNvSpPr>
            <p:nvPr/>
          </p:nvSpPr>
          <p:spPr bwMode="gray">
            <a:xfrm>
              <a:off x="8102604" y="825501"/>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grpSp>
      <p:grpSp>
        <p:nvGrpSpPr>
          <p:cNvPr id="39" name="LegendMoons" hidden="1"/>
          <p:cNvGrpSpPr/>
          <p:nvPr userDrawn="1"/>
        </p:nvGrpSpPr>
        <p:grpSpPr bwMode="gray">
          <a:xfrm>
            <a:off x="11040160" y="255920"/>
            <a:ext cx="857123" cy="1333054"/>
            <a:chOff x="7769225" y="250825"/>
            <a:chExt cx="840048" cy="1306516"/>
          </a:xfrm>
        </p:grpSpPr>
        <p:grpSp>
          <p:nvGrpSpPr>
            <p:cNvPr id="40" name="MoonLegend1"/>
            <p:cNvGrpSpPr>
              <a:grpSpLocks noChangeAspect="1"/>
            </p:cNvGrpSpPr>
            <p:nvPr>
              <p:custDataLst>
                <p:tags r:id="rId5"/>
              </p:custDataLst>
            </p:nvPr>
          </p:nvGrpSpPr>
          <p:grpSpPr bwMode="gray">
            <a:xfrm>
              <a:off x="7769225" y="250825"/>
              <a:ext cx="209550" cy="209551"/>
              <a:chOff x="4533" y="183"/>
              <a:chExt cx="144" cy="144"/>
            </a:xfrm>
          </p:grpSpPr>
          <p:sp>
            <p:nvSpPr>
              <p:cNvPr id="58" name="Oval 38"/>
              <p:cNvSpPr>
                <a:spLocks noChangeAspect="1" noChangeArrowheads="1"/>
              </p:cNvSpPr>
              <p:nvPr>
                <p:custDataLst>
                  <p:tags r:id="rId18"/>
                </p:custDataLst>
              </p:nvPr>
            </p:nvSpPr>
            <p:spPr bwMode="gray">
              <a:xfrm>
                <a:off x="4533" y="183"/>
                <a:ext cx="144" cy="144"/>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59" name="Arc 39"/>
              <p:cNvSpPr>
                <a:spLocks noChangeAspect="1"/>
              </p:cNvSpPr>
              <p:nvPr>
                <p:custDataLst>
                  <p:tags r:id="rId19"/>
                </p:custDataLst>
              </p:nvPr>
            </p:nvSpPr>
            <p:spPr bwMode="gray">
              <a:xfrm>
                <a:off x="4533" y="183"/>
                <a:ext cx="144" cy="144"/>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grpSp>
        <p:grpSp>
          <p:nvGrpSpPr>
            <p:cNvPr id="41" name="MoonLegend2"/>
            <p:cNvGrpSpPr>
              <a:grpSpLocks noChangeAspect="1"/>
            </p:cNvGrpSpPr>
            <p:nvPr>
              <p:custDataLst>
                <p:tags r:id="rId6"/>
              </p:custDataLst>
            </p:nvPr>
          </p:nvGrpSpPr>
          <p:grpSpPr bwMode="gray">
            <a:xfrm>
              <a:off x="7769225" y="525066"/>
              <a:ext cx="209550" cy="209551"/>
              <a:chOff x="1694" y="2044"/>
              <a:chExt cx="160" cy="160"/>
            </a:xfrm>
          </p:grpSpPr>
          <p:sp>
            <p:nvSpPr>
              <p:cNvPr id="56" name="Oval 41"/>
              <p:cNvSpPr>
                <a:spLocks noChangeAspect="1" noChangeArrowheads="1"/>
              </p:cNvSpPr>
              <p:nvPr>
                <p:custDataLst>
                  <p:tags r:id="rId16"/>
                </p:custDataLst>
              </p:nvPr>
            </p:nvSpPr>
            <p:spPr bwMode="gray">
              <a:xfrm>
                <a:off x="1694" y="2044"/>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57" name="Arc 42"/>
              <p:cNvSpPr>
                <a:spLocks noChangeAspect="1"/>
              </p:cNvSpPr>
              <p:nvPr>
                <p:custDataLst>
                  <p:tags r:id="rId17"/>
                </p:custDataLst>
              </p:nvPr>
            </p:nvSpPr>
            <p:spPr bwMode="gray">
              <a:xfrm>
                <a:off x="1694" y="2044"/>
                <a:ext cx="160" cy="160"/>
              </a:xfrm>
              <a:prstGeom prst="arc">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grpSp>
        <p:grpSp>
          <p:nvGrpSpPr>
            <p:cNvPr id="42" name="MoonLegend4"/>
            <p:cNvGrpSpPr>
              <a:grpSpLocks noChangeAspect="1"/>
            </p:cNvGrpSpPr>
            <p:nvPr>
              <p:custDataLst>
                <p:tags r:id="rId7"/>
              </p:custDataLst>
            </p:nvPr>
          </p:nvGrpSpPr>
          <p:grpSpPr bwMode="gray">
            <a:xfrm>
              <a:off x="7769225" y="1073548"/>
              <a:ext cx="209550" cy="209551"/>
              <a:chOff x="4495" y="1198"/>
              <a:chExt cx="160" cy="160"/>
            </a:xfrm>
          </p:grpSpPr>
          <p:sp>
            <p:nvSpPr>
              <p:cNvPr id="54"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55" name="Arc 48"/>
              <p:cNvSpPr>
                <a:spLocks noChangeAspect="1"/>
              </p:cNvSpPr>
              <p:nvPr>
                <p:custDataLst>
                  <p:tags r:id="rId15"/>
                </p:custDataLst>
              </p:nvPr>
            </p:nvSpPr>
            <p:spPr bwMode="gray">
              <a:xfrm>
                <a:off x="4495" y="1198"/>
                <a:ext cx="160" cy="160"/>
              </a:xfrm>
              <a:prstGeom prst="arc">
                <a:avLst>
                  <a:gd name="adj1" fmla="val 16200000"/>
                  <a:gd name="adj2" fmla="val 108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grpSp>
        <p:grpSp>
          <p:nvGrpSpPr>
            <p:cNvPr id="43" name="MoonLegend5"/>
            <p:cNvGrpSpPr>
              <a:grpSpLocks noChangeAspect="1"/>
            </p:cNvGrpSpPr>
            <p:nvPr>
              <p:custDataLst>
                <p:tags r:id="rId8"/>
              </p:custDataLst>
            </p:nvPr>
          </p:nvGrpSpPr>
          <p:grpSpPr bwMode="gray">
            <a:xfrm>
              <a:off x="7769225" y="1347790"/>
              <a:ext cx="209550" cy="209551"/>
              <a:chOff x="4495" y="1440"/>
              <a:chExt cx="160" cy="160"/>
            </a:xfrm>
          </p:grpSpPr>
          <p:sp>
            <p:nvSpPr>
              <p:cNvPr id="52" name="Oval 50"/>
              <p:cNvSpPr>
                <a:spLocks noChangeAspect="1" noChangeArrowheads="1"/>
              </p:cNvSpPr>
              <p:nvPr>
                <p:custDataLst>
                  <p:tags r:id="rId12"/>
                </p:custDataLst>
              </p:nvPr>
            </p:nvSpPr>
            <p:spPr bwMode="gray">
              <a:xfrm>
                <a:off x="4495" y="1440"/>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53" name="Oval 51"/>
              <p:cNvSpPr>
                <a:spLocks noChangeAspect="1" noChangeArrowheads="1"/>
              </p:cNvSpPr>
              <p:nvPr>
                <p:custDataLst>
                  <p:tags r:id="rId13"/>
                </p:custDataLst>
              </p:nvPr>
            </p:nvSpPr>
            <p:spPr bwMode="gray">
              <a:xfrm>
                <a:off x="4495" y="1440"/>
                <a:ext cx="160" cy="160"/>
              </a:xfrm>
              <a:prstGeom prst="arc">
                <a:avLst>
                  <a:gd name="adj1" fmla="val 16200000"/>
                  <a:gd name="adj2" fmla="val 162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grpSp>
        <p:grpSp>
          <p:nvGrpSpPr>
            <p:cNvPr id="44" name="MoonLegend3"/>
            <p:cNvGrpSpPr>
              <a:grpSpLocks noChangeAspect="1"/>
            </p:cNvGrpSpPr>
            <p:nvPr>
              <p:custDataLst>
                <p:tags r:id="rId9"/>
              </p:custDataLst>
            </p:nvPr>
          </p:nvGrpSpPr>
          <p:grpSpPr bwMode="gray">
            <a:xfrm>
              <a:off x="7769225" y="799307"/>
              <a:ext cx="209550" cy="209551"/>
              <a:chOff x="4495" y="1198"/>
              <a:chExt cx="160" cy="160"/>
            </a:xfrm>
          </p:grpSpPr>
          <p:sp>
            <p:nvSpPr>
              <p:cNvPr id="50" name="Oval 47"/>
              <p:cNvSpPr>
                <a:spLocks noChangeAspect="1" noChangeArrowheads="1"/>
              </p:cNvSpPr>
              <p:nvPr>
                <p:custDataLst>
                  <p:tags r:id="rId10"/>
                </p:custDataLst>
              </p:nvPr>
            </p:nvSpPr>
            <p:spPr bwMode="gray">
              <a:xfrm>
                <a:off x="4495" y="1198"/>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51" name="Arc 48"/>
              <p:cNvSpPr>
                <a:spLocks noChangeAspect="1"/>
              </p:cNvSpPr>
              <p:nvPr>
                <p:custDataLst>
                  <p:tags r:id="rId11"/>
                </p:custDataLst>
              </p:nvPr>
            </p:nvSpPr>
            <p:spPr bwMode="gray">
              <a:xfrm>
                <a:off x="4495" y="1198"/>
                <a:ext cx="160" cy="160"/>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grpSp>
        <p:sp>
          <p:nvSpPr>
            <p:cNvPr id="45" name="Legend1"/>
            <p:cNvSpPr>
              <a:spLocks noChangeArrowheads="1"/>
            </p:cNvSpPr>
            <p:nvPr/>
          </p:nvSpPr>
          <p:spPr bwMode="gray">
            <a:xfrm>
              <a:off x="8089900" y="263525"/>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46" name="Legend2"/>
            <p:cNvSpPr>
              <a:spLocks noChangeArrowheads="1"/>
            </p:cNvSpPr>
            <p:nvPr/>
          </p:nvSpPr>
          <p:spPr bwMode="gray">
            <a:xfrm>
              <a:off x="8089900" y="538163"/>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47" name="Legend3"/>
            <p:cNvSpPr>
              <a:spLocks noChangeArrowheads="1"/>
            </p:cNvSpPr>
            <p:nvPr/>
          </p:nvSpPr>
          <p:spPr bwMode="gray">
            <a:xfrm>
              <a:off x="8089900" y="812802"/>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48" name="Legend4"/>
            <p:cNvSpPr>
              <a:spLocks noChangeArrowheads="1"/>
            </p:cNvSpPr>
            <p:nvPr/>
          </p:nvSpPr>
          <p:spPr bwMode="gray">
            <a:xfrm>
              <a:off x="8089900" y="1084265"/>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49" name="Legend5"/>
            <p:cNvSpPr>
              <a:spLocks noChangeArrowheads="1"/>
            </p:cNvSpPr>
            <p:nvPr/>
          </p:nvSpPr>
          <p:spPr bwMode="gray">
            <a:xfrm>
              <a:off x="8089900" y="1360490"/>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grpSp>
      <p:sp>
        <p:nvSpPr>
          <p:cNvPr id="60" name="SlideBottomBar" hidden="1"/>
          <p:cNvSpPr/>
          <p:nvPr userDrawn="1"/>
        </p:nvSpPr>
        <p:spPr>
          <a:xfrm>
            <a:off x="12003218" y="6639739"/>
            <a:ext cx="46648" cy="126340"/>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7" baseline="0" dirty="0">
              <a:solidFill>
                <a:schemeClr val="tx1"/>
              </a:solidFill>
              <a:latin typeface="+mn-lt"/>
              <a:ea typeface="+mn-ea"/>
            </a:endParaRPr>
          </a:p>
        </p:txBody>
      </p:sp>
      <p:sp>
        <p:nvSpPr>
          <p:cNvPr id="61" name="Text Placeholder 2"/>
          <p:cNvSpPr>
            <a:spLocks noGrp="1"/>
          </p:cNvSpPr>
          <p:nvPr userDrawn="1">
            <p:ph type="body" idx="1"/>
          </p:nvPr>
        </p:nvSpPr>
        <p:spPr bwMode="gray">
          <a:xfrm>
            <a:off x="1482091" y="1991016"/>
            <a:ext cx="4389573" cy="1346156"/>
          </a:xfrm>
          <a:prstGeom prst="rect">
            <a:avLst/>
          </a:prstGeom>
        </p:spPr>
        <p:txBody>
          <a:bodyPr vert="horz" lIns="0" tIns="0" rIns="0" bIns="0" rtlCol="0">
            <a:noAutofit/>
          </a:bodyPr>
          <a:lstStyle/>
          <a:p>
            <a:pPr lvl="0" latinLnBrk="0"/>
            <a:r>
              <a:rPr lang="en-US"/>
              <a:t>Click to 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spTree>
    <p:extLst>
      <p:ext uri="{BB962C8B-B14F-4D97-AF65-F5344CB8AC3E}">
        <p14:creationId xmlns:p14="http://schemas.microsoft.com/office/powerpoint/2010/main" val="2941213311"/>
      </p:ext>
    </p:extLst>
  </p:cSld>
  <p:clrMap bg1="lt1" tx1="dk1" bg2="lt2" tx2="dk2" accent1="accent1" accent2="accent2" accent3="accent3" accent4="accent4" accent5="accent5" accent6="accent6" hlink="hlink" folHlink="folHlink"/>
  <p:sldLayoutIdLst>
    <p:sldLayoutId id="2147483680" r:id="rId1"/>
  </p:sldLayoutIdLst>
  <p:hf hdr="0" ftr="0" dt="0"/>
  <p:txStyles>
    <p:titleStyle>
      <a:lvl1pPr algn="l" defTabSz="1218095" rtl="0" eaLnBrk="1" fontAlgn="base" hangingPunct="1">
        <a:spcBef>
          <a:spcPct val="0"/>
        </a:spcBef>
        <a:spcAft>
          <a:spcPct val="0"/>
        </a:spcAft>
        <a:tabLst>
          <a:tab pos="367156" algn="l"/>
        </a:tabLst>
        <a:defRPr sz="2041" b="0" baseline="0">
          <a:solidFill>
            <a:schemeClr val="tx1"/>
          </a:solidFill>
          <a:latin typeface="+mj-lt"/>
          <a:ea typeface="+mj-ea"/>
          <a:cs typeface="+mj-cs"/>
        </a:defRPr>
      </a:lvl1pPr>
      <a:lvl2pPr algn="l" defTabSz="1218095" rtl="0" eaLnBrk="1" fontAlgn="base" hangingPunct="1">
        <a:spcBef>
          <a:spcPct val="0"/>
        </a:spcBef>
        <a:spcAft>
          <a:spcPct val="0"/>
        </a:spcAft>
        <a:defRPr sz="2584" b="1">
          <a:solidFill>
            <a:schemeClr val="tx2"/>
          </a:solidFill>
          <a:latin typeface="Arial" charset="0"/>
        </a:defRPr>
      </a:lvl2pPr>
      <a:lvl3pPr algn="l" defTabSz="1218095" rtl="0" eaLnBrk="1" fontAlgn="base" hangingPunct="1">
        <a:spcBef>
          <a:spcPct val="0"/>
        </a:spcBef>
        <a:spcAft>
          <a:spcPct val="0"/>
        </a:spcAft>
        <a:defRPr sz="2584" b="1">
          <a:solidFill>
            <a:schemeClr val="tx2"/>
          </a:solidFill>
          <a:latin typeface="Arial" charset="0"/>
        </a:defRPr>
      </a:lvl3pPr>
      <a:lvl4pPr algn="l" defTabSz="1218095" rtl="0" eaLnBrk="1" fontAlgn="base" hangingPunct="1">
        <a:spcBef>
          <a:spcPct val="0"/>
        </a:spcBef>
        <a:spcAft>
          <a:spcPct val="0"/>
        </a:spcAft>
        <a:defRPr sz="2584" b="1">
          <a:solidFill>
            <a:schemeClr val="tx2"/>
          </a:solidFill>
          <a:latin typeface="Arial" charset="0"/>
        </a:defRPr>
      </a:lvl4pPr>
      <a:lvl5pPr algn="l" defTabSz="1218095" rtl="0" eaLnBrk="1" fontAlgn="base" hangingPunct="1">
        <a:spcBef>
          <a:spcPct val="0"/>
        </a:spcBef>
        <a:spcAft>
          <a:spcPct val="0"/>
        </a:spcAft>
        <a:defRPr sz="2584" b="1">
          <a:solidFill>
            <a:schemeClr val="tx2"/>
          </a:solidFill>
          <a:latin typeface="Arial" charset="0"/>
        </a:defRPr>
      </a:lvl5pPr>
      <a:lvl6pPr marL="622005" algn="l" defTabSz="1218095" rtl="0" eaLnBrk="1" fontAlgn="base" hangingPunct="1">
        <a:spcBef>
          <a:spcPct val="0"/>
        </a:spcBef>
        <a:spcAft>
          <a:spcPct val="0"/>
        </a:spcAft>
        <a:defRPr sz="2584" b="1">
          <a:solidFill>
            <a:schemeClr val="tx2"/>
          </a:solidFill>
          <a:latin typeface="Arial" charset="0"/>
        </a:defRPr>
      </a:lvl6pPr>
      <a:lvl7pPr marL="1244012" algn="l" defTabSz="1218095" rtl="0" eaLnBrk="1" fontAlgn="base" hangingPunct="1">
        <a:spcBef>
          <a:spcPct val="0"/>
        </a:spcBef>
        <a:spcAft>
          <a:spcPct val="0"/>
        </a:spcAft>
        <a:defRPr sz="2584" b="1">
          <a:solidFill>
            <a:schemeClr val="tx2"/>
          </a:solidFill>
          <a:latin typeface="Arial" charset="0"/>
        </a:defRPr>
      </a:lvl7pPr>
      <a:lvl8pPr marL="1866017" algn="l" defTabSz="1218095" rtl="0" eaLnBrk="1" fontAlgn="base" hangingPunct="1">
        <a:spcBef>
          <a:spcPct val="0"/>
        </a:spcBef>
        <a:spcAft>
          <a:spcPct val="0"/>
        </a:spcAft>
        <a:defRPr sz="2584" b="1">
          <a:solidFill>
            <a:schemeClr val="tx2"/>
          </a:solidFill>
          <a:latin typeface="Arial" charset="0"/>
        </a:defRPr>
      </a:lvl8pPr>
      <a:lvl9pPr marL="2488024" algn="l" defTabSz="1218095" rtl="0" eaLnBrk="1" fontAlgn="base" hangingPunct="1">
        <a:spcBef>
          <a:spcPct val="0"/>
        </a:spcBef>
        <a:spcAft>
          <a:spcPct val="0"/>
        </a:spcAft>
        <a:defRPr sz="2584" b="1">
          <a:solidFill>
            <a:schemeClr val="tx2"/>
          </a:solidFill>
          <a:latin typeface="Arial" charset="0"/>
        </a:defRPr>
      </a:lvl9pPr>
    </p:titleStyle>
    <p:bodyStyle>
      <a:lvl1pPr marL="0" indent="0" algn="l" defTabSz="913526" rtl="0" eaLnBrk="1" fontAlgn="base" latinLnBrk="0" hangingPunct="1">
        <a:spcBef>
          <a:spcPct val="0"/>
        </a:spcBef>
        <a:spcAft>
          <a:spcPct val="0"/>
        </a:spcAft>
        <a:buClr>
          <a:schemeClr val="tx2"/>
        </a:buClr>
        <a:buSzPct val="100000"/>
        <a:defRPr lang="en-US" sz="1632" baseline="0" dirty="0">
          <a:solidFill>
            <a:schemeClr val="tx1"/>
          </a:solidFill>
          <a:latin typeface="+mn-lt"/>
          <a:ea typeface="+mn-ea"/>
          <a:cs typeface="+mn-cs"/>
        </a:defRPr>
      </a:lvl1pPr>
      <a:lvl2pPr marL="198346" indent="-194673" algn="l" defTabSz="913526" rtl="0" eaLnBrk="1" fontAlgn="base" latinLnBrk="0" hangingPunct="1">
        <a:spcBef>
          <a:spcPct val="0"/>
        </a:spcBef>
        <a:spcAft>
          <a:spcPct val="0"/>
        </a:spcAft>
        <a:buClr>
          <a:schemeClr val="tx2"/>
        </a:buClr>
        <a:buSzPct val="125000"/>
        <a:buFont typeface="Arial" charset="0"/>
        <a:buChar char="▪"/>
        <a:defRPr lang="en-US" sz="1632" baseline="0" dirty="0">
          <a:solidFill>
            <a:schemeClr val="tx1"/>
          </a:solidFill>
          <a:latin typeface="+mn-lt"/>
          <a:ea typeface="+mn-ea"/>
          <a:cs typeface="+mn-cs"/>
        </a:defRPr>
      </a:lvl2pPr>
      <a:lvl3pPr marL="455462" indent="-253443" algn="l" defTabSz="913526" rtl="0" eaLnBrk="1" fontAlgn="base" latinLnBrk="0" hangingPunct="1">
        <a:spcBef>
          <a:spcPct val="0"/>
        </a:spcBef>
        <a:spcAft>
          <a:spcPct val="0"/>
        </a:spcAft>
        <a:buClr>
          <a:schemeClr val="tx2"/>
        </a:buClr>
        <a:buSzPct val="120000"/>
        <a:buFont typeface="Arial" charset="0"/>
        <a:buChar char="–"/>
        <a:defRPr lang="en-US" sz="1632" baseline="0" dirty="0">
          <a:solidFill>
            <a:schemeClr val="tx1"/>
          </a:solidFill>
          <a:latin typeface="+mn-lt"/>
          <a:ea typeface="+mn-ea"/>
          <a:cs typeface="+mn-cs"/>
        </a:defRPr>
      </a:lvl3pPr>
      <a:lvl4pPr marL="628097" indent="-157942" algn="l" defTabSz="913526" rtl="0" eaLnBrk="1" fontAlgn="base" latinLnBrk="0" hangingPunct="1">
        <a:spcBef>
          <a:spcPct val="0"/>
        </a:spcBef>
        <a:spcAft>
          <a:spcPct val="0"/>
        </a:spcAft>
        <a:buClr>
          <a:schemeClr val="tx2"/>
        </a:buClr>
        <a:buSzPct val="120000"/>
        <a:buFont typeface="Arial" charset="0"/>
        <a:buChar char="▫"/>
        <a:defRPr lang="en-US" sz="1632" baseline="0" dirty="0">
          <a:solidFill>
            <a:schemeClr val="tx1"/>
          </a:solidFill>
          <a:latin typeface="+mn-lt"/>
          <a:ea typeface="+mn-ea"/>
          <a:cs typeface="+mn-cs"/>
        </a:defRPr>
      </a:lvl4pPr>
      <a:lvl5pPr marL="764001" indent="-132231" algn="l" defTabSz="913526" rtl="0" eaLnBrk="1" fontAlgn="base" latinLnBrk="0" hangingPunct="1">
        <a:spcBef>
          <a:spcPct val="0"/>
        </a:spcBef>
        <a:spcAft>
          <a:spcPct val="0"/>
        </a:spcAft>
        <a:buClr>
          <a:schemeClr val="tx2"/>
        </a:buClr>
        <a:buSzPct val="89000"/>
        <a:buFont typeface="Arial" charset="0"/>
        <a:buChar char="-"/>
        <a:defRPr lang="en-US" sz="1632" baseline="0" dirty="0">
          <a:solidFill>
            <a:schemeClr val="tx1"/>
          </a:solidFill>
          <a:latin typeface="+mn-lt"/>
          <a:ea typeface="+mn-ea"/>
          <a:cs typeface="+mn-cs"/>
        </a:defRPr>
      </a:lvl5pPr>
      <a:lvl6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6pPr>
      <a:lvl7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7pPr>
      <a:lvl8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8pPr>
      <a:lvl9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9pPr>
    </p:bodyStyle>
    <p:otherStyle>
      <a:defPPr>
        <a:defRPr lang="en-US"/>
      </a:defPPr>
      <a:lvl1pPr marL="0" algn="l" defTabSz="1244012" rtl="0" eaLnBrk="1" latinLnBrk="0" hangingPunct="1">
        <a:defRPr sz="2449" kern="1200">
          <a:solidFill>
            <a:schemeClr val="tx1"/>
          </a:solidFill>
          <a:latin typeface="+mn-lt"/>
          <a:ea typeface="+mn-ea"/>
          <a:cs typeface="+mn-cs"/>
        </a:defRPr>
      </a:lvl1pPr>
      <a:lvl2pPr marL="622005" algn="l" defTabSz="1244012" rtl="0" eaLnBrk="1" latinLnBrk="0" hangingPunct="1">
        <a:defRPr sz="2449" kern="1200">
          <a:solidFill>
            <a:schemeClr val="tx1"/>
          </a:solidFill>
          <a:latin typeface="+mn-lt"/>
          <a:ea typeface="+mn-ea"/>
          <a:cs typeface="+mn-cs"/>
        </a:defRPr>
      </a:lvl2pPr>
      <a:lvl3pPr marL="1244012" algn="l" defTabSz="1244012" rtl="0" eaLnBrk="1" latinLnBrk="0" hangingPunct="1">
        <a:defRPr sz="2449" kern="1200">
          <a:solidFill>
            <a:schemeClr val="tx1"/>
          </a:solidFill>
          <a:latin typeface="+mn-lt"/>
          <a:ea typeface="+mn-ea"/>
          <a:cs typeface="+mn-cs"/>
        </a:defRPr>
      </a:lvl3pPr>
      <a:lvl4pPr marL="1866017" algn="l" defTabSz="1244012" rtl="0" eaLnBrk="1" latinLnBrk="0" hangingPunct="1">
        <a:defRPr sz="2449" kern="1200">
          <a:solidFill>
            <a:schemeClr val="tx1"/>
          </a:solidFill>
          <a:latin typeface="+mn-lt"/>
          <a:ea typeface="+mn-ea"/>
          <a:cs typeface="+mn-cs"/>
        </a:defRPr>
      </a:lvl4pPr>
      <a:lvl5pPr marL="2488024" algn="l" defTabSz="1244012" rtl="0" eaLnBrk="1" latinLnBrk="0" hangingPunct="1">
        <a:defRPr sz="2449" kern="1200">
          <a:solidFill>
            <a:schemeClr val="tx1"/>
          </a:solidFill>
          <a:latin typeface="+mn-lt"/>
          <a:ea typeface="+mn-ea"/>
          <a:cs typeface="+mn-cs"/>
        </a:defRPr>
      </a:lvl5pPr>
      <a:lvl6pPr marL="3110029" algn="l" defTabSz="1244012" rtl="0" eaLnBrk="1" latinLnBrk="0" hangingPunct="1">
        <a:defRPr sz="2449" kern="1200">
          <a:solidFill>
            <a:schemeClr val="tx1"/>
          </a:solidFill>
          <a:latin typeface="+mn-lt"/>
          <a:ea typeface="+mn-ea"/>
          <a:cs typeface="+mn-cs"/>
        </a:defRPr>
      </a:lvl6pPr>
      <a:lvl7pPr marL="3732036" algn="l" defTabSz="1244012" rtl="0" eaLnBrk="1" latinLnBrk="0" hangingPunct="1">
        <a:defRPr sz="2449" kern="1200">
          <a:solidFill>
            <a:schemeClr val="tx1"/>
          </a:solidFill>
          <a:latin typeface="+mn-lt"/>
          <a:ea typeface="+mn-ea"/>
          <a:cs typeface="+mn-cs"/>
        </a:defRPr>
      </a:lvl7pPr>
      <a:lvl8pPr marL="4354041" algn="l" defTabSz="1244012" rtl="0" eaLnBrk="1" latinLnBrk="0" hangingPunct="1">
        <a:defRPr sz="2449" kern="1200">
          <a:solidFill>
            <a:schemeClr val="tx1"/>
          </a:solidFill>
          <a:latin typeface="+mn-lt"/>
          <a:ea typeface="+mn-ea"/>
          <a:cs typeface="+mn-cs"/>
        </a:defRPr>
      </a:lvl8pPr>
      <a:lvl9pPr marL="4976048" algn="l" defTabSz="1244012" rtl="0" eaLnBrk="1" latinLnBrk="0" hangingPunct="1">
        <a:defRPr sz="244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20" imgW="270" imgH="270" progId="TCLayout.ActiveDocument.1">
                  <p:embed/>
                </p:oleObj>
              </mc:Choice>
              <mc:Fallback>
                <p:oleObj name="think-cell Slide" r:id="rId20" imgW="270" imgH="270" progId="TCLayout.ActiveDocument.1">
                  <p:embed/>
                  <p:pic>
                    <p:nvPicPr>
                      <p:cNvPr id="2" name="Object 1" hidden="1"/>
                      <p:cNvPicPr/>
                      <p:nvPr/>
                    </p:nvPicPr>
                    <p:blipFill>
                      <a:blip r:embed="rId21"/>
                      <a:stretch>
                        <a:fillRect/>
                      </a:stretch>
                    </p:blipFill>
                    <p:spPr>
                      <a:xfrm>
                        <a:off x="0" y="0"/>
                        <a:ext cx="215979" cy="161974"/>
                      </a:xfrm>
                      <a:prstGeom prst="rect">
                        <a:avLst/>
                      </a:prstGeom>
                    </p:spPr>
                  </p:pic>
                </p:oleObj>
              </mc:Fallback>
            </mc:AlternateContent>
          </a:graphicData>
        </a:graphic>
      </p:graphicFrame>
      <p:sp>
        <p:nvSpPr>
          <p:cNvPr id="6" name="Rectangle 5" hidden="1"/>
          <p:cNvSpPr/>
          <p:nvPr userDrawn="1">
            <p:custDataLst>
              <p:tags r:id="rId4"/>
            </p:custDataLst>
          </p:nvPr>
        </p:nvSpPr>
        <p:spPr bwMode="auto">
          <a:xfrm>
            <a:off x="0"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en-US" sz="2176" b="0" i="0" baseline="0" dirty="0">
              <a:solidFill>
                <a:schemeClr val="tx1"/>
              </a:solidFill>
              <a:latin typeface="Arial" panose="020B0604020202020204" pitchFamily="34" charset="0"/>
              <a:ea typeface="+mn-ea"/>
              <a:cs typeface="+mn-cs"/>
              <a:sym typeface="Arial" panose="020B0604020202020204" pitchFamily="34" charset="0"/>
            </a:endParaRPr>
          </a:p>
        </p:txBody>
      </p:sp>
      <p:sp>
        <p:nvSpPr>
          <p:cNvPr id="1033" name="doc id" hidden="1"/>
          <p:cNvSpPr>
            <a:spLocks noChangeArrowheads="1"/>
          </p:cNvSpPr>
          <p:nvPr/>
        </p:nvSpPr>
        <p:spPr bwMode="gray">
          <a:xfrm flipH="1">
            <a:off x="10658002" y="51835"/>
            <a:ext cx="1231563" cy="96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8095"/>
            <a:endParaRPr lang="en-US" sz="612" baseline="0" noProof="0" dirty="0">
              <a:solidFill>
                <a:schemeClr val="accent6"/>
              </a:solidFill>
              <a:latin typeface="+mn-lt"/>
              <a:ea typeface="+mn-ea"/>
            </a:endParaRPr>
          </a:p>
        </p:txBody>
      </p:sp>
      <p:sp>
        <p:nvSpPr>
          <p:cNvPr id="1034" name="Working Draft" hidden="1"/>
          <p:cNvSpPr txBox="1">
            <a:spLocks noChangeArrowheads="1"/>
          </p:cNvSpPr>
          <p:nvPr/>
        </p:nvSpPr>
        <p:spPr bwMode="gray">
          <a:xfrm rot="5400000">
            <a:off x="11064116" y="1979060"/>
            <a:ext cx="2065716" cy="96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612" baseline="0" noProof="0" dirty="0">
                <a:solidFill>
                  <a:schemeClr val="accent6"/>
                </a:solidFill>
                <a:latin typeface="+mn-lt"/>
                <a:ea typeface="+mn-ea"/>
              </a:rPr>
              <a:t>Last Modified 7/13/2021 10:39 AM Eastern Standard Time</a:t>
            </a:r>
          </a:p>
        </p:txBody>
      </p:sp>
      <p:sp>
        <p:nvSpPr>
          <p:cNvPr id="1035" name="Printed" hidden="1"/>
          <p:cNvSpPr txBox="1">
            <a:spLocks noChangeArrowheads="1"/>
          </p:cNvSpPr>
          <p:nvPr/>
        </p:nvSpPr>
        <p:spPr bwMode="gray">
          <a:xfrm rot="5400000">
            <a:off x="11175331" y="4197040"/>
            <a:ext cx="1843280" cy="96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612" baseline="0" noProof="0" dirty="0">
                <a:solidFill>
                  <a:schemeClr val="accent6"/>
                </a:solidFill>
                <a:latin typeface="+mn-lt"/>
                <a:ea typeface="+mn-ea"/>
              </a:rPr>
              <a:t>Printed 12/16/2020 8:01 AM Eastern Standard Time</a:t>
            </a:r>
          </a:p>
        </p:txBody>
      </p:sp>
      <p:sp>
        <p:nvSpPr>
          <p:cNvPr id="19" name="Title Placeholder 2"/>
          <p:cNvSpPr>
            <a:spLocks noGrp="1" noChangeArrowheads="1"/>
          </p:cNvSpPr>
          <p:nvPr>
            <p:ph type="title"/>
          </p:nvPr>
        </p:nvSpPr>
        <p:spPr bwMode="gray">
          <a:xfrm>
            <a:off x="161987" y="234865"/>
            <a:ext cx="11725484"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endParaRPr lang="en-US" noProof="0" dirty="0"/>
          </a:p>
        </p:txBody>
      </p:sp>
      <p:sp>
        <p:nvSpPr>
          <p:cNvPr id="10" name="1. On-page tracker" hidden="1"/>
          <p:cNvSpPr>
            <a:spLocks noChangeArrowheads="1"/>
          </p:cNvSpPr>
          <p:nvPr userDrawn="1"/>
        </p:nvSpPr>
        <p:spPr bwMode="gray">
          <a:xfrm>
            <a:off x="161985" y="77303"/>
            <a:ext cx="511939"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16" cap="all" baseline="0" noProof="0" dirty="0">
                <a:solidFill>
                  <a:schemeClr val="accent6"/>
                </a:solidFill>
                <a:latin typeface="+mn-lt"/>
                <a:ea typeface="+mn-ea"/>
              </a:rPr>
              <a:t>Tracker</a:t>
            </a:r>
          </a:p>
        </p:txBody>
      </p:sp>
      <p:sp>
        <p:nvSpPr>
          <p:cNvPr id="11" name="3. Unit of measure" hidden="1"/>
          <p:cNvSpPr txBox="1">
            <a:spLocks noChangeArrowheads="1"/>
          </p:cNvSpPr>
          <p:nvPr userDrawn="1"/>
        </p:nvSpPr>
        <p:spPr bwMode="gray">
          <a:xfrm>
            <a:off x="161987" y="566136"/>
            <a:ext cx="11725484" cy="256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32" baseline="0" noProof="0" dirty="0">
                <a:solidFill>
                  <a:schemeClr val="accent6"/>
                </a:solidFill>
                <a:latin typeface="+mn-lt"/>
                <a:ea typeface="+mn-ea"/>
              </a:rPr>
              <a:t>CLIENT</a:t>
            </a:r>
          </a:p>
        </p:txBody>
      </p:sp>
      <p:sp>
        <p:nvSpPr>
          <p:cNvPr id="13" name="4. Footnote" hidden="1"/>
          <p:cNvSpPr txBox="1">
            <a:spLocks noChangeArrowheads="1"/>
          </p:cNvSpPr>
          <p:nvPr/>
        </p:nvSpPr>
        <p:spPr bwMode="gray">
          <a:xfrm>
            <a:off x="161985" y="6432273"/>
            <a:ext cx="11630454"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7465" indent="-87465">
              <a:defRPr/>
            </a:pPr>
            <a:r>
              <a:rPr lang="en-US" sz="816" baseline="0" noProof="0" dirty="0">
                <a:solidFill>
                  <a:schemeClr val="accent6"/>
                </a:solidFill>
                <a:latin typeface="+mn-lt"/>
                <a:ea typeface="+mn-ea"/>
              </a:rPr>
              <a:t>1 Footnote</a:t>
            </a:r>
          </a:p>
        </p:txBody>
      </p:sp>
      <p:sp>
        <p:nvSpPr>
          <p:cNvPr id="14" name="5. Source" hidden="1"/>
          <p:cNvSpPr>
            <a:spLocks noChangeArrowheads="1"/>
          </p:cNvSpPr>
          <p:nvPr/>
        </p:nvSpPr>
        <p:spPr bwMode="gray">
          <a:xfrm>
            <a:off x="161985" y="6637982"/>
            <a:ext cx="10155320"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03735" indent="-503735" defTabSz="1218095">
              <a:tabLst/>
            </a:pPr>
            <a:r>
              <a:rPr lang="en-US" sz="816" baseline="0" noProof="0" dirty="0">
                <a:solidFill>
                  <a:schemeClr val="accent6"/>
                </a:solidFill>
                <a:latin typeface="+mn-lt"/>
                <a:ea typeface="+mn-ea"/>
              </a:rPr>
              <a:t>SOURCE: Source</a:t>
            </a:r>
          </a:p>
        </p:txBody>
      </p:sp>
      <p:grpSp>
        <p:nvGrpSpPr>
          <p:cNvPr id="15" name="ACET" hidden="1"/>
          <p:cNvGrpSpPr>
            <a:grpSpLocks/>
          </p:cNvGrpSpPr>
          <p:nvPr userDrawn="1"/>
        </p:nvGrpSpPr>
        <p:grpSpPr bwMode="gray">
          <a:xfrm>
            <a:off x="1976207" y="1270343"/>
            <a:ext cx="5801188" cy="531276"/>
            <a:chOff x="915" y="702"/>
            <a:chExt cx="2686" cy="328"/>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32" b="1" baseline="0" noProof="0" dirty="0">
                  <a:latin typeface="+mn-lt"/>
                  <a:ea typeface="+mn-ea"/>
                </a:rPr>
                <a:t>Title</a:t>
              </a:r>
            </a:p>
            <a:p>
              <a:r>
                <a:rPr lang="en-US" sz="1632" baseline="0" noProof="0" dirty="0">
                  <a:solidFill>
                    <a:schemeClr val="accent6"/>
                  </a:solidFill>
                  <a:latin typeface="+mn-lt"/>
                  <a:ea typeface="+mn-ea"/>
                </a:rPr>
                <a:t>Unit of measure</a:t>
              </a:r>
            </a:p>
          </p:txBody>
        </p:sp>
      </p:grpSp>
      <p:grpSp>
        <p:nvGrpSpPr>
          <p:cNvPr id="17" name="Sticker" hidden="1"/>
          <p:cNvGrpSpPr/>
          <p:nvPr userDrawn="1"/>
        </p:nvGrpSpPr>
        <p:grpSpPr bwMode="gray">
          <a:xfrm>
            <a:off x="11394692" y="291554"/>
            <a:ext cx="492770" cy="156360"/>
            <a:chOff x="8378576" y="285750"/>
            <a:chExt cx="362199" cy="153247"/>
          </a:xfrm>
        </p:grpSpPr>
        <p:sp>
          <p:nvSpPr>
            <p:cNvPr id="20" name="StickerRectangle"/>
            <p:cNvSpPr>
              <a:spLocks noChangeArrowheads="1"/>
            </p:cNvSpPr>
            <p:nvPr/>
          </p:nvSpPr>
          <p:spPr bwMode="gray">
            <a:xfrm>
              <a:off x="8378576" y="285750"/>
              <a:ext cx="362199" cy="15324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1218095">
                <a:buClr>
                  <a:schemeClr val="tx2"/>
                </a:buClr>
              </a:pPr>
              <a:r>
                <a:rPr lang="en-US" sz="816"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38578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385789" y="436561"/>
              <a:ext cx="35498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23" name="LegendBoxes" hidden="1"/>
          <p:cNvGrpSpPr/>
          <p:nvPr userDrawn="1"/>
        </p:nvGrpSpPr>
        <p:grpSpPr bwMode="gray">
          <a:xfrm>
            <a:off x="11108191" y="285075"/>
            <a:ext cx="789093" cy="1021522"/>
            <a:chOff x="7835905" y="279400"/>
            <a:chExt cx="773373" cy="1001186"/>
          </a:xfrm>
        </p:grpSpPr>
        <p:sp>
          <p:nvSpPr>
            <p:cNvPr id="24" name="RectangleLegend1"/>
            <p:cNvSpPr>
              <a:spLocks noChangeArrowheads="1"/>
            </p:cNvSpPr>
            <p:nvPr/>
          </p:nvSpPr>
          <p:spPr bwMode="gray">
            <a:xfrm>
              <a:off x="7835905" y="290513"/>
              <a:ext cx="165100" cy="160338"/>
            </a:xfrm>
            <a:prstGeom prst="rect">
              <a:avLst/>
            </a:prstGeom>
            <a:solidFill>
              <a:schemeClr val="accent1"/>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25" name="RectangleLegend2"/>
            <p:cNvSpPr>
              <a:spLocks noChangeArrowheads="1"/>
            </p:cNvSpPr>
            <p:nvPr/>
          </p:nvSpPr>
          <p:spPr bwMode="gray">
            <a:xfrm>
              <a:off x="7835905" y="560388"/>
              <a:ext cx="165100" cy="160338"/>
            </a:xfrm>
            <a:prstGeom prst="rect">
              <a:avLst/>
            </a:prstGeom>
            <a:solidFill>
              <a:schemeClr val="accent2"/>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26" name="RectangleLegend3"/>
            <p:cNvSpPr>
              <a:spLocks noChangeArrowheads="1"/>
            </p:cNvSpPr>
            <p:nvPr/>
          </p:nvSpPr>
          <p:spPr bwMode="gray">
            <a:xfrm>
              <a:off x="7835905" y="831851"/>
              <a:ext cx="165100" cy="160338"/>
            </a:xfrm>
            <a:prstGeom prst="rect">
              <a:avLst/>
            </a:prstGeom>
            <a:solidFill>
              <a:schemeClr val="accent3"/>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27" name="RectangleLegend4"/>
            <p:cNvSpPr>
              <a:spLocks noChangeArrowheads="1"/>
            </p:cNvSpPr>
            <p:nvPr/>
          </p:nvSpPr>
          <p:spPr bwMode="gray">
            <a:xfrm>
              <a:off x="7835905" y="1103313"/>
              <a:ext cx="165100" cy="160338"/>
            </a:xfrm>
            <a:prstGeom prst="rect">
              <a:avLst/>
            </a:prstGeom>
            <a:solidFill>
              <a:schemeClr val="accent4"/>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28" name="Legend1"/>
            <p:cNvSpPr>
              <a:spLocks noChangeArrowheads="1"/>
            </p:cNvSpPr>
            <p:nvPr/>
          </p:nvSpPr>
          <p:spPr bwMode="gray">
            <a:xfrm>
              <a:off x="8089905" y="27940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29" name="Legend2"/>
            <p:cNvSpPr>
              <a:spLocks noChangeArrowheads="1"/>
            </p:cNvSpPr>
            <p:nvPr/>
          </p:nvSpPr>
          <p:spPr bwMode="gray">
            <a:xfrm>
              <a:off x="8089905" y="549275"/>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30" name="Legend3"/>
            <p:cNvSpPr>
              <a:spLocks noChangeArrowheads="1"/>
            </p:cNvSpPr>
            <p:nvPr/>
          </p:nvSpPr>
          <p:spPr bwMode="gray">
            <a:xfrm>
              <a:off x="8089905" y="820738"/>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31" name="Legend4"/>
            <p:cNvSpPr>
              <a:spLocks noChangeArrowheads="1"/>
            </p:cNvSpPr>
            <p:nvPr/>
          </p:nvSpPr>
          <p:spPr bwMode="gray">
            <a:xfrm>
              <a:off x="8089905" y="1092201"/>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grpSp>
      <p:grpSp>
        <p:nvGrpSpPr>
          <p:cNvPr id="32" name="LegendLines" hidden="1"/>
          <p:cNvGrpSpPr/>
          <p:nvPr userDrawn="1"/>
        </p:nvGrpSpPr>
        <p:grpSpPr bwMode="gray">
          <a:xfrm>
            <a:off x="10794126" y="285075"/>
            <a:ext cx="1103328" cy="749405"/>
            <a:chOff x="7540629" y="279400"/>
            <a:chExt cx="1081348" cy="734486"/>
          </a:xfrm>
        </p:grpSpPr>
        <p:sp>
          <p:nvSpPr>
            <p:cNvPr id="33"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837" baseline="0" dirty="0">
                <a:latin typeface="+mn-lt"/>
                <a:ea typeface="+mn-ea"/>
              </a:endParaRPr>
            </a:p>
          </p:txBody>
        </p:sp>
        <p:sp>
          <p:nvSpPr>
            <p:cNvPr id="34"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837" baseline="0" dirty="0">
                <a:latin typeface="+mn-lt"/>
                <a:ea typeface="+mn-ea"/>
              </a:endParaRPr>
            </a:p>
          </p:txBody>
        </p:sp>
        <p:sp>
          <p:nvSpPr>
            <p:cNvPr id="35"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837" baseline="0" dirty="0">
                <a:latin typeface="+mn-lt"/>
                <a:ea typeface="+mn-ea"/>
              </a:endParaRPr>
            </a:p>
          </p:txBody>
        </p:sp>
        <p:sp>
          <p:nvSpPr>
            <p:cNvPr id="36" name="Legend1"/>
            <p:cNvSpPr>
              <a:spLocks noChangeArrowheads="1"/>
            </p:cNvSpPr>
            <p:nvPr/>
          </p:nvSpPr>
          <p:spPr bwMode="gray">
            <a:xfrm>
              <a:off x="8102604" y="27940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37" name="Legend2"/>
            <p:cNvSpPr>
              <a:spLocks noChangeArrowheads="1"/>
            </p:cNvSpPr>
            <p:nvPr/>
          </p:nvSpPr>
          <p:spPr bwMode="gray">
            <a:xfrm>
              <a:off x="8102604" y="54610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38" name="Legend3"/>
            <p:cNvSpPr>
              <a:spLocks noChangeArrowheads="1"/>
            </p:cNvSpPr>
            <p:nvPr/>
          </p:nvSpPr>
          <p:spPr bwMode="gray">
            <a:xfrm>
              <a:off x="8102604" y="825501"/>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grpSp>
      <p:grpSp>
        <p:nvGrpSpPr>
          <p:cNvPr id="39" name="LegendMoons" hidden="1"/>
          <p:cNvGrpSpPr/>
          <p:nvPr userDrawn="1"/>
        </p:nvGrpSpPr>
        <p:grpSpPr bwMode="gray">
          <a:xfrm>
            <a:off x="11040160" y="255920"/>
            <a:ext cx="857123" cy="1333054"/>
            <a:chOff x="7769225" y="250825"/>
            <a:chExt cx="840048" cy="1306516"/>
          </a:xfrm>
        </p:grpSpPr>
        <p:grpSp>
          <p:nvGrpSpPr>
            <p:cNvPr id="40" name="MoonLegend1"/>
            <p:cNvGrpSpPr>
              <a:grpSpLocks noChangeAspect="1"/>
            </p:cNvGrpSpPr>
            <p:nvPr>
              <p:custDataLst>
                <p:tags r:id="rId5"/>
              </p:custDataLst>
            </p:nvPr>
          </p:nvGrpSpPr>
          <p:grpSpPr bwMode="gray">
            <a:xfrm>
              <a:off x="7769225" y="250825"/>
              <a:ext cx="209550" cy="209551"/>
              <a:chOff x="4533" y="183"/>
              <a:chExt cx="144" cy="144"/>
            </a:xfrm>
          </p:grpSpPr>
          <p:sp>
            <p:nvSpPr>
              <p:cNvPr id="58" name="Oval 38"/>
              <p:cNvSpPr>
                <a:spLocks noChangeAspect="1" noChangeArrowheads="1"/>
              </p:cNvSpPr>
              <p:nvPr>
                <p:custDataLst>
                  <p:tags r:id="rId18"/>
                </p:custDataLst>
              </p:nvPr>
            </p:nvSpPr>
            <p:spPr bwMode="gray">
              <a:xfrm>
                <a:off x="4533" y="183"/>
                <a:ext cx="144" cy="144"/>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59" name="Arc 39"/>
              <p:cNvSpPr>
                <a:spLocks noChangeAspect="1"/>
              </p:cNvSpPr>
              <p:nvPr>
                <p:custDataLst>
                  <p:tags r:id="rId19"/>
                </p:custDataLst>
              </p:nvPr>
            </p:nvSpPr>
            <p:spPr bwMode="gray">
              <a:xfrm>
                <a:off x="4533" y="183"/>
                <a:ext cx="144" cy="144"/>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grpSp>
        <p:grpSp>
          <p:nvGrpSpPr>
            <p:cNvPr id="41" name="MoonLegend2"/>
            <p:cNvGrpSpPr>
              <a:grpSpLocks noChangeAspect="1"/>
            </p:cNvGrpSpPr>
            <p:nvPr>
              <p:custDataLst>
                <p:tags r:id="rId6"/>
              </p:custDataLst>
            </p:nvPr>
          </p:nvGrpSpPr>
          <p:grpSpPr bwMode="gray">
            <a:xfrm>
              <a:off x="7769225" y="525066"/>
              <a:ext cx="209550" cy="209551"/>
              <a:chOff x="1694" y="2044"/>
              <a:chExt cx="160" cy="160"/>
            </a:xfrm>
          </p:grpSpPr>
          <p:sp>
            <p:nvSpPr>
              <p:cNvPr id="56" name="Oval 41"/>
              <p:cNvSpPr>
                <a:spLocks noChangeAspect="1" noChangeArrowheads="1"/>
              </p:cNvSpPr>
              <p:nvPr>
                <p:custDataLst>
                  <p:tags r:id="rId16"/>
                </p:custDataLst>
              </p:nvPr>
            </p:nvSpPr>
            <p:spPr bwMode="gray">
              <a:xfrm>
                <a:off x="1694" y="2044"/>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57" name="Arc 42"/>
              <p:cNvSpPr>
                <a:spLocks noChangeAspect="1"/>
              </p:cNvSpPr>
              <p:nvPr>
                <p:custDataLst>
                  <p:tags r:id="rId17"/>
                </p:custDataLst>
              </p:nvPr>
            </p:nvSpPr>
            <p:spPr bwMode="gray">
              <a:xfrm>
                <a:off x="1694" y="2044"/>
                <a:ext cx="160" cy="160"/>
              </a:xfrm>
              <a:prstGeom prst="arc">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grpSp>
        <p:grpSp>
          <p:nvGrpSpPr>
            <p:cNvPr id="42" name="MoonLegend4"/>
            <p:cNvGrpSpPr>
              <a:grpSpLocks noChangeAspect="1"/>
            </p:cNvGrpSpPr>
            <p:nvPr>
              <p:custDataLst>
                <p:tags r:id="rId7"/>
              </p:custDataLst>
            </p:nvPr>
          </p:nvGrpSpPr>
          <p:grpSpPr bwMode="gray">
            <a:xfrm>
              <a:off x="7769225" y="1073548"/>
              <a:ext cx="209550" cy="209551"/>
              <a:chOff x="4495" y="1198"/>
              <a:chExt cx="160" cy="160"/>
            </a:xfrm>
          </p:grpSpPr>
          <p:sp>
            <p:nvSpPr>
              <p:cNvPr id="54"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55" name="Arc 48"/>
              <p:cNvSpPr>
                <a:spLocks noChangeAspect="1"/>
              </p:cNvSpPr>
              <p:nvPr>
                <p:custDataLst>
                  <p:tags r:id="rId15"/>
                </p:custDataLst>
              </p:nvPr>
            </p:nvSpPr>
            <p:spPr bwMode="gray">
              <a:xfrm>
                <a:off x="4495" y="1198"/>
                <a:ext cx="160" cy="160"/>
              </a:xfrm>
              <a:prstGeom prst="arc">
                <a:avLst>
                  <a:gd name="adj1" fmla="val 16200000"/>
                  <a:gd name="adj2" fmla="val 108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grpSp>
        <p:grpSp>
          <p:nvGrpSpPr>
            <p:cNvPr id="43" name="MoonLegend5"/>
            <p:cNvGrpSpPr>
              <a:grpSpLocks noChangeAspect="1"/>
            </p:cNvGrpSpPr>
            <p:nvPr>
              <p:custDataLst>
                <p:tags r:id="rId8"/>
              </p:custDataLst>
            </p:nvPr>
          </p:nvGrpSpPr>
          <p:grpSpPr bwMode="gray">
            <a:xfrm>
              <a:off x="7769225" y="1347790"/>
              <a:ext cx="209550" cy="209551"/>
              <a:chOff x="4495" y="1440"/>
              <a:chExt cx="160" cy="160"/>
            </a:xfrm>
          </p:grpSpPr>
          <p:sp>
            <p:nvSpPr>
              <p:cNvPr id="52" name="Oval 50"/>
              <p:cNvSpPr>
                <a:spLocks noChangeAspect="1" noChangeArrowheads="1"/>
              </p:cNvSpPr>
              <p:nvPr>
                <p:custDataLst>
                  <p:tags r:id="rId12"/>
                </p:custDataLst>
              </p:nvPr>
            </p:nvSpPr>
            <p:spPr bwMode="gray">
              <a:xfrm>
                <a:off x="4495" y="1440"/>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53" name="Oval 51"/>
              <p:cNvSpPr>
                <a:spLocks noChangeAspect="1" noChangeArrowheads="1"/>
              </p:cNvSpPr>
              <p:nvPr>
                <p:custDataLst>
                  <p:tags r:id="rId13"/>
                </p:custDataLst>
              </p:nvPr>
            </p:nvSpPr>
            <p:spPr bwMode="gray">
              <a:xfrm>
                <a:off x="4495" y="1440"/>
                <a:ext cx="160" cy="160"/>
              </a:xfrm>
              <a:prstGeom prst="arc">
                <a:avLst>
                  <a:gd name="adj1" fmla="val 16200000"/>
                  <a:gd name="adj2" fmla="val 162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grpSp>
        <p:grpSp>
          <p:nvGrpSpPr>
            <p:cNvPr id="44" name="MoonLegend3"/>
            <p:cNvGrpSpPr>
              <a:grpSpLocks noChangeAspect="1"/>
            </p:cNvGrpSpPr>
            <p:nvPr>
              <p:custDataLst>
                <p:tags r:id="rId9"/>
              </p:custDataLst>
            </p:nvPr>
          </p:nvGrpSpPr>
          <p:grpSpPr bwMode="gray">
            <a:xfrm>
              <a:off x="7769225" y="799307"/>
              <a:ext cx="209550" cy="209551"/>
              <a:chOff x="4495" y="1198"/>
              <a:chExt cx="160" cy="160"/>
            </a:xfrm>
          </p:grpSpPr>
          <p:sp>
            <p:nvSpPr>
              <p:cNvPr id="50" name="Oval 47"/>
              <p:cNvSpPr>
                <a:spLocks noChangeAspect="1" noChangeArrowheads="1"/>
              </p:cNvSpPr>
              <p:nvPr>
                <p:custDataLst>
                  <p:tags r:id="rId10"/>
                </p:custDataLst>
              </p:nvPr>
            </p:nvSpPr>
            <p:spPr bwMode="gray">
              <a:xfrm>
                <a:off x="4495" y="1198"/>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51" name="Arc 48"/>
              <p:cNvSpPr>
                <a:spLocks noChangeAspect="1"/>
              </p:cNvSpPr>
              <p:nvPr>
                <p:custDataLst>
                  <p:tags r:id="rId11"/>
                </p:custDataLst>
              </p:nvPr>
            </p:nvSpPr>
            <p:spPr bwMode="gray">
              <a:xfrm>
                <a:off x="4495" y="1198"/>
                <a:ext cx="160" cy="160"/>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grpSp>
        <p:sp>
          <p:nvSpPr>
            <p:cNvPr id="45" name="Legend1"/>
            <p:cNvSpPr>
              <a:spLocks noChangeArrowheads="1"/>
            </p:cNvSpPr>
            <p:nvPr/>
          </p:nvSpPr>
          <p:spPr bwMode="gray">
            <a:xfrm>
              <a:off x="8089900" y="263525"/>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46" name="Legend2"/>
            <p:cNvSpPr>
              <a:spLocks noChangeArrowheads="1"/>
            </p:cNvSpPr>
            <p:nvPr/>
          </p:nvSpPr>
          <p:spPr bwMode="gray">
            <a:xfrm>
              <a:off x="8089900" y="538163"/>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47" name="Legend3"/>
            <p:cNvSpPr>
              <a:spLocks noChangeArrowheads="1"/>
            </p:cNvSpPr>
            <p:nvPr/>
          </p:nvSpPr>
          <p:spPr bwMode="gray">
            <a:xfrm>
              <a:off x="8089900" y="812802"/>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48" name="Legend4"/>
            <p:cNvSpPr>
              <a:spLocks noChangeArrowheads="1"/>
            </p:cNvSpPr>
            <p:nvPr/>
          </p:nvSpPr>
          <p:spPr bwMode="gray">
            <a:xfrm>
              <a:off x="8089900" y="1084265"/>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49" name="Legend5"/>
            <p:cNvSpPr>
              <a:spLocks noChangeArrowheads="1"/>
            </p:cNvSpPr>
            <p:nvPr/>
          </p:nvSpPr>
          <p:spPr bwMode="gray">
            <a:xfrm>
              <a:off x="8089900" y="1360490"/>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grpSp>
      <p:sp>
        <p:nvSpPr>
          <p:cNvPr id="60" name="SlideBottomBar" hidden="1"/>
          <p:cNvSpPr/>
          <p:nvPr userDrawn="1"/>
        </p:nvSpPr>
        <p:spPr>
          <a:xfrm>
            <a:off x="12003218" y="6639739"/>
            <a:ext cx="46648" cy="126340"/>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7" baseline="0" dirty="0">
              <a:solidFill>
                <a:schemeClr val="tx1"/>
              </a:solidFill>
              <a:latin typeface="+mn-lt"/>
              <a:ea typeface="+mn-ea"/>
            </a:endParaRPr>
          </a:p>
        </p:txBody>
      </p:sp>
      <p:sp>
        <p:nvSpPr>
          <p:cNvPr id="61" name="Text Placeholder 2"/>
          <p:cNvSpPr>
            <a:spLocks noGrp="1"/>
          </p:cNvSpPr>
          <p:nvPr userDrawn="1">
            <p:ph type="body" idx="1"/>
          </p:nvPr>
        </p:nvSpPr>
        <p:spPr bwMode="gray">
          <a:xfrm>
            <a:off x="1482091" y="1991016"/>
            <a:ext cx="4389573" cy="1346156"/>
          </a:xfrm>
          <a:prstGeom prst="rect">
            <a:avLst/>
          </a:prstGeom>
        </p:spPr>
        <p:txBody>
          <a:bodyPr vert="horz" lIns="0" tIns="0" rIns="0" bIns="0" rtlCol="0">
            <a:noAutofit/>
          </a:bodyPr>
          <a:lstStyle/>
          <a:p>
            <a:pPr lvl="0" latinLnBrk="0"/>
            <a:r>
              <a:rPr lang="en-US"/>
              <a:t>Click to 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spTree>
    <p:extLst>
      <p:ext uri="{BB962C8B-B14F-4D97-AF65-F5344CB8AC3E}">
        <p14:creationId xmlns:p14="http://schemas.microsoft.com/office/powerpoint/2010/main" val="1504037509"/>
      </p:ext>
    </p:extLst>
  </p:cSld>
  <p:clrMap bg1="lt1" tx1="dk1" bg2="lt2" tx2="dk2" accent1="accent1" accent2="accent2" accent3="accent3" accent4="accent4" accent5="accent5" accent6="accent6" hlink="hlink" folHlink="folHlink"/>
  <p:sldLayoutIdLst>
    <p:sldLayoutId id="2147483682" r:id="rId1"/>
  </p:sldLayoutIdLst>
  <p:hf hdr="0" ftr="0" dt="0"/>
  <p:txStyles>
    <p:titleStyle>
      <a:lvl1pPr algn="l" defTabSz="1218095" rtl="0" eaLnBrk="1" fontAlgn="base" hangingPunct="1">
        <a:spcBef>
          <a:spcPct val="0"/>
        </a:spcBef>
        <a:spcAft>
          <a:spcPct val="0"/>
        </a:spcAft>
        <a:tabLst>
          <a:tab pos="367156" algn="l"/>
        </a:tabLst>
        <a:defRPr sz="2041" b="0" baseline="0">
          <a:solidFill>
            <a:schemeClr val="tx1"/>
          </a:solidFill>
          <a:latin typeface="+mj-lt"/>
          <a:ea typeface="+mj-ea"/>
          <a:cs typeface="+mj-cs"/>
        </a:defRPr>
      </a:lvl1pPr>
      <a:lvl2pPr algn="l" defTabSz="1218095" rtl="0" eaLnBrk="1" fontAlgn="base" hangingPunct="1">
        <a:spcBef>
          <a:spcPct val="0"/>
        </a:spcBef>
        <a:spcAft>
          <a:spcPct val="0"/>
        </a:spcAft>
        <a:defRPr sz="2584" b="1">
          <a:solidFill>
            <a:schemeClr val="tx2"/>
          </a:solidFill>
          <a:latin typeface="Arial" charset="0"/>
        </a:defRPr>
      </a:lvl2pPr>
      <a:lvl3pPr algn="l" defTabSz="1218095" rtl="0" eaLnBrk="1" fontAlgn="base" hangingPunct="1">
        <a:spcBef>
          <a:spcPct val="0"/>
        </a:spcBef>
        <a:spcAft>
          <a:spcPct val="0"/>
        </a:spcAft>
        <a:defRPr sz="2584" b="1">
          <a:solidFill>
            <a:schemeClr val="tx2"/>
          </a:solidFill>
          <a:latin typeface="Arial" charset="0"/>
        </a:defRPr>
      </a:lvl3pPr>
      <a:lvl4pPr algn="l" defTabSz="1218095" rtl="0" eaLnBrk="1" fontAlgn="base" hangingPunct="1">
        <a:spcBef>
          <a:spcPct val="0"/>
        </a:spcBef>
        <a:spcAft>
          <a:spcPct val="0"/>
        </a:spcAft>
        <a:defRPr sz="2584" b="1">
          <a:solidFill>
            <a:schemeClr val="tx2"/>
          </a:solidFill>
          <a:latin typeface="Arial" charset="0"/>
        </a:defRPr>
      </a:lvl4pPr>
      <a:lvl5pPr algn="l" defTabSz="1218095" rtl="0" eaLnBrk="1" fontAlgn="base" hangingPunct="1">
        <a:spcBef>
          <a:spcPct val="0"/>
        </a:spcBef>
        <a:spcAft>
          <a:spcPct val="0"/>
        </a:spcAft>
        <a:defRPr sz="2584" b="1">
          <a:solidFill>
            <a:schemeClr val="tx2"/>
          </a:solidFill>
          <a:latin typeface="Arial" charset="0"/>
        </a:defRPr>
      </a:lvl5pPr>
      <a:lvl6pPr marL="622005" algn="l" defTabSz="1218095" rtl="0" eaLnBrk="1" fontAlgn="base" hangingPunct="1">
        <a:spcBef>
          <a:spcPct val="0"/>
        </a:spcBef>
        <a:spcAft>
          <a:spcPct val="0"/>
        </a:spcAft>
        <a:defRPr sz="2584" b="1">
          <a:solidFill>
            <a:schemeClr val="tx2"/>
          </a:solidFill>
          <a:latin typeface="Arial" charset="0"/>
        </a:defRPr>
      </a:lvl6pPr>
      <a:lvl7pPr marL="1244012" algn="l" defTabSz="1218095" rtl="0" eaLnBrk="1" fontAlgn="base" hangingPunct="1">
        <a:spcBef>
          <a:spcPct val="0"/>
        </a:spcBef>
        <a:spcAft>
          <a:spcPct val="0"/>
        </a:spcAft>
        <a:defRPr sz="2584" b="1">
          <a:solidFill>
            <a:schemeClr val="tx2"/>
          </a:solidFill>
          <a:latin typeface="Arial" charset="0"/>
        </a:defRPr>
      </a:lvl7pPr>
      <a:lvl8pPr marL="1866017" algn="l" defTabSz="1218095" rtl="0" eaLnBrk="1" fontAlgn="base" hangingPunct="1">
        <a:spcBef>
          <a:spcPct val="0"/>
        </a:spcBef>
        <a:spcAft>
          <a:spcPct val="0"/>
        </a:spcAft>
        <a:defRPr sz="2584" b="1">
          <a:solidFill>
            <a:schemeClr val="tx2"/>
          </a:solidFill>
          <a:latin typeface="Arial" charset="0"/>
        </a:defRPr>
      </a:lvl8pPr>
      <a:lvl9pPr marL="2488024" algn="l" defTabSz="1218095" rtl="0" eaLnBrk="1" fontAlgn="base" hangingPunct="1">
        <a:spcBef>
          <a:spcPct val="0"/>
        </a:spcBef>
        <a:spcAft>
          <a:spcPct val="0"/>
        </a:spcAft>
        <a:defRPr sz="2584" b="1">
          <a:solidFill>
            <a:schemeClr val="tx2"/>
          </a:solidFill>
          <a:latin typeface="Arial" charset="0"/>
        </a:defRPr>
      </a:lvl9pPr>
    </p:titleStyle>
    <p:bodyStyle>
      <a:lvl1pPr marL="0" indent="0" algn="l" defTabSz="913526" rtl="0" eaLnBrk="1" fontAlgn="base" latinLnBrk="0" hangingPunct="1">
        <a:spcBef>
          <a:spcPct val="0"/>
        </a:spcBef>
        <a:spcAft>
          <a:spcPct val="0"/>
        </a:spcAft>
        <a:buClr>
          <a:schemeClr val="tx2"/>
        </a:buClr>
        <a:buSzPct val="100000"/>
        <a:defRPr lang="en-US" sz="1632" baseline="0" dirty="0">
          <a:solidFill>
            <a:schemeClr val="tx1"/>
          </a:solidFill>
          <a:latin typeface="+mn-lt"/>
          <a:ea typeface="+mn-ea"/>
          <a:cs typeface="+mn-cs"/>
        </a:defRPr>
      </a:lvl1pPr>
      <a:lvl2pPr marL="198346" indent="-194673" algn="l" defTabSz="913526" rtl="0" eaLnBrk="1" fontAlgn="base" latinLnBrk="0" hangingPunct="1">
        <a:spcBef>
          <a:spcPct val="0"/>
        </a:spcBef>
        <a:spcAft>
          <a:spcPct val="0"/>
        </a:spcAft>
        <a:buClr>
          <a:schemeClr val="tx2"/>
        </a:buClr>
        <a:buSzPct val="125000"/>
        <a:buFont typeface="Arial" charset="0"/>
        <a:buChar char="▪"/>
        <a:defRPr lang="en-US" sz="1632" baseline="0" dirty="0">
          <a:solidFill>
            <a:schemeClr val="tx1"/>
          </a:solidFill>
          <a:latin typeface="+mn-lt"/>
          <a:ea typeface="+mn-ea"/>
          <a:cs typeface="+mn-cs"/>
        </a:defRPr>
      </a:lvl2pPr>
      <a:lvl3pPr marL="455462" indent="-253443" algn="l" defTabSz="913526" rtl="0" eaLnBrk="1" fontAlgn="base" latinLnBrk="0" hangingPunct="1">
        <a:spcBef>
          <a:spcPct val="0"/>
        </a:spcBef>
        <a:spcAft>
          <a:spcPct val="0"/>
        </a:spcAft>
        <a:buClr>
          <a:schemeClr val="tx2"/>
        </a:buClr>
        <a:buSzPct val="120000"/>
        <a:buFont typeface="Arial" charset="0"/>
        <a:buChar char="–"/>
        <a:defRPr lang="en-US" sz="1632" baseline="0" dirty="0">
          <a:solidFill>
            <a:schemeClr val="tx1"/>
          </a:solidFill>
          <a:latin typeface="+mn-lt"/>
          <a:ea typeface="+mn-ea"/>
          <a:cs typeface="+mn-cs"/>
        </a:defRPr>
      </a:lvl3pPr>
      <a:lvl4pPr marL="628097" indent="-157942" algn="l" defTabSz="913526" rtl="0" eaLnBrk="1" fontAlgn="base" latinLnBrk="0" hangingPunct="1">
        <a:spcBef>
          <a:spcPct val="0"/>
        </a:spcBef>
        <a:spcAft>
          <a:spcPct val="0"/>
        </a:spcAft>
        <a:buClr>
          <a:schemeClr val="tx2"/>
        </a:buClr>
        <a:buSzPct val="120000"/>
        <a:buFont typeface="Arial" charset="0"/>
        <a:buChar char="▫"/>
        <a:defRPr lang="en-US" sz="1632" baseline="0" dirty="0">
          <a:solidFill>
            <a:schemeClr val="tx1"/>
          </a:solidFill>
          <a:latin typeface="+mn-lt"/>
          <a:ea typeface="+mn-ea"/>
          <a:cs typeface="+mn-cs"/>
        </a:defRPr>
      </a:lvl4pPr>
      <a:lvl5pPr marL="764001" indent="-132231" algn="l" defTabSz="913526" rtl="0" eaLnBrk="1" fontAlgn="base" latinLnBrk="0" hangingPunct="1">
        <a:spcBef>
          <a:spcPct val="0"/>
        </a:spcBef>
        <a:spcAft>
          <a:spcPct val="0"/>
        </a:spcAft>
        <a:buClr>
          <a:schemeClr val="tx2"/>
        </a:buClr>
        <a:buSzPct val="89000"/>
        <a:buFont typeface="Arial" charset="0"/>
        <a:buChar char="-"/>
        <a:defRPr lang="en-US" sz="1632" baseline="0" dirty="0">
          <a:solidFill>
            <a:schemeClr val="tx1"/>
          </a:solidFill>
          <a:latin typeface="+mn-lt"/>
          <a:ea typeface="+mn-ea"/>
          <a:cs typeface="+mn-cs"/>
        </a:defRPr>
      </a:lvl5pPr>
      <a:lvl6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6pPr>
      <a:lvl7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7pPr>
      <a:lvl8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8pPr>
      <a:lvl9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9pPr>
    </p:bodyStyle>
    <p:otherStyle>
      <a:defPPr>
        <a:defRPr lang="en-US"/>
      </a:defPPr>
      <a:lvl1pPr marL="0" algn="l" defTabSz="1244012" rtl="0" eaLnBrk="1" latinLnBrk="0" hangingPunct="1">
        <a:defRPr sz="2449" kern="1200">
          <a:solidFill>
            <a:schemeClr val="tx1"/>
          </a:solidFill>
          <a:latin typeface="+mn-lt"/>
          <a:ea typeface="+mn-ea"/>
          <a:cs typeface="+mn-cs"/>
        </a:defRPr>
      </a:lvl1pPr>
      <a:lvl2pPr marL="622005" algn="l" defTabSz="1244012" rtl="0" eaLnBrk="1" latinLnBrk="0" hangingPunct="1">
        <a:defRPr sz="2449" kern="1200">
          <a:solidFill>
            <a:schemeClr val="tx1"/>
          </a:solidFill>
          <a:latin typeface="+mn-lt"/>
          <a:ea typeface="+mn-ea"/>
          <a:cs typeface="+mn-cs"/>
        </a:defRPr>
      </a:lvl2pPr>
      <a:lvl3pPr marL="1244012" algn="l" defTabSz="1244012" rtl="0" eaLnBrk="1" latinLnBrk="0" hangingPunct="1">
        <a:defRPr sz="2449" kern="1200">
          <a:solidFill>
            <a:schemeClr val="tx1"/>
          </a:solidFill>
          <a:latin typeface="+mn-lt"/>
          <a:ea typeface="+mn-ea"/>
          <a:cs typeface="+mn-cs"/>
        </a:defRPr>
      </a:lvl3pPr>
      <a:lvl4pPr marL="1866017" algn="l" defTabSz="1244012" rtl="0" eaLnBrk="1" latinLnBrk="0" hangingPunct="1">
        <a:defRPr sz="2449" kern="1200">
          <a:solidFill>
            <a:schemeClr val="tx1"/>
          </a:solidFill>
          <a:latin typeface="+mn-lt"/>
          <a:ea typeface="+mn-ea"/>
          <a:cs typeface="+mn-cs"/>
        </a:defRPr>
      </a:lvl4pPr>
      <a:lvl5pPr marL="2488024" algn="l" defTabSz="1244012" rtl="0" eaLnBrk="1" latinLnBrk="0" hangingPunct="1">
        <a:defRPr sz="2449" kern="1200">
          <a:solidFill>
            <a:schemeClr val="tx1"/>
          </a:solidFill>
          <a:latin typeface="+mn-lt"/>
          <a:ea typeface="+mn-ea"/>
          <a:cs typeface="+mn-cs"/>
        </a:defRPr>
      </a:lvl5pPr>
      <a:lvl6pPr marL="3110029" algn="l" defTabSz="1244012" rtl="0" eaLnBrk="1" latinLnBrk="0" hangingPunct="1">
        <a:defRPr sz="2449" kern="1200">
          <a:solidFill>
            <a:schemeClr val="tx1"/>
          </a:solidFill>
          <a:latin typeface="+mn-lt"/>
          <a:ea typeface="+mn-ea"/>
          <a:cs typeface="+mn-cs"/>
        </a:defRPr>
      </a:lvl6pPr>
      <a:lvl7pPr marL="3732036" algn="l" defTabSz="1244012" rtl="0" eaLnBrk="1" latinLnBrk="0" hangingPunct="1">
        <a:defRPr sz="2449" kern="1200">
          <a:solidFill>
            <a:schemeClr val="tx1"/>
          </a:solidFill>
          <a:latin typeface="+mn-lt"/>
          <a:ea typeface="+mn-ea"/>
          <a:cs typeface="+mn-cs"/>
        </a:defRPr>
      </a:lvl7pPr>
      <a:lvl8pPr marL="4354041" algn="l" defTabSz="1244012" rtl="0" eaLnBrk="1" latinLnBrk="0" hangingPunct="1">
        <a:defRPr sz="2449" kern="1200">
          <a:solidFill>
            <a:schemeClr val="tx1"/>
          </a:solidFill>
          <a:latin typeface="+mn-lt"/>
          <a:ea typeface="+mn-ea"/>
          <a:cs typeface="+mn-cs"/>
        </a:defRPr>
      </a:lvl8pPr>
      <a:lvl9pPr marL="4976048" algn="l" defTabSz="1244012" rtl="0" eaLnBrk="1" latinLnBrk="0" hangingPunct="1">
        <a:defRPr sz="244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57747353"/>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20" imgW="270" imgH="270" progId="TCLayout.ActiveDocument.1">
                  <p:embed/>
                </p:oleObj>
              </mc:Choice>
              <mc:Fallback>
                <p:oleObj name="think-cell Slide" r:id="rId20" imgW="270" imgH="270" progId="TCLayout.ActiveDocument.1">
                  <p:embed/>
                  <p:pic>
                    <p:nvPicPr>
                      <p:cNvPr id="2" name="Object 1" hidden="1"/>
                      <p:cNvPicPr/>
                      <p:nvPr/>
                    </p:nvPicPr>
                    <p:blipFill>
                      <a:blip r:embed="rId21"/>
                      <a:stretch>
                        <a:fillRect/>
                      </a:stretch>
                    </p:blipFill>
                    <p:spPr>
                      <a:xfrm>
                        <a:off x="0" y="0"/>
                        <a:ext cx="215979" cy="161974"/>
                      </a:xfrm>
                      <a:prstGeom prst="rect">
                        <a:avLst/>
                      </a:prstGeom>
                    </p:spPr>
                  </p:pic>
                </p:oleObj>
              </mc:Fallback>
            </mc:AlternateContent>
          </a:graphicData>
        </a:graphic>
      </p:graphicFrame>
      <p:sp>
        <p:nvSpPr>
          <p:cNvPr id="6" name="Rectangle 5" hidden="1"/>
          <p:cNvSpPr/>
          <p:nvPr userDrawn="1">
            <p:custDataLst>
              <p:tags r:id="rId4"/>
            </p:custDataLst>
          </p:nvPr>
        </p:nvSpPr>
        <p:spPr bwMode="auto">
          <a:xfrm>
            <a:off x="0"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en-US" sz="2176" b="0" i="0" baseline="0" dirty="0">
              <a:solidFill>
                <a:schemeClr val="tx1"/>
              </a:solidFill>
              <a:latin typeface="Arial" panose="020B0604020202020204" pitchFamily="34" charset="0"/>
              <a:ea typeface="+mn-ea"/>
              <a:cs typeface="+mn-cs"/>
              <a:sym typeface="Arial" panose="020B0604020202020204" pitchFamily="34" charset="0"/>
            </a:endParaRPr>
          </a:p>
        </p:txBody>
      </p:sp>
      <p:sp>
        <p:nvSpPr>
          <p:cNvPr id="1033" name="doc id" hidden="1"/>
          <p:cNvSpPr>
            <a:spLocks noChangeArrowheads="1"/>
          </p:cNvSpPr>
          <p:nvPr/>
        </p:nvSpPr>
        <p:spPr bwMode="gray">
          <a:xfrm flipH="1">
            <a:off x="10658002" y="51835"/>
            <a:ext cx="1231563" cy="96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8095"/>
            <a:endParaRPr lang="en-US" sz="612" baseline="0" noProof="0" dirty="0">
              <a:solidFill>
                <a:schemeClr val="accent6"/>
              </a:solidFill>
              <a:latin typeface="+mn-lt"/>
              <a:ea typeface="+mn-ea"/>
            </a:endParaRPr>
          </a:p>
        </p:txBody>
      </p:sp>
      <p:sp>
        <p:nvSpPr>
          <p:cNvPr id="1034" name="Working Draft" hidden="1"/>
          <p:cNvSpPr txBox="1">
            <a:spLocks noChangeArrowheads="1"/>
          </p:cNvSpPr>
          <p:nvPr/>
        </p:nvSpPr>
        <p:spPr bwMode="gray">
          <a:xfrm rot="5400000">
            <a:off x="11064117" y="1979060"/>
            <a:ext cx="2065716" cy="96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612" baseline="0" noProof="0" dirty="0">
                <a:solidFill>
                  <a:schemeClr val="accent6"/>
                </a:solidFill>
                <a:latin typeface="+mn-lt"/>
                <a:ea typeface="+mn-ea"/>
              </a:rPr>
              <a:t>Last Modified 7/27/2021 10:42 AM Eastern Standard Time</a:t>
            </a:r>
          </a:p>
        </p:txBody>
      </p:sp>
      <p:sp>
        <p:nvSpPr>
          <p:cNvPr id="1035" name="Printed" hidden="1"/>
          <p:cNvSpPr txBox="1">
            <a:spLocks noChangeArrowheads="1"/>
          </p:cNvSpPr>
          <p:nvPr/>
        </p:nvSpPr>
        <p:spPr bwMode="gray">
          <a:xfrm rot="5400000">
            <a:off x="11175331" y="4197040"/>
            <a:ext cx="1843280" cy="96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612" baseline="0" noProof="0" dirty="0">
                <a:solidFill>
                  <a:schemeClr val="accent6"/>
                </a:solidFill>
                <a:latin typeface="+mn-lt"/>
                <a:ea typeface="+mn-ea"/>
              </a:rPr>
              <a:t>Printed 12/16/2020 8:01 AM Eastern Standard Time</a:t>
            </a:r>
          </a:p>
        </p:txBody>
      </p:sp>
      <p:sp>
        <p:nvSpPr>
          <p:cNvPr id="19" name="Title Placeholder 2"/>
          <p:cNvSpPr>
            <a:spLocks noGrp="1" noChangeArrowheads="1"/>
          </p:cNvSpPr>
          <p:nvPr>
            <p:ph type="title"/>
          </p:nvPr>
        </p:nvSpPr>
        <p:spPr bwMode="gray">
          <a:xfrm>
            <a:off x="161987" y="234865"/>
            <a:ext cx="11725484"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endParaRPr lang="en-US" noProof="0" dirty="0"/>
          </a:p>
        </p:txBody>
      </p:sp>
      <p:sp>
        <p:nvSpPr>
          <p:cNvPr id="10" name="1. On-page tracker" hidden="1"/>
          <p:cNvSpPr>
            <a:spLocks noChangeArrowheads="1"/>
          </p:cNvSpPr>
          <p:nvPr userDrawn="1"/>
        </p:nvSpPr>
        <p:spPr bwMode="gray">
          <a:xfrm>
            <a:off x="161985" y="77303"/>
            <a:ext cx="511939"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16" cap="all" baseline="0" noProof="0" dirty="0">
                <a:solidFill>
                  <a:schemeClr val="accent6"/>
                </a:solidFill>
                <a:latin typeface="+mn-lt"/>
                <a:ea typeface="+mn-ea"/>
              </a:rPr>
              <a:t>Tracker</a:t>
            </a:r>
          </a:p>
        </p:txBody>
      </p:sp>
      <p:sp>
        <p:nvSpPr>
          <p:cNvPr id="11" name="3. Unit of measure" hidden="1"/>
          <p:cNvSpPr txBox="1">
            <a:spLocks noChangeArrowheads="1"/>
          </p:cNvSpPr>
          <p:nvPr userDrawn="1"/>
        </p:nvSpPr>
        <p:spPr bwMode="gray">
          <a:xfrm>
            <a:off x="161987" y="566136"/>
            <a:ext cx="11725484" cy="256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32" baseline="0" noProof="0" dirty="0">
                <a:solidFill>
                  <a:schemeClr val="accent6"/>
                </a:solidFill>
                <a:latin typeface="+mn-lt"/>
                <a:ea typeface="+mn-ea"/>
              </a:rPr>
              <a:t>CLIENT</a:t>
            </a:r>
          </a:p>
        </p:txBody>
      </p:sp>
      <p:sp>
        <p:nvSpPr>
          <p:cNvPr id="13" name="4. Footnote" hidden="1"/>
          <p:cNvSpPr txBox="1">
            <a:spLocks noChangeArrowheads="1"/>
          </p:cNvSpPr>
          <p:nvPr/>
        </p:nvSpPr>
        <p:spPr bwMode="gray">
          <a:xfrm>
            <a:off x="161985" y="6432273"/>
            <a:ext cx="11630454"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7465" indent="-87465">
              <a:defRPr/>
            </a:pPr>
            <a:r>
              <a:rPr lang="en-US" sz="816" baseline="0" noProof="0" dirty="0">
                <a:solidFill>
                  <a:schemeClr val="accent6"/>
                </a:solidFill>
                <a:latin typeface="+mn-lt"/>
                <a:ea typeface="+mn-ea"/>
              </a:rPr>
              <a:t>1 Footnote</a:t>
            </a:r>
          </a:p>
        </p:txBody>
      </p:sp>
      <p:sp>
        <p:nvSpPr>
          <p:cNvPr id="14" name="5. Source" hidden="1"/>
          <p:cNvSpPr>
            <a:spLocks noChangeArrowheads="1"/>
          </p:cNvSpPr>
          <p:nvPr/>
        </p:nvSpPr>
        <p:spPr bwMode="gray">
          <a:xfrm>
            <a:off x="161985" y="6637982"/>
            <a:ext cx="10155320"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03735" indent="-503735" defTabSz="1218095">
              <a:tabLst/>
            </a:pPr>
            <a:r>
              <a:rPr lang="en-US" sz="816" baseline="0" noProof="0" dirty="0">
                <a:solidFill>
                  <a:schemeClr val="accent6"/>
                </a:solidFill>
                <a:latin typeface="+mn-lt"/>
                <a:ea typeface="+mn-ea"/>
              </a:rPr>
              <a:t>SOURCE: Source</a:t>
            </a:r>
          </a:p>
        </p:txBody>
      </p:sp>
      <p:grpSp>
        <p:nvGrpSpPr>
          <p:cNvPr id="15" name="ACET" hidden="1"/>
          <p:cNvGrpSpPr>
            <a:grpSpLocks/>
          </p:cNvGrpSpPr>
          <p:nvPr userDrawn="1"/>
        </p:nvGrpSpPr>
        <p:grpSpPr bwMode="gray">
          <a:xfrm>
            <a:off x="1976207" y="1270343"/>
            <a:ext cx="5801188" cy="531276"/>
            <a:chOff x="915" y="702"/>
            <a:chExt cx="2686" cy="328"/>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32" b="1" baseline="0" noProof="0" dirty="0">
                  <a:latin typeface="+mn-lt"/>
                  <a:ea typeface="+mn-ea"/>
                </a:rPr>
                <a:t>Title</a:t>
              </a:r>
            </a:p>
            <a:p>
              <a:r>
                <a:rPr lang="en-US" sz="1632" baseline="0" noProof="0" dirty="0">
                  <a:solidFill>
                    <a:schemeClr val="accent6"/>
                  </a:solidFill>
                  <a:latin typeface="+mn-lt"/>
                  <a:ea typeface="+mn-ea"/>
                </a:rPr>
                <a:t>Unit of measure</a:t>
              </a:r>
            </a:p>
          </p:txBody>
        </p:sp>
      </p:grpSp>
      <p:grpSp>
        <p:nvGrpSpPr>
          <p:cNvPr id="17" name="Sticker" hidden="1"/>
          <p:cNvGrpSpPr/>
          <p:nvPr userDrawn="1"/>
        </p:nvGrpSpPr>
        <p:grpSpPr bwMode="gray">
          <a:xfrm>
            <a:off x="11394692" y="291554"/>
            <a:ext cx="492770" cy="156360"/>
            <a:chOff x="8378576" y="285750"/>
            <a:chExt cx="362199" cy="153247"/>
          </a:xfrm>
        </p:grpSpPr>
        <p:sp>
          <p:nvSpPr>
            <p:cNvPr id="20" name="StickerRectangle"/>
            <p:cNvSpPr>
              <a:spLocks noChangeArrowheads="1"/>
            </p:cNvSpPr>
            <p:nvPr/>
          </p:nvSpPr>
          <p:spPr bwMode="gray">
            <a:xfrm>
              <a:off x="8378576" y="285750"/>
              <a:ext cx="362199" cy="15324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1218095">
                <a:buClr>
                  <a:schemeClr val="tx2"/>
                </a:buClr>
              </a:pPr>
              <a:r>
                <a:rPr lang="en-US" sz="816"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378576" y="285750"/>
              <a:ext cx="0" cy="153247"/>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378576" y="438997"/>
              <a:ext cx="362199"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23" name="LegendBoxes" hidden="1"/>
          <p:cNvGrpSpPr/>
          <p:nvPr userDrawn="1"/>
        </p:nvGrpSpPr>
        <p:grpSpPr bwMode="gray">
          <a:xfrm>
            <a:off x="11108191" y="285075"/>
            <a:ext cx="789093" cy="1021522"/>
            <a:chOff x="7835905" y="279400"/>
            <a:chExt cx="773373" cy="1001186"/>
          </a:xfrm>
        </p:grpSpPr>
        <p:sp>
          <p:nvSpPr>
            <p:cNvPr id="24" name="RectangleLegend1"/>
            <p:cNvSpPr>
              <a:spLocks noChangeArrowheads="1"/>
            </p:cNvSpPr>
            <p:nvPr/>
          </p:nvSpPr>
          <p:spPr bwMode="gray">
            <a:xfrm>
              <a:off x="7835905" y="290513"/>
              <a:ext cx="165100" cy="160338"/>
            </a:xfrm>
            <a:prstGeom prst="rect">
              <a:avLst/>
            </a:prstGeom>
            <a:solidFill>
              <a:schemeClr val="accent1"/>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25" name="RectangleLegend2"/>
            <p:cNvSpPr>
              <a:spLocks noChangeArrowheads="1"/>
            </p:cNvSpPr>
            <p:nvPr/>
          </p:nvSpPr>
          <p:spPr bwMode="gray">
            <a:xfrm>
              <a:off x="7835905" y="560388"/>
              <a:ext cx="165100" cy="160338"/>
            </a:xfrm>
            <a:prstGeom prst="rect">
              <a:avLst/>
            </a:prstGeom>
            <a:solidFill>
              <a:schemeClr val="accent2"/>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26" name="RectangleLegend3"/>
            <p:cNvSpPr>
              <a:spLocks noChangeArrowheads="1"/>
            </p:cNvSpPr>
            <p:nvPr/>
          </p:nvSpPr>
          <p:spPr bwMode="gray">
            <a:xfrm>
              <a:off x="7835905" y="831851"/>
              <a:ext cx="165100" cy="160338"/>
            </a:xfrm>
            <a:prstGeom prst="rect">
              <a:avLst/>
            </a:prstGeom>
            <a:solidFill>
              <a:schemeClr val="accent3"/>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27" name="RectangleLegend4"/>
            <p:cNvSpPr>
              <a:spLocks noChangeArrowheads="1"/>
            </p:cNvSpPr>
            <p:nvPr/>
          </p:nvSpPr>
          <p:spPr bwMode="gray">
            <a:xfrm>
              <a:off x="7835905" y="1103313"/>
              <a:ext cx="165100" cy="160338"/>
            </a:xfrm>
            <a:prstGeom prst="rect">
              <a:avLst/>
            </a:prstGeom>
            <a:solidFill>
              <a:schemeClr val="accent4"/>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28" name="Legend1"/>
            <p:cNvSpPr>
              <a:spLocks noChangeArrowheads="1"/>
            </p:cNvSpPr>
            <p:nvPr/>
          </p:nvSpPr>
          <p:spPr bwMode="gray">
            <a:xfrm>
              <a:off x="8089905" y="27940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29" name="Legend2"/>
            <p:cNvSpPr>
              <a:spLocks noChangeArrowheads="1"/>
            </p:cNvSpPr>
            <p:nvPr/>
          </p:nvSpPr>
          <p:spPr bwMode="gray">
            <a:xfrm>
              <a:off x="8089905" y="549275"/>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30" name="Legend3"/>
            <p:cNvSpPr>
              <a:spLocks noChangeArrowheads="1"/>
            </p:cNvSpPr>
            <p:nvPr/>
          </p:nvSpPr>
          <p:spPr bwMode="gray">
            <a:xfrm>
              <a:off x="8089905" y="820738"/>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31" name="Legend4"/>
            <p:cNvSpPr>
              <a:spLocks noChangeArrowheads="1"/>
            </p:cNvSpPr>
            <p:nvPr/>
          </p:nvSpPr>
          <p:spPr bwMode="gray">
            <a:xfrm>
              <a:off x="8089905" y="1092201"/>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grpSp>
      <p:grpSp>
        <p:nvGrpSpPr>
          <p:cNvPr id="32" name="LegendLines" hidden="1"/>
          <p:cNvGrpSpPr/>
          <p:nvPr userDrawn="1"/>
        </p:nvGrpSpPr>
        <p:grpSpPr bwMode="gray">
          <a:xfrm>
            <a:off x="10794126" y="285075"/>
            <a:ext cx="1103328" cy="749405"/>
            <a:chOff x="7540629" y="279400"/>
            <a:chExt cx="1081348" cy="734486"/>
          </a:xfrm>
        </p:grpSpPr>
        <p:sp>
          <p:nvSpPr>
            <p:cNvPr id="33"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837" baseline="0" dirty="0">
                <a:latin typeface="+mn-lt"/>
                <a:ea typeface="+mn-ea"/>
              </a:endParaRPr>
            </a:p>
          </p:txBody>
        </p:sp>
        <p:sp>
          <p:nvSpPr>
            <p:cNvPr id="34"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837" baseline="0" dirty="0">
                <a:latin typeface="+mn-lt"/>
                <a:ea typeface="+mn-ea"/>
              </a:endParaRPr>
            </a:p>
          </p:txBody>
        </p:sp>
        <p:sp>
          <p:nvSpPr>
            <p:cNvPr id="35"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837" baseline="0" dirty="0">
                <a:latin typeface="+mn-lt"/>
                <a:ea typeface="+mn-ea"/>
              </a:endParaRPr>
            </a:p>
          </p:txBody>
        </p:sp>
        <p:sp>
          <p:nvSpPr>
            <p:cNvPr id="36" name="Legend1"/>
            <p:cNvSpPr>
              <a:spLocks noChangeArrowheads="1"/>
            </p:cNvSpPr>
            <p:nvPr/>
          </p:nvSpPr>
          <p:spPr bwMode="gray">
            <a:xfrm>
              <a:off x="8102604" y="27940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37" name="Legend2"/>
            <p:cNvSpPr>
              <a:spLocks noChangeArrowheads="1"/>
            </p:cNvSpPr>
            <p:nvPr/>
          </p:nvSpPr>
          <p:spPr bwMode="gray">
            <a:xfrm>
              <a:off x="8102604" y="54610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38" name="Legend3"/>
            <p:cNvSpPr>
              <a:spLocks noChangeArrowheads="1"/>
            </p:cNvSpPr>
            <p:nvPr/>
          </p:nvSpPr>
          <p:spPr bwMode="gray">
            <a:xfrm>
              <a:off x="8102604" y="825501"/>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grpSp>
      <p:grpSp>
        <p:nvGrpSpPr>
          <p:cNvPr id="39" name="LegendMoons" hidden="1"/>
          <p:cNvGrpSpPr/>
          <p:nvPr userDrawn="1"/>
        </p:nvGrpSpPr>
        <p:grpSpPr bwMode="gray">
          <a:xfrm>
            <a:off x="11040160" y="255920"/>
            <a:ext cx="857123" cy="1333054"/>
            <a:chOff x="7769225" y="250825"/>
            <a:chExt cx="840048" cy="1306516"/>
          </a:xfrm>
        </p:grpSpPr>
        <p:grpSp>
          <p:nvGrpSpPr>
            <p:cNvPr id="40" name="MoonLegend1"/>
            <p:cNvGrpSpPr>
              <a:grpSpLocks noChangeAspect="1"/>
            </p:cNvGrpSpPr>
            <p:nvPr>
              <p:custDataLst>
                <p:tags r:id="rId5"/>
              </p:custDataLst>
            </p:nvPr>
          </p:nvGrpSpPr>
          <p:grpSpPr bwMode="gray">
            <a:xfrm>
              <a:off x="7769225" y="250825"/>
              <a:ext cx="209550" cy="209551"/>
              <a:chOff x="4533" y="183"/>
              <a:chExt cx="144" cy="144"/>
            </a:xfrm>
          </p:grpSpPr>
          <p:sp>
            <p:nvSpPr>
              <p:cNvPr id="58" name="Oval 38"/>
              <p:cNvSpPr>
                <a:spLocks noChangeAspect="1" noChangeArrowheads="1"/>
              </p:cNvSpPr>
              <p:nvPr>
                <p:custDataLst>
                  <p:tags r:id="rId18"/>
                </p:custDataLst>
              </p:nvPr>
            </p:nvSpPr>
            <p:spPr bwMode="gray">
              <a:xfrm>
                <a:off x="4533" y="183"/>
                <a:ext cx="144" cy="144"/>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59" name="Arc 39"/>
              <p:cNvSpPr>
                <a:spLocks noChangeAspect="1"/>
              </p:cNvSpPr>
              <p:nvPr>
                <p:custDataLst>
                  <p:tags r:id="rId19"/>
                </p:custDataLst>
              </p:nvPr>
            </p:nvSpPr>
            <p:spPr bwMode="gray">
              <a:xfrm>
                <a:off x="4533" y="183"/>
                <a:ext cx="144" cy="144"/>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grpSp>
        <p:grpSp>
          <p:nvGrpSpPr>
            <p:cNvPr id="41" name="MoonLegend2"/>
            <p:cNvGrpSpPr>
              <a:grpSpLocks noChangeAspect="1"/>
            </p:cNvGrpSpPr>
            <p:nvPr>
              <p:custDataLst>
                <p:tags r:id="rId6"/>
              </p:custDataLst>
            </p:nvPr>
          </p:nvGrpSpPr>
          <p:grpSpPr bwMode="gray">
            <a:xfrm>
              <a:off x="7769225" y="525066"/>
              <a:ext cx="209550" cy="209551"/>
              <a:chOff x="1694" y="2044"/>
              <a:chExt cx="160" cy="160"/>
            </a:xfrm>
          </p:grpSpPr>
          <p:sp>
            <p:nvSpPr>
              <p:cNvPr id="56" name="Oval 41"/>
              <p:cNvSpPr>
                <a:spLocks noChangeAspect="1" noChangeArrowheads="1"/>
              </p:cNvSpPr>
              <p:nvPr>
                <p:custDataLst>
                  <p:tags r:id="rId16"/>
                </p:custDataLst>
              </p:nvPr>
            </p:nvSpPr>
            <p:spPr bwMode="gray">
              <a:xfrm>
                <a:off x="1694" y="2044"/>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57" name="Arc 42"/>
              <p:cNvSpPr>
                <a:spLocks noChangeAspect="1"/>
              </p:cNvSpPr>
              <p:nvPr>
                <p:custDataLst>
                  <p:tags r:id="rId17"/>
                </p:custDataLst>
              </p:nvPr>
            </p:nvSpPr>
            <p:spPr bwMode="gray">
              <a:xfrm>
                <a:off x="1694" y="2044"/>
                <a:ext cx="160" cy="160"/>
              </a:xfrm>
              <a:prstGeom prst="arc">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grpSp>
        <p:grpSp>
          <p:nvGrpSpPr>
            <p:cNvPr id="42" name="MoonLegend4"/>
            <p:cNvGrpSpPr>
              <a:grpSpLocks noChangeAspect="1"/>
            </p:cNvGrpSpPr>
            <p:nvPr>
              <p:custDataLst>
                <p:tags r:id="rId7"/>
              </p:custDataLst>
            </p:nvPr>
          </p:nvGrpSpPr>
          <p:grpSpPr bwMode="gray">
            <a:xfrm>
              <a:off x="7769225" y="1073548"/>
              <a:ext cx="209550" cy="209551"/>
              <a:chOff x="4495" y="1198"/>
              <a:chExt cx="160" cy="160"/>
            </a:xfrm>
          </p:grpSpPr>
          <p:sp>
            <p:nvSpPr>
              <p:cNvPr id="54"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55" name="Arc 48"/>
              <p:cNvSpPr>
                <a:spLocks noChangeAspect="1"/>
              </p:cNvSpPr>
              <p:nvPr>
                <p:custDataLst>
                  <p:tags r:id="rId15"/>
                </p:custDataLst>
              </p:nvPr>
            </p:nvSpPr>
            <p:spPr bwMode="gray">
              <a:xfrm>
                <a:off x="4495" y="1198"/>
                <a:ext cx="160" cy="160"/>
              </a:xfrm>
              <a:prstGeom prst="arc">
                <a:avLst>
                  <a:gd name="adj1" fmla="val 16200000"/>
                  <a:gd name="adj2" fmla="val 108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grpSp>
        <p:grpSp>
          <p:nvGrpSpPr>
            <p:cNvPr id="43" name="MoonLegend5"/>
            <p:cNvGrpSpPr>
              <a:grpSpLocks noChangeAspect="1"/>
            </p:cNvGrpSpPr>
            <p:nvPr>
              <p:custDataLst>
                <p:tags r:id="rId8"/>
              </p:custDataLst>
            </p:nvPr>
          </p:nvGrpSpPr>
          <p:grpSpPr bwMode="gray">
            <a:xfrm>
              <a:off x="7769225" y="1347790"/>
              <a:ext cx="209550" cy="209551"/>
              <a:chOff x="4495" y="1440"/>
              <a:chExt cx="160" cy="160"/>
            </a:xfrm>
          </p:grpSpPr>
          <p:sp>
            <p:nvSpPr>
              <p:cNvPr id="52" name="Oval 50"/>
              <p:cNvSpPr>
                <a:spLocks noChangeAspect="1" noChangeArrowheads="1"/>
              </p:cNvSpPr>
              <p:nvPr>
                <p:custDataLst>
                  <p:tags r:id="rId12"/>
                </p:custDataLst>
              </p:nvPr>
            </p:nvSpPr>
            <p:spPr bwMode="gray">
              <a:xfrm>
                <a:off x="4495" y="1440"/>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53" name="Oval 51"/>
              <p:cNvSpPr>
                <a:spLocks noChangeAspect="1" noChangeArrowheads="1"/>
              </p:cNvSpPr>
              <p:nvPr>
                <p:custDataLst>
                  <p:tags r:id="rId13"/>
                </p:custDataLst>
              </p:nvPr>
            </p:nvSpPr>
            <p:spPr bwMode="gray">
              <a:xfrm>
                <a:off x="4495" y="1440"/>
                <a:ext cx="160" cy="160"/>
              </a:xfrm>
              <a:prstGeom prst="arc">
                <a:avLst>
                  <a:gd name="adj1" fmla="val 16200000"/>
                  <a:gd name="adj2" fmla="val 162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grpSp>
        <p:grpSp>
          <p:nvGrpSpPr>
            <p:cNvPr id="44" name="MoonLegend3"/>
            <p:cNvGrpSpPr>
              <a:grpSpLocks noChangeAspect="1"/>
            </p:cNvGrpSpPr>
            <p:nvPr>
              <p:custDataLst>
                <p:tags r:id="rId9"/>
              </p:custDataLst>
            </p:nvPr>
          </p:nvGrpSpPr>
          <p:grpSpPr bwMode="gray">
            <a:xfrm>
              <a:off x="7769225" y="799307"/>
              <a:ext cx="209550" cy="209551"/>
              <a:chOff x="4495" y="1198"/>
              <a:chExt cx="160" cy="160"/>
            </a:xfrm>
          </p:grpSpPr>
          <p:sp>
            <p:nvSpPr>
              <p:cNvPr id="50" name="Oval 47"/>
              <p:cNvSpPr>
                <a:spLocks noChangeAspect="1" noChangeArrowheads="1"/>
              </p:cNvSpPr>
              <p:nvPr>
                <p:custDataLst>
                  <p:tags r:id="rId10"/>
                </p:custDataLst>
              </p:nvPr>
            </p:nvSpPr>
            <p:spPr bwMode="gray">
              <a:xfrm>
                <a:off x="4495" y="1198"/>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sp>
            <p:nvSpPr>
              <p:cNvPr id="51" name="Arc 48"/>
              <p:cNvSpPr>
                <a:spLocks noChangeAspect="1"/>
              </p:cNvSpPr>
              <p:nvPr>
                <p:custDataLst>
                  <p:tags r:id="rId11"/>
                </p:custDataLst>
              </p:nvPr>
            </p:nvSpPr>
            <p:spPr bwMode="gray">
              <a:xfrm>
                <a:off x="4495" y="1198"/>
                <a:ext cx="160" cy="160"/>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37" baseline="0" dirty="0">
                  <a:latin typeface="+mn-lt"/>
                  <a:ea typeface="+mn-ea"/>
                </a:endParaRPr>
              </a:p>
            </p:txBody>
          </p:sp>
        </p:grpSp>
        <p:sp>
          <p:nvSpPr>
            <p:cNvPr id="45" name="Legend1"/>
            <p:cNvSpPr>
              <a:spLocks noChangeArrowheads="1"/>
            </p:cNvSpPr>
            <p:nvPr/>
          </p:nvSpPr>
          <p:spPr bwMode="gray">
            <a:xfrm>
              <a:off x="8089900" y="263525"/>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46" name="Legend2"/>
            <p:cNvSpPr>
              <a:spLocks noChangeArrowheads="1"/>
            </p:cNvSpPr>
            <p:nvPr/>
          </p:nvSpPr>
          <p:spPr bwMode="gray">
            <a:xfrm>
              <a:off x="8089900" y="538163"/>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47" name="Legend3"/>
            <p:cNvSpPr>
              <a:spLocks noChangeArrowheads="1"/>
            </p:cNvSpPr>
            <p:nvPr/>
          </p:nvSpPr>
          <p:spPr bwMode="gray">
            <a:xfrm>
              <a:off x="8089900" y="812802"/>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48" name="Legend4"/>
            <p:cNvSpPr>
              <a:spLocks noChangeArrowheads="1"/>
            </p:cNvSpPr>
            <p:nvPr/>
          </p:nvSpPr>
          <p:spPr bwMode="gray">
            <a:xfrm>
              <a:off x="8089900" y="1084265"/>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sp>
          <p:nvSpPr>
            <p:cNvPr id="49" name="Legend5"/>
            <p:cNvSpPr>
              <a:spLocks noChangeArrowheads="1"/>
            </p:cNvSpPr>
            <p:nvPr/>
          </p:nvSpPr>
          <p:spPr bwMode="gray">
            <a:xfrm>
              <a:off x="8089900" y="1360490"/>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24" baseline="0" dirty="0">
                  <a:latin typeface="+mn-lt"/>
                  <a:ea typeface="+mn-ea"/>
                </a:rPr>
                <a:t>Legend</a:t>
              </a:r>
            </a:p>
          </p:txBody>
        </p:sp>
      </p:grpSp>
      <p:sp>
        <p:nvSpPr>
          <p:cNvPr id="60" name="SlideBottomBar" hidden="1"/>
          <p:cNvSpPr/>
          <p:nvPr userDrawn="1"/>
        </p:nvSpPr>
        <p:spPr>
          <a:xfrm>
            <a:off x="12003218" y="6639739"/>
            <a:ext cx="46648" cy="126340"/>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7" baseline="0" dirty="0">
              <a:solidFill>
                <a:schemeClr val="tx1"/>
              </a:solidFill>
              <a:latin typeface="+mn-lt"/>
              <a:ea typeface="+mn-ea"/>
            </a:endParaRPr>
          </a:p>
        </p:txBody>
      </p:sp>
      <p:sp>
        <p:nvSpPr>
          <p:cNvPr id="61" name="Text Placeholder 2"/>
          <p:cNvSpPr>
            <a:spLocks noGrp="1"/>
          </p:cNvSpPr>
          <p:nvPr userDrawn="1">
            <p:ph type="body" idx="1"/>
          </p:nvPr>
        </p:nvSpPr>
        <p:spPr bwMode="gray">
          <a:xfrm>
            <a:off x="1482091" y="1991016"/>
            <a:ext cx="4389573" cy="1346156"/>
          </a:xfrm>
          <a:prstGeom prst="rect">
            <a:avLst/>
          </a:prstGeom>
        </p:spPr>
        <p:txBody>
          <a:bodyPr vert="horz" lIns="0" tIns="0" rIns="0" bIns="0" rtlCol="0">
            <a:noAutofit/>
          </a:bodyPr>
          <a:lstStyle/>
          <a:p>
            <a:pPr lvl="0" latinLnBrk="0"/>
            <a:r>
              <a:rPr lang="en-US"/>
              <a:t>Click to 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spTree>
    <p:extLst>
      <p:ext uri="{BB962C8B-B14F-4D97-AF65-F5344CB8AC3E}">
        <p14:creationId xmlns:p14="http://schemas.microsoft.com/office/powerpoint/2010/main" val="2291844517"/>
      </p:ext>
    </p:extLst>
  </p:cSld>
  <p:clrMap bg1="lt1" tx1="dk1" bg2="lt2" tx2="dk2" accent1="accent1" accent2="accent2" accent3="accent3" accent4="accent4" accent5="accent5" accent6="accent6" hlink="hlink" folHlink="folHlink"/>
  <p:sldLayoutIdLst>
    <p:sldLayoutId id="2147483685" r:id="rId1"/>
  </p:sldLayoutIdLst>
  <p:hf hdr="0" ftr="0" dt="0"/>
  <p:txStyles>
    <p:titleStyle>
      <a:lvl1pPr algn="l" defTabSz="1218095" rtl="0" eaLnBrk="1" fontAlgn="base" hangingPunct="1">
        <a:spcBef>
          <a:spcPct val="0"/>
        </a:spcBef>
        <a:spcAft>
          <a:spcPct val="0"/>
        </a:spcAft>
        <a:tabLst>
          <a:tab pos="367156" algn="l"/>
        </a:tabLst>
        <a:defRPr sz="2041" b="0" baseline="0">
          <a:solidFill>
            <a:schemeClr val="tx1"/>
          </a:solidFill>
          <a:latin typeface="+mj-lt"/>
          <a:ea typeface="+mj-ea"/>
          <a:cs typeface="+mj-cs"/>
        </a:defRPr>
      </a:lvl1pPr>
      <a:lvl2pPr algn="l" defTabSz="1218095" rtl="0" eaLnBrk="1" fontAlgn="base" hangingPunct="1">
        <a:spcBef>
          <a:spcPct val="0"/>
        </a:spcBef>
        <a:spcAft>
          <a:spcPct val="0"/>
        </a:spcAft>
        <a:defRPr sz="2584" b="1">
          <a:solidFill>
            <a:schemeClr val="tx2"/>
          </a:solidFill>
          <a:latin typeface="Arial" charset="0"/>
        </a:defRPr>
      </a:lvl2pPr>
      <a:lvl3pPr algn="l" defTabSz="1218095" rtl="0" eaLnBrk="1" fontAlgn="base" hangingPunct="1">
        <a:spcBef>
          <a:spcPct val="0"/>
        </a:spcBef>
        <a:spcAft>
          <a:spcPct val="0"/>
        </a:spcAft>
        <a:defRPr sz="2584" b="1">
          <a:solidFill>
            <a:schemeClr val="tx2"/>
          </a:solidFill>
          <a:latin typeface="Arial" charset="0"/>
        </a:defRPr>
      </a:lvl3pPr>
      <a:lvl4pPr algn="l" defTabSz="1218095" rtl="0" eaLnBrk="1" fontAlgn="base" hangingPunct="1">
        <a:spcBef>
          <a:spcPct val="0"/>
        </a:spcBef>
        <a:spcAft>
          <a:spcPct val="0"/>
        </a:spcAft>
        <a:defRPr sz="2584" b="1">
          <a:solidFill>
            <a:schemeClr val="tx2"/>
          </a:solidFill>
          <a:latin typeface="Arial" charset="0"/>
        </a:defRPr>
      </a:lvl4pPr>
      <a:lvl5pPr algn="l" defTabSz="1218095" rtl="0" eaLnBrk="1" fontAlgn="base" hangingPunct="1">
        <a:spcBef>
          <a:spcPct val="0"/>
        </a:spcBef>
        <a:spcAft>
          <a:spcPct val="0"/>
        </a:spcAft>
        <a:defRPr sz="2584" b="1">
          <a:solidFill>
            <a:schemeClr val="tx2"/>
          </a:solidFill>
          <a:latin typeface="Arial" charset="0"/>
        </a:defRPr>
      </a:lvl5pPr>
      <a:lvl6pPr marL="622005" algn="l" defTabSz="1218095" rtl="0" eaLnBrk="1" fontAlgn="base" hangingPunct="1">
        <a:spcBef>
          <a:spcPct val="0"/>
        </a:spcBef>
        <a:spcAft>
          <a:spcPct val="0"/>
        </a:spcAft>
        <a:defRPr sz="2584" b="1">
          <a:solidFill>
            <a:schemeClr val="tx2"/>
          </a:solidFill>
          <a:latin typeface="Arial" charset="0"/>
        </a:defRPr>
      </a:lvl6pPr>
      <a:lvl7pPr marL="1244012" algn="l" defTabSz="1218095" rtl="0" eaLnBrk="1" fontAlgn="base" hangingPunct="1">
        <a:spcBef>
          <a:spcPct val="0"/>
        </a:spcBef>
        <a:spcAft>
          <a:spcPct val="0"/>
        </a:spcAft>
        <a:defRPr sz="2584" b="1">
          <a:solidFill>
            <a:schemeClr val="tx2"/>
          </a:solidFill>
          <a:latin typeface="Arial" charset="0"/>
        </a:defRPr>
      </a:lvl7pPr>
      <a:lvl8pPr marL="1866017" algn="l" defTabSz="1218095" rtl="0" eaLnBrk="1" fontAlgn="base" hangingPunct="1">
        <a:spcBef>
          <a:spcPct val="0"/>
        </a:spcBef>
        <a:spcAft>
          <a:spcPct val="0"/>
        </a:spcAft>
        <a:defRPr sz="2584" b="1">
          <a:solidFill>
            <a:schemeClr val="tx2"/>
          </a:solidFill>
          <a:latin typeface="Arial" charset="0"/>
        </a:defRPr>
      </a:lvl8pPr>
      <a:lvl9pPr marL="2488024" algn="l" defTabSz="1218095" rtl="0" eaLnBrk="1" fontAlgn="base" hangingPunct="1">
        <a:spcBef>
          <a:spcPct val="0"/>
        </a:spcBef>
        <a:spcAft>
          <a:spcPct val="0"/>
        </a:spcAft>
        <a:defRPr sz="2584" b="1">
          <a:solidFill>
            <a:schemeClr val="tx2"/>
          </a:solidFill>
          <a:latin typeface="Arial" charset="0"/>
        </a:defRPr>
      </a:lvl9pPr>
    </p:titleStyle>
    <p:bodyStyle>
      <a:lvl1pPr marL="0" indent="0" algn="l" defTabSz="913526" rtl="0" eaLnBrk="1" fontAlgn="base" latinLnBrk="0" hangingPunct="1">
        <a:spcBef>
          <a:spcPct val="0"/>
        </a:spcBef>
        <a:spcAft>
          <a:spcPct val="0"/>
        </a:spcAft>
        <a:buClr>
          <a:schemeClr val="tx2"/>
        </a:buClr>
        <a:buSzPct val="100000"/>
        <a:defRPr lang="en-US" sz="1632" baseline="0" dirty="0">
          <a:solidFill>
            <a:schemeClr val="tx1"/>
          </a:solidFill>
          <a:latin typeface="+mn-lt"/>
          <a:ea typeface="+mn-ea"/>
          <a:cs typeface="+mn-cs"/>
        </a:defRPr>
      </a:lvl1pPr>
      <a:lvl2pPr marL="198346" indent="-194673" algn="l" defTabSz="913526" rtl="0" eaLnBrk="1" fontAlgn="base" latinLnBrk="0" hangingPunct="1">
        <a:spcBef>
          <a:spcPct val="0"/>
        </a:spcBef>
        <a:spcAft>
          <a:spcPct val="0"/>
        </a:spcAft>
        <a:buClr>
          <a:schemeClr val="tx2"/>
        </a:buClr>
        <a:buSzPct val="125000"/>
        <a:buFont typeface="Arial" charset="0"/>
        <a:buChar char="▪"/>
        <a:defRPr lang="en-US" sz="1632" baseline="0" dirty="0">
          <a:solidFill>
            <a:schemeClr val="tx1"/>
          </a:solidFill>
          <a:latin typeface="+mn-lt"/>
          <a:ea typeface="+mn-ea"/>
          <a:cs typeface="+mn-cs"/>
        </a:defRPr>
      </a:lvl2pPr>
      <a:lvl3pPr marL="455462" indent="-253443" algn="l" defTabSz="913526" rtl="0" eaLnBrk="1" fontAlgn="base" latinLnBrk="0" hangingPunct="1">
        <a:spcBef>
          <a:spcPct val="0"/>
        </a:spcBef>
        <a:spcAft>
          <a:spcPct val="0"/>
        </a:spcAft>
        <a:buClr>
          <a:schemeClr val="tx2"/>
        </a:buClr>
        <a:buSzPct val="120000"/>
        <a:buFont typeface="Arial" charset="0"/>
        <a:buChar char="–"/>
        <a:defRPr lang="en-US" sz="1632" baseline="0" dirty="0">
          <a:solidFill>
            <a:schemeClr val="tx1"/>
          </a:solidFill>
          <a:latin typeface="+mn-lt"/>
          <a:ea typeface="+mn-ea"/>
          <a:cs typeface="+mn-cs"/>
        </a:defRPr>
      </a:lvl3pPr>
      <a:lvl4pPr marL="628097" indent="-157942" algn="l" defTabSz="913526" rtl="0" eaLnBrk="1" fontAlgn="base" latinLnBrk="0" hangingPunct="1">
        <a:spcBef>
          <a:spcPct val="0"/>
        </a:spcBef>
        <a:spcAft>
          <a:spcPct val="0"/>
        </a:spcAft>
        <a:buClr>
          <a:schemeClr val="tx2"/>
        </a:buClr>
        <a:buSzPct val="120000"/>
        <a:buFont typeface="Arial" charset="0"/>
        <a:buChar char="▫"/>
        <a:defRPr lang="en-US" sz="1632" baseline="0" dirty="0">
          <a:solidFill>
            <a:schemeClr val="tx1"/>
          </a:solidFill>
          <a:latin typeface="+mn-lt"/>
          <a:ea typeface="+mn-ea"/>
          <a:cs typeface="+mn-cs"/>
        </a:defRPr>
      </a:lvl4pPr>
      <a:lvl5pPr marL="764001" indent="-132231" algn="l" defTabSz="913526" rtl="0" eaLnBrk="1" fontAlgn="base" latinLnBrk="0" hangingPunct="1">
        <a:spcBef>
          <a:spcPct val="0"/>
        </a:spcBef>
        <a:spcAft>
          <a:spcPct val="0"/>
        </a:spcAft>
        <a:buClr>
          <a:schemeClr val="tx2"/>
        </a:buClr>
        <a:buSzPct val="89000"/>
        <a:buFont typeface="Arial" charset="0"/>
        <a:buChar char="-"/>
        <a:defRPr lang="en-US" sz="1632" baseline="0" dirty="0">
          <a:solidFill>
            <a:schemeClr val="tx1"/>
          </a:solidFill>
          <a:latin typeface="+mn-lt"/>
          <a:ea typeface="+mn-ea"/>
          <a:cs typeface="+mn-cs"/>
        </a:defRPr>
      </a:lvl5pPr>
      <a:lvl6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6pPr>
      <a:lvl7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7pPr>
      <a:lvl8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8pPr>
      <a:lvl9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9pPr>
    </p:bodyStyle>
    <p:otherStyle>
      <a:defPPr>
        <a:defRPr lang="en-US"/>
      </a:defPPr>
      <a:lvl1pPr marL="0" algn="l" defTabSz="1244012" rtl="0" eaLnBrk="1" latinLnBrk="0" hangingPunct="1">
        <a:defRPr sz="2449" kern="1200">
          <a:solidFill>
            <a:schemeClr val="tx1"/>
          </a:solidFill>
          <a:latin typeface="+mn-lt"/>
          <a:ea typeface="+mn-ea"/>
          <a:cs typeface="+mn-cs"/>
        </a:defRPr>
      </a:lvl1pPr>
      <a:lvl2pPr marL="622005" algn="l" defTabSz="1244012" rtl="0" eaLnBrk="1" latinLnBrk="0" hangingPunct="1">
        <a:defRPr sz="2449" kern="1200">
          <a:solidFill>
            <a:schemeClr val="tx1"/>
          </a:solidFill>
          <a:latin typeface="+mn-lt"/>
          <a:ea typeface="+mn-ea"/>
          <a:cs typeface="+mn-cs"/>
        </a:defRPr>
      </a:lvl2pPr>
      <a:lvl3pPr marL="1244012" algn="l" defTabSz="1244012" rtl="0" eaLnBrk="1" latinLnBrk="0" hangingPunct="1">
        <a:defRPr sz="2449" kern="1200">
          <a:solidFill>
            <a:schemeClr val="tx1"/>
          </a:solidFill>
          <a:latin typeface="+mn-lt"/>
          <a:ea typeface="+mn-ea"/>
          <a:cs typeface="+mn-cs"/>
        </a:defRPr>
      </a:lvl3pPr>
      <a:lvl4pPr marL="1866017" algn="l" defTabSz="1244012" rtl="0" eaLnBrk="1" latinLnBrk="0" hangingPunct="1">
        <a:defRPr sz="2449" kern="1200">
          <a:solidFill>
            <a:schemeClr val="tx1"/>
          </a:solidFill>
          <a:latin typeface="+mn-lt"/>
          <a:ea typeface="+mn-ea"/>
          <a:cs typeface="+mn-cs"/>
        </a:defRPr>
      </a:lvl4pPr>
      <a:lvl5pPr marL="2488024" algn="l" defTabSz="1244012" rtl="0" eaLnBrk="1" latinLnBrk="0" hangingPunct="1">
        <a:defRPr sz="2449" kern="1200">
          <a:solidFill>
            <a:schemeClr val="tx1"/>
          </a:solidFill>
          <a:latin typeface="+mn-lt"/>
          <a:ea typeface="+mn-ea"/>
          <a:cs typeface="+mn-cs"/>
        </a:defRPr>
      </a:lvl5pPr>
      <a:lvl6pPr marL="3110029" algn="l" defTabSz="1244012" rtl="0" eaLnBrk="1" latinLnBrk="0" hangingPunct="1">
        <a:defRPr sz="2449" kern="1200">
          <a:solidFill>
            <a:schemeClr val="tx1"/>
          </a:solidFill>
          <a:latin typeface="+mn-lt"/>
          <a:ea typeface="+mn-ea"/>
          <a:cs typeface="+mn-cs"/>
        </a:defRPr>
      </a:lvl6pPr>
      <a:lvl7pPr marL="3732036" algn="l" defTabSz="1244012" rtl="0" eaLnBrk="1" latinLnBrk="0" hangingPunct="1">
        <a:defRPr sz="2449" kern="1200">
          <a:solidFill>
            <a:schemeClr val="tx1"/>
          </a:solidFill>
          <a:latin typeface="+mn-lt"/>
          <a:ea typeface="+mn-ea"/>
          <a:cs typeface="+mn-cs"/>
        </a:defRPr>
      </a:lvl7pPr>
      <a:lvl8pPr marL="4354041" algn="l" defTabSz="1244012" rtl="0" eaLnBrk="1" latinLnBrk="0" hangingPunct="1">
        <a:defRPr sz="2449" kern="1200">
          <a:solidFill>
            <a:schemeClr val="tx1"/>
          </a:solidFill>
          <a:latin typeface="+mn-lt"/>
          <a:ea typeface="+mn-ea"/>
          <a:cs typeface="+mn-cs"/>
        </a:defRPr>
      </a:lvl8pPr>
      <a:lvl9pPr marL="4976048" algn="l" defTabSz="1244012" rtl="0" eaLnBrk="1" latinLnBrk="0" hangingPunct="1">
        <a:defRPr sz="244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8.png"/><Relationship Id="rId2" Type="http://schemas.openxmlformats.org/officeDocument/2006/relationships/tags" Target="../tags/tag211.xml"/><Relationship Id="rId1" Type="http://schemas.openxmlformats.org/officeDocument/2006/relationships/tags" Target="../tags/tag210.x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225.xml"/><Relationship Id="rId7" Type="http://schemas.openxmlformats.org/officeDocument/2006/relationships/image" Target="../media/image1.emf"/><Relationship Id="rId2" Type="http://schemas.openxmlformats.org/officeDocument/2006/relationships/tags" Target="../tags/tag224.xml"/><Relationship Id="rId1" Type="http://schemas.openxmlformats.org/officeDocument/2006/relationships/tags" Target="../tags/tag223.xml"/><Relationship Id="rId6" Type="http://schemas.openxmlformats.org/officeDocument/2006/relationships/oleObject" Target="../embeddings/oleObject26.bin"/><Relationship Id="rId5" Type="http://schemas.openxmlformats.org/officeDocument/2006/relationships/notesSlide" Target="../notesSlides/notesSlide6.xml"/><Relationship Id="rId4" Type="http://schemas.openxmlformats.org/officeDocument/2006/relationships/slideLayout" Target="../slideLayouts/slideLayout2.xml"/><Relationship Id="rId9" Type="http://schemas.openxmlformats.org/officeDocument/2006/relationships/hyperlink" Target="https://www.cdc.gov/coronavirus/2019-ncov/vaccines/different-vaccines/how-they-work.html" TargetMode="External"/></Relationships>
</file>

<file path=ppt/slides/_rels/slide11.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slideLayout" Target="../slideLayouts/slideLayout3.xml"/><Relationship Id="rId7" Type="http://schemas.openxmlformats.org/officeDocument/2006/relationships/image" Target="../media/image19.png"/><Relationship Id="rId2" Type="http://schemas.openxmlformats.org/officeDocument/2006/relationships/tags" Target="../tags/tag227.xml"/><Relationship Id="rId1" Type="http://schemas.openxmlformats.org/officeDocument/2006/relationships/tags" Target="../tags/tag226.x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notesSlide" Target="../notesSlides/notesSlide7.xml"/><Relationship Id="rId9" Type="http://schemas.openxmlformats.org/officeDocument/2006/relationships/hyperlink" Target="https://www.cdc.gov/coronavirus/2019-ncov/vaccines/different-vaccines/mRNA.html" TargetMode="External"/></Relationships>
</file>

<file path=ppt/slides/_rels/slide12.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slideLayout" Target="../slideLayouts/slideLayout2.xml"/><Relationship Id="rId7" Type="http://schemas.openxmlformats.org/officeDocument/2006/relationships/hyperlink" Target="https://www.cdc.gov/coronavirus/2019-ncov/vaccines/different-vaccines/viralvector.html" TargetMode="External"/><Relationship Id="rId2" Type="http://schemas.openxmlformats.org/officeDocument/2006/relationships/tags" Target="../tags/tag229.xml"/><Relationship Id="rId1" Type="http://schemas.openxmlformats.org/officeDocument/2006/relationships/tags" Target="../tags/tag228.xml"/><Relationship Id="rId6" Type="http://schemas.openxmlformats.org/officeDocument/2006/relationships/image" Target="../media/image20.emf"/><Relationship Id="rId5" Type="http://schemas.openxmlformats.org/officeDocument/2006/relationships/oleObject" Target="../embeddings/oleObject28.bin"/><Relationship Id="rId4" Type="http://schemas.openxmlformats.org/officeDocument/2006/relationships/notesSlide" Target="../notesSlides/notesSlide8.xml"/></Relationships>
</file>

<file path=ppt/slides/_rels/slide13.xml.rels><?xml version="1.0" encoding="UTF-8" standalone="yes"?>
<Relationships xmlns="http://schemas.openxmlformats.org/package/2006/relationships"><Relationship Id="rId8" Type="http://schemas.openxmlformats.org/officeDocument/2006/relationships/hyperlink" Target="https://www.fda.gov/media/144246/download" TargetMode="External"/><Relationship Id="rId3" Type="http://schemas.openxmlformats.org/officeDocument/2006/relationships/tags" Target="../tags/tag232.xml"/><Relationship Id="rId7" Type="http://schemas.openxmlformats.org/officeDocument/2006/relationships/image" Target="../media/image1.emf"/><Relationship Id="rId2" Type="http://schemas.openxmlformats.org/officeDocument/2006/relationships/tags" Target="../tags/tag231.xml"/><Relationship Id="rId1" Type="http://schemas.openxmlformats.org/officeDocument/2006/relationships/tags" Target="../tags/tag230.xml"/><Relationship Id="rId6" Type="http://schemas.openxmlformats.org/officeDocument/2006/relationships/oleObject" Target="../embeddings/oleObject29.bin"/><Relationship Id="rId11" Type="http://schemas.openxmlformats.org/officeDocument/2006/relationships/image" Target="../media/image23.png"/><Relationship Id="rId5" Type="http://schemas.openxmlformats.org/officeDocument/2006/relationships/notesSlide" Target="../notesSlides/notesSlide9.xml"/><Relationship Id="rId10" Type="http://schemas.openxmlformats.org/officeDocument/2006/relationships/image" Target="../media/image22.png"/><Relationship Id="rId4" Type="http://schemas.openxmlformats.org/officeDocument/2006/relationships/slideLayout" Target="../slideLayouts/slideLayout2.xml"/><Relationship Id="rId9" Type="http://schemas.openxmlformats.org/officeDocument/2006/relationships/hyperlink" Target="https://www.cdc.gov/coronavirus/2019-ncov/vaccines/expect/after.html" TargetMode="External"/></Relationships>
</file>

<file path=ppt/slides/_rels/slide14.xml.rels><?xml version="1.0" encoding="UTF-8" standalone="yes"?>
<Relationships xmlns="http://schemas.openxmlformats.org/package/2006/relationships"><Relationship Id="rId8" Type="http://schemas.openxmlformats.org/officeDocument/2006/relationships/hyperlink" Target="https://www.cdc.gov/mmwr/volumes/70/wr/mm7002e1.htm" TargetMode="External"/><Relationship Id="rId3" Type="http://schemas.openxmlformats.org/officeDocument/2006/relationships/tags" Target="../tags/tag235.xml"/><Relationship Id="rId7" Type="http://schemas.openxmlformats.org/officeDocument/2006/relationships/image" Target="../media/image1.emf"/><Relationship Id="rId2" Type="http://schemas.openxmlformats.org/officeDocument/2006/relationships/tags" Target="../tags/tag234.xml"/><Relationship Id="rId1" Type="http://schemas.openxmlformats.org/officeDocument/2006/relationships/tags" Target="../tags/tag233.xml"/><Relationship Id="rId6" Type="http://schemas.openxmlformats.org/officeDocument/2006/relationships/oleObject" Target="../embeddings/oleObject29.bin"/><Relationship Id="rId5" Type="http://schemas.openxmlformats.org/officeDocument/2006/relationships/notesSlide" Target="../notesSlides/notesSlide10.xml"/><Relationship Id="rId4" Type="http://schemas.openxmlformats.org/officeDocument/2006/relationships/slideLayout" Target="../slideLayouts/slideLayout2.xml"/><Relationship Id="rId9" Type="http://schemas.openxmlformats.org/officeDocument/2006/relationships/hyperlink" Target="https://www.cdc.gov/mmwr/volumes/70/wr/mm7004e1.htm" TargetMode="External"/></Relationships>
</file>

<file path=ppt/slides/_rels/slide15.xml.rels><?xml version="1.0" encoding="UTF-8" standalone="yes"?>
<Relationships xmlns="http://schemas.openxmlformats.org/package/2006/relationships"><Relationship Id="rId3" Type="http://schemas.openxmlformats.org/officeDocument/2006/relationships/hyperlink" Target="https://www.cdc.gov/mmwr/volumes/70/wr/mm7002e1.htm" TargetMode="External"/><Relationship Id="rId2" Type="http://schemas.openxmlformats.org/officeDocument/2006/relationships/hyperlink" Target="https://vaers.hhs.gov/reportevent.html" TargetMode="External"/><Relationship Id="rId1" Type="http://schemas.openxmlformats.org/officeDocument/2006/relationships/slideLayout" Target="../slideLayouts/slideLayout2.xml"/><Relationship Id="rId4" Type="http://schemas.openxmlformats.org/officeDocument/2006/relationships/hyperlink" Target="https://www.cdc.gov/mmwr/volumes/70/wr/mm7004e1.htm" TargetMode="Externa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8" Type="http://schemas.openxmlformats.org/officeDocument/2006/relationships/hyperlink" Target="https://www.cdc.gov/coronavirus/2019-ncov/vaccines/different-vaccines/janssen.html" TargetMode="External"/><Relationship Id="rId3" Type="http://schemas.openxmlformats.org/officeDocument/2006/relationships/tags" Target="../tags/tag238.xml"/><Relationship Id="rId7" Type="http://schemas.openxmlformats.org/officeDocument/2006/relationships/image" Target="../media/image1.emf"/><Relationship Id="rId2" Type="http://schemas.openxmlformats.org/officeDocument/2006/relationships/tags" Target="../tags/tag237.xml"/><Relationship Id="rId1" Type="http://schemas.openxmlformats.org/officeDocument/2006/relationships/tags" Target="../tags/tag236.xml"/><Relationship Id="rId6" Type="http://schemas.openxmlformats.org/officeDocument/2006/relationships/oleObject" Target="../embeddings/oleObject29.bin"/><Relationship Id="rId5" Type="http://schemas.openxmlformats.org/officeDocument/2006/relationships/notesSlide" Target="../notesSlides/notesSlide12.xml"/><Relationship Id="rId10" Type="http://schemas.openxmlformats.org/officeDocument/2006/relationships/image" Target="../media/image23.png"/><Relationship Id="rId4" Type="http://schemas.openxmlformats.org/officeDocument/2006/relationships/slideLayout" Target="../slideLayouts/slideLayout2.xml"/><Relationship Id="rId9" Type="http://schemas.openxmlformats.org/officeDocument/2006/relationships/image" Target="../media/image22.png"/></Relationships>
</file>

<file path=ppt/slides/_rels/slide18.xml.rels><?xml version="1.0" encoding="UTF-8" standalone="yes"?>
<Relationships xmlns="http://schemas.openxmlformats.org/package/2006/relationships"><Relationship Id="rId8" Type="http://schemas.openxmlformats.org/officeDocument/2006/relationships/hyperlink" Target="https://www.cdc.gov/coronavirus/2019-ncov/vaccines/safety/JJUpdate.html" TargetMode="External"/><Relationship Id="rId3" Type="http://schemas.openxmlformats.org/officeDocument/2006/relationships/tags" Target="../tags/tag241.xml"/><Relationship Id="rId7" Type="http://schemas.openxmlformats.org/officeDocument/2006/relationships/image" Target="../media/image1.emf"/><Relationship Id="rId2" Type="http://schemas.openxmlformats.org/officeDocument/2006/relationships/tags" Target="../tags/tag240.xml"/><Relationship Id="rId1" Type="http://schemas.openxmlformats.org/officeDocument/2006/relationships/tags" Target="../tags/tag239.xml"/><Relationship Id="rId6" Type="http://schemas.openxmlformats.org/officeDocument/2006/relationships/oleObject" Target="../embeddings/oleObject29.bin"/><Relationship Id="rId5" Type="http://schemas.openxmlformats.org/officeDocument/2006/relationships/notesSlide" Target="../notesSlides/notesSlide13.xml"/><Relationship Id="rId4"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hyperlink" Target="https://vaers.hhs.gov/reportevent.html" TargetMode="External"/><Relationship Id="rId2" Type="http://schemas.openxmlformats.org/officeDocument/2006/relationships/notesSlide" Target="../notesSlides/notesSlide14.xml"/><Relationship Id="rId1" Type="http://schemas.openxmlformats.org/officeDocument/2006/relationships/slideLayout" Target="../slideLayouts/slideLayout2.xml"/><Relationship Id="rId5" Type="http://schemas.openxmlformats.org/officeDocument/2006/relationships/image" Target="../media/image24.png"/><Relationship Id="rId4" Type="http://schemas.openxmlformats.org/officeDocument/2006/relationships/hyperlink" Target="https://www.cdc.gov/coronavirus/2019-ncov/vaccines/safety/JJUpdate.html" TargetMode="External"/></Relationships>
</file>

<file path=ppt/slides/_rels/slide2.xml.rels><?xml version="1.0" encoding="UTF-8" standalone="yes"?>
<Relationships xmlns="http://schemas.openxmlformats.org/package/2006/relationships"><Relationship Id="rId3" Type="http://schemas.openxmlformats.org/officeDocument/2006/relationships/hyperlink" Target="http://www.cdc.gov/" TargetMode="External"/><Relationship Id="rId2" Type="http://schemas.openxmlformats.org/officeDocument/2006/relationships/hyperlink" Target="http://www.nj.gov/health/" TargetMode="External"/><Relationship Id="rId1" Type="http://schemas.openxmlformats.org/officeDocument/2006/relationships/slideLayout" Target="../slideLayouts/slideLayout9.xml"/><Relationship Id="rId5" Type="http://schemas.openxmlformats.org/officeDocument/2006/relationships/hyperlink" Target="http://www.healthychildren.org/" TargetMode="External"/><Relationship Id="rId4" Type="http://schemas.openxmlformats.org/officeDocument/2006/relationships/hyperlink" Target="http://www.aap.org/"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hyperlink" Target="https://www.acog.org/clinical/clinical-guidance/practice-advisory/articles/2020/12/covid-19-vaccination-considerations-for-obstetric-gynecologic-care" TargetMode="External"/><Relationship Id="rId2" Type="http://schemas.openxmlformats.org/officeDocument/2006/relationships/hyperlink" Target="https://www.cdc.gov/coronavirus/2019-ncov/vaccines/facts.html" TargetMode="External"/><Relationship Id="rId1" Type="http://schemas.openxmlformats.org/officeDocument/2006/relationships/slideLayout" Target="../slideLayouts/slideLayout2.xml"/><Relationship Id="rId4" Type="http://schemas.openxmlformats.org/officeDocument/2006/relationships/image" Target="../media/image26.png"/></Relationships>
</file>

<file path=ppt/slides/_rels/slide22.xml.rels><?xml version="1.0" encoding="UTF-8" standalone="yes"?>
<Relationships xmlns="http://schemas.openxmlformats.org/package/2006/relationships"><Relationship Id="rId2" Type="http://schemas.openxmlformats.org/officeDocument/2006/relationships/hyperlink" Target="https://www.cdc.gov/coronavirus/2019-ncov/variants/variant.html" TargetMode="Externa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hyperlink" Target="https://www.nj.gov/health/cd/documents/topics/NCOV/COVID_19_Variant_Report_Week_2021_34.pdf" TargetMode="External"/><Relationship Id="rId7" Type="http://schemas.openxmlformats.org/officeDocument/2006/relationships/image" Target="../media/image30.png"/><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6.xml"/><Relationship Id="rId1" Type="http://schemas.openxmlformats.org/officeDocument/2006/relationships/tags" Target="../tags/tag242.xml"/><Relationship Id="rId5" Type="http://schemas.openxmlformats.org/officeDocument/2006/relationships/image" Target="../media/image1.emf"/><Relationship Id="rId4" Type="http://schemas.openxmlformats.org/officeDocument/2006/relationships/oleObject" Target="../embeddings/oleObject30.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xml"/><Relationship Id="rId1" Type="http://schemas.openxmlformats.org/officeDocument/2006/relationships/tags" Target="../tags/tag243.xml"/><Relationship Id="rId6" Type="http://schemas.openxmlformats.org/officeDocument/2006/relationships/image" Target="../media/image31.png"/><Relationship Id="rId5" Type="http://schemas.openxmlformats.org/officeDocument/2006/relationships/image" Target="../media/image1.emf"/><Relationship Id="rId4" Type="http://schemas.openxmlformats.org/officeDocument/2006/relationships/oleObject" Target="../embeddings/oleObject31.bin"/></Relationships>
</file>

<file path=ppt/slides/_rels/slide26.xml.rels><?xml version="1.0" encoding="UTF-8" standalone="yes"?>
<Relationships xmlns="http://schemas.openxmlformats.org/package/2006/relationships"><Relationship Id="rId3" Type="http://schemas.openxmlformats.org/officeDocument/2006/relationships/hyperlink" Target="https://www.nj.gov/health/cd/topics/covid2019_dashboard.shtml" TargetMode="External"/><Relationship Id="rId2" Type="http://schemas.openxmlformats.org/officeDocument/2006/relationships/notesSlide" Target="../notesSlides/notesSlide19.xml"/><Relationship Id="rId1" Type="http://schemas.openxmlformats.org/officeDocument/2006/relationships/slideLayout" Target="../slideLayouts/slideLayout7.xml"/><Relationship Id="rId5" Type="http://schemas.openxmlformats.org/officeDocument/2006/relationships/image" Target="../media/image33.png"/><Relationship Id="rId4" Type="http://schemas.openxmlformats.org/officeDocument/2006/relationships/image" Target="../media/image32.png"/></Relationships>
</file>

<file path=ppt/slides/_rels/slide27.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246.xml"/><Relationship Id="rId7" Type="http://schemas.openxmlformats.org/officeDocument/2006/relationships/oleObject" Target="../embeddings/oleObject32.bin"/><Relationship Id="rId2" Type="http://schemas.openxmlformats.org/officeDocument/2006/relationships/tags" Target="../tags/tag245.xml"/><Relationship Id="rId1" Type="http://schemas.openxmlformats.org/officeDocument/2006/relationships/tags" Target="../tags/tag244.xml"/><Relationship Id="rId6" Type="http://schemas.openxmlformats.org/officeDocument/2006/relationships/slideLayout" Target="../slideLayouts/slideLayout19.xml"/><Relationship Id="rId5" Type="http://schemas.openxmlformats.org/officeDocument/2006/relationships/tags" Target="../tags/tag248.xml"/><Relationship Id="rId4" Type="http://schemas.openxmlformats.org/officeDocument/2006/relationships/tags" Target="../tags/tag247.xml"/><Relationship Id="rId9" Type="http://schemas.openxmlformats.org/officeDocument/2006/relationships/image" Target="../media/image34.png"/></Relationships>
</file>

<file path=ppt/slides/_rels/slide28.xml.rels><?xml version="1.0" encoding="UTF-8" standalone="yes"?>
<Relationships xmlns="http://schemas.openxmlformats.org/package/2006/relationships"><Relationship Id="rId2" Type="http://schemas.openxmlformats.org/officeDocument/2006/relationships/hyperlink" Target="https://www.cdc.gov/vaccines/covid-19/hcp/answering-questions.html" TargetMode="Externa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0.xml"/><Relationship Id="rId1" Type="http://schemas.openxmlformats.org/officeDocument/2006/relationships/slideLayout" Target="../slideLayouts/slideLayout2.xml"/><Relationship Id="rId5" Type="http://schemas.openxmlformats.org/officeDocument/2006/relationships/hyperlink" Target="https://www.cdc.gov/coronavirus/2019-ncov/community/schools-childcare/k-12-guidance.html" TargetMode="External"/><Relationship Id="rId4" Type="http://schemas.openxmlformats.org/officeDocument/2006/relationships/image" Target="../media/image36.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213.xml"/><Relationship Id="rId1" Type="http://schemas.openxmlformats.org/officeDocument/2006/relationships/tags" Target="../tags/tag212.xml"/><Relationship Id="rId5" Type="http://schemas.openxmlformats.org/officeDocument/2006/relationships/image" Target="../media/image9.png"/><Relationship Id="rId4" Type="http://schemas.openxmlformats.org/officeDocument/2006/relationships/hyperlink" Target="https://www.cdc.gov/coronavirus/2019-ncov/transmission/index.html" TargetMode="External"/></Relationships>
</file>

<file path=ppt/slides/_rels/slide30.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slideLayout" Target="../slideLayouts/slideLayout2.xml"/><Relationship Id="rId7" Type="http://schemas.openxmlformats.org/officeDocument/2006/relationships/image" Target="../media/image37.png"/><Relationship Id="rId12" Type="http://schemas.openxmlformats.org/officeDocument/2006/relationships/image" Target="../media/image42.svg"/><Relationship Id="rId2" Type="http://schemas.openxmlformats.org/officeDocument/2006/relationships/tags" Target="../tags/tag250.xml"/><Relationship Id="rId1" Type="http://schemas.openxmlformats.org/officeDocument/2006/relationships/tags" Target="../tags/tag249.xml"/><Relationship Id="rId6" Type="http://schemas.openxmlformats.org/officeDocument/2006/relationships/image" Target="../media/image1.emf"/><Relationship Id="rId11" Type="http://schemas.openxmlformats.org/officeDocument/2006/relationships/image" Target="../media/image41.png"/><Relationship Id="rId5" Type="http://schemas.openxmlformats.org/officeDocument/2006/relationships/oleObject" Target="../embeddings/oleObject33.bin"/><Relationship Id="rId10" Type="http://schemas.openxmlformats.org/officeDocument/2006/relationships/image" Target="../media/image40.svg"/><Relationship Id="rId4" Type="http://schemas.openxmlformats.org/officeDocument/2006/relationships/notesSlide" Target="../notesSlides/notesSlide21.xml"/><Relationship Id="rId9" Type="http://schemas.openxmlformats.org/officeDocument/2006/relationships/image" Target="../media/image39.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hyperlink" Target="https://www.cdc.gov/coronavirus/2019-ncov/your-health/need-to-know.html" TargetMode="External"/><Relationship Id="rId2" Type="http://schemas.openxmlformats.org/officeDocument/2006/relationships/slideLayout" Target="../slideLayouts/slideLayout9.xml"/><Relationship Id="rId1" Type="http://schemas.openxmlformats.org/officeDocument/2006/relationships/tags" Target="../tags/tag214.xml"/><Relationship Id="rId4" Type="http://schemas.openxmlformats.org/officeDocument/2006/relationships/image" Target="../media/image11.png"/></Relationships>
</file>

<file path=ppt/slides/_rels/slide6.xml.rels><?xml version="1.0" encoding="UTF-8" standalone="yes"?>
<Relationships xmlns="http://schemas.openxmlformats.org/package/2006/relationships"><Relationship Id="rId8" Type="http://schemas.openxmlformats.org/officeDocument/2006/relationships/hyperlink" Target="https://covid.cdc.gov/covid-data-tracker/#trends_dailycases" TargetMode="External"/><Relationship Id="rId3" Type="http://schemas.openxmlformats.org/officeDocument/2006/relationships/image" Target="../media/image12.png"/><Relationship Id="rId7" Type="http://schemas.openxmlformats.org/officeDocument/2006/relationships/hyperlink" Target="https://www.nj.gov/health/cd/topics/covid2019_dashboard.shtml" TargetMode="External"/><Relationship Id="rId2" Type="http://schemas.openxmlformats.org/officeDocument/2006/relationships/notesSlide" Target="../notesSlides/notesSlide2.xml"/><Relationship Id="rId1" Type="http://schemas.openxmlformats.org/officeDocument/2006/relationships/slideLayout" Target="../slideLayouts/slideLayout9.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7.xml.rels><?xml version="1.0" encoding="UTF-8" standalone="yes"?>
<Relationships xmlns="http://schemas.openxmlformats.org/package/2006/relationships"><Relationship Id="rId8" Type="http://schemas.openxmlformats.org/officeDocument/2006/relationships/hyperlink" Target="https://covid.cdc.gov/covid-data-tracker/#mis-national-surveillance" TargetMode="External"/><Relationship Id="rId3" Type="http://schemas.openxmlformats.org/officeDocument/2006/relationships/tags" Target="../tags/tag217.xml"/><Relationship Id="rId7" Type="http://schemas.openxmlformats.org/officeDocument/2006/relationships/image" Target="../media/image1.emf"/><Relationship Id="rId2" Type="http://schemas.openxmlformats.org/officeDocument/2006/relationships/tags" Target="../tags/tag216.xml"/><Relationship Id="rId1" Type="http://schemas.openxmlformats.org/officeDocument/2006/relationships/tags" Target="../tags/tag215.xml"/><Relationship Id="rId6" Type="http://schemas.openxmlformats.org/officeDocument/2006/relationships/oleObject" Target="../embeddings/oleObject24.bin"/><Relationship Id="rId5" Type="http://schemas.openxmlformats.org/officeDocument/2006/relationships/notesSlide" Target="../notesSlides/notesSlide3.xml"/><Relationship Id="rId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hyperlink" Target="https://www.cdc.gov/coronavirus/2019-ncov/long-term-effects.html" TargetMode="External"/><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oleObject" Target="../embeddings/oleObject25.bin"/><Relationship Id="rId13" Type="http://schemas.openxmlformats.org/officeDocument/2006/relationships/image" Target="../media/image17.png"/><Relationship Id="rId3" Type="http://schemas.openxmlformats.org/officeDocument/2006/relationships/tags" Target="../tags/tag220.xml"/><Relationship Id="rId7" Type="http://schemas.openxmlformats.org/officeDocument/2006/relationships/notesSlide" Target="../notesSlides/notesSlide5.xml"/><Relationship Id="rId12" Type="http://schemas.openxmlformats.org/officeDocument/2006/relationships/image" Target="../media/image16.png"/><Relationship Id="rId2" Type="http://schemas.openxmlformats.org/officeDocument/2006/relationships/tags" Target="../tags/tag219.xml"/><Relationship Id="rId1" Type="http://schemas.openxmlformats.org/officeDocument/2006/relationships/tags" Target="../tags/tag218.xml"/><Relationship Id="rId6" Type="http://schemas.openxmlformats.org/officeDocument/2006/relationships/slideLayout" Target="../slideLayouts/slideLayout1.xml"/><Relationship Id="rId11" Type="http://schemas.openxmlformats.org/officeDocument/2006/relationships/image" Target="../media/image8.png"/><Relationship Id="rId5" Type="http://schemas.openxmlformats.org/officeDocument/2006/relationships/tags" Target="../tags/tag222.xml"/><Relationship Id="rId10" Type="http://schemas.openxmlformats.org/officeDocument/2006/relationships/image" Target="../media/image2.jpeg"/><Relationship Id="rId4" Type="http://schemas.openxmlformats.org/officeDocument/2006/relationships/tags" Target="../tags/tag221.xml"/><Relationship Id="rId9"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24D3B85-3D7D-4E4D-850F-DC33DEAF5122}"/>
              </a:ext>
            </a:extLst>
          </p:cNvPr>
          <p:cNvGraphicFramePr>
            <a:graphicFrameLocks noChangeAspect="1"/>
          </p:cNvGraphicFramePr>
          <p:nvPr>
            <p:custDataLst>
              <p:tags r:id="rId1"/>
            </p:custDataLst>
            <p:extLst>
              <p:ext uri="{D42A27DB-BD31-4B8C-83A1-F6EECF244321}">
                <p14:modId xmlns:p14="http://schemas.microsoft.com/office/powerpoint/2010/main" val="35086272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5" progId="TCLayout.ActiveDocument.1">
                  <p:embed/>
                </p:oleObj>
              </mc:Choice>
              <mc:Fallback>
                <p:oleObj name="think-cell Slide" r:id="rId5" imgW="592" imgH="595" progId="TCLayout.ActiveDocument.1">
                  <p:embed/>
                  <p:pic>
                    <p:nvPicPr>
                      <p:cNvPr id="5" name="Object 4" hidden="1">
                        <a:extLst>
                          <a:ext uri="{FF2B5EF4-FFF2-40B4-BE49-F238E27FC236}">
                            <a16:creationId xmlns:a16="http://schemas.microsoft.com/office/drawing/2014/main" id="{024D3B85-3D7D-4E4D-850F-DC33DEAF512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9D8AA3F-27A7-4B30-A1D9-3AE9F27A45B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5400" b="1" dirty="0">
              <a:latin typeface="Open Sans" panose="020B0604020202020204" charset="0"/>
              <a:ea typeface="+mj-ea"/>
              <a:cs typeface="+mj-cs"/>
              <a:sym typeface="Open Sans" panose="020B0604020202020204" charset="0"/>
            </a:endParaRPr>
          </a:p>
        </p:txBody>
      </p:sp>
      <p:grpSp>
        <p:nvGrpSpPr>
          <p:cNvPr id="199" name="Graphic 6">
            <a:extLst>
              <a:ext uri="{FF2B5EF4-FFF2-40B4-BE49-F238E27FC236}">
                <a16:creationId xmlns:a16="http://schemas.microsoft.com/office/drawing/2014/main" id="{51D6F4BB-E553-4BB1-84E6-37499D523463}"/>
              </a:ext>
            </a:extLst>
          </p:cNvPr>
          <p:cNvGrpSpPr/>
          <p:nvPr/>
        </p:nvGrpSpPr>
        <p:grpSpPr>
          <a:xfrm>
            <a:off x="10332508" y="2400363"/>
            <a:ext cx="1097241" cy="1151947"/>
            <a:chOff x="10332508" y="2400363"/>
            <a:chExt cx="1097241" cy="1151947"/>
          </a:xfrm>
          <a:solidFill>
            <a:srgbClr val="DAE3F3"/>
          </a:solidFill>
        </p:grpSpPr>
        <p:sp>
          <p:nvSpPr>
            <p:cNvPr id="200" name="Freeform: Shape 199">
              <a:extLst>
                <a:ext uri="{FF2B5EF4-FFF2-40B4-BE49-F238E27FC236}">
                  <a16:creationId xmlns:a16="http://schemas.microsoft.com/office/drawing/2014/main" id="{E361B0C2-6CF3-4A5C-97CF-33FFBDCF7DE8}"/>
                </a:ext>
              </a:extLst>
            </p:cNvPr>
            <p:cNvSpPr/>
            <p:nvPr/>
          </p:nvSpPr>
          <p:spPr>
            <a:xfrm rot="-2700000">
              <a:off x="10490754" y="2558610"/>
              <a:ext cx="764082" cy="764082"/>
            </a:xfrm>
            <a:custGeom>
              <a:avLst/>
              <a:gdLst>
                <a:gd name="connsiteX0" fmla="*/ 764083 w 764082"/>
                <a:gd name="connsiteY0" fmla="*/ 382041 h 764082"/>
                <a:gd name="connsiteX1" fmla="*/ 382041 w 764082"/>
                <a:gd name="connsiteY1" fmla="*/ 764083 h 764082"/>
                <a:gd name="connsiteX2" fmla="*/ -1 w 764082"/>
                <a:gd name="connsiteY2" fmla="*/ 382041 h 764082"/>
                <a:gd name="connsiteX3" fmla="*/ 382041 w 764082"/>
                <a:gd name="connsiteY3" fmla="*/ 0 h 764082"/>
                <a:gd name="connsiteX4" fmla="*/ 764083 w 764082"/>
                <a:gd name="connsiteY4" fmla="*/ 382041 h 7640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4082" h="764082">
                  <a:moveTo>
                    <a:pt x="764083" y="382041"/>
                  </a:moveTo>
                  <a:cubicBezTo>
                    <a:pt x="764083" y="593037"/>
                    <a:pt x="593037" y="764083"/>
                    <a:pt x="382041" y="764083"/>
                  </a:cubicBezTo>
                  <a:cubicBezTo>
                    <a:pt x="171045" y="764083"/>
                    <a:pt x="-1" y="593037"/>
                    <a:pt x="-1" y="382041"/>
                  </a:cubicBezTo>
                  <a:cubicBezTo>
                    <a:pt x="-1" y="171046"/>
                    <a:pt x="171045" y="0"/>
                    <a:pt x="382041" y="0"/>
                  </a:cubicBezTo>
                  <a:cubicBezTo>
                    <a:pt x="593037" y="0"/>
                    <a:pt x="764083" y="171046"/>
                    <a:pt x="764083" y="382041"/>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sp>
          <p:nvSpPr>
            <p:cNvPr id="201" name="Freeform: Shape 200">
              <a:extLst>
                <a:ext uri="{FF2B5EF4-FFF2-40B4-BE49-F238E27FC236}">
                  <a16:creationId xmlns:a16="http://schemas.microsoft.com/office/drawing/2014/main" id="{66173236-D1DE-4A5F-9506-5ED9E5EEEF86}"/>
                </a:ext>
              </a:extLst>
            </p:cNvPr>
            <p:cNvSpPr/>
            <p:nvPr/>
          </p:nvSpPr>
          <p:spPr>
            <a:xfrm>
              <a:off x="11157039" y="2646639"/>
              <a:ext cx="119478" cy="120824"/>
            </a:xfrm>
            <a:custGeom>
              <a:avLst/>
              <a:gdLst>
                <a:gd name="connsiteX0" fmla="*/ 116494 w 119478"/>
                <a:gd name="connsiteY0" fmla="*/ 236 h 120824"/>
                <a:gd name="connsiteX1" fmla="*/ 53163 w 119478"/>
                <a:gd name="connsiteY1" fmla="*/ 58511 h 120824"/>
                <a:gd name="connsiteX2" fmla="*/ 23031 w 119478"/>
                <a:gd name="connsiteY2" fmla="*/ 86621 h 120824"/>
                <a:gd name="connsiteX3" fmla="*/ 111 w 119478"/>
                <a:gd name="connsiteY3" fmla="*/ 118135 h 120824"/>
                <a:gd name="connsiteX4" fmla="*/ 3953 w 119478"/>
                <a:gd name="connsiteY4" fmla="*/ 119214 h 120824"/>
                <a:gd name="connsiteX5" fmla="*/ 28895 w 119478"/>
                <a:gd name="connsiteY5" fmla="*/ 87026 h 120824"/>
                <a:gd name="connsiteX6" fmla="*/ 57342 w 119478"/>
                <a:gd name="connsiteY6" fmla="*/ 59859 h 120824"/>
                <a:gd name="connsiteX7" fmla="*/ 118348 w 119478"/>
                <a:gd name="connsiteY7" fmla="*/ 4044 h 120824"/>
                <a:gd name="connsiteX8" fmla="*/ 116494 w 119478"/>
                <a:gd name="connsiteY8" fmla="*/ 236 h 120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478" h="120824">
                  <a:moveTo>
                    <a:pt x="116494" y="236"/>
                  </a:moveTo>
                  <a:cubicBezTo>
                    <a:pt x="90508" y="13515"/>
                    <a:pt x="72509" y="35828"/>
                    <a:pt x="53163" y="58511"/>
                  </a:cubicBezTo>
                  <a:cubicBezTo>
                    <a:pt x="43995" y="69263"/>
                    <a:pt x="33479" y="77521"/>
                    <a:pt x="23031" y="86621"/>
                  </a:cubicBezTo>
                  <a:cubicBezTo>
                    <a:pt x="13222" y="95182"/>
                    <a:pt x="4088" y="104856"/>
                    <a:pt x="111" y="118135"/>
                  </a:cubicBezTo>
                  <a:cubicBezTo>
                    <a:pt x="-698" y="120899"/>
                    <a:pt x="3144" y="121978"/>
                    <a:pt x="3953" y="119214"/>
                  </a:cubicBezTo>
                  <a:cubicBezTo>
                    <a:pt x="8100" y="105328"/>
                    <a:pt x="18615" y="95688"/>
                    <a:pt x="28895" y="87026"/>
                  </a:cubicBezTo>
                  <a:cubicBezTo>
                    <a:pt x="39041" y="78465"/>
                    <a:pt x="48579" y="70173"/>
                    <a:pt x="57342" y="59859"/>
                  </a:cubicBezTo>
                  <a:cubicBezTo>
                    <a:pt x="75880" y="37985"/>
                    <a:pt x="93372" y="16785"/>
                    <a:pt x="118348" y="4044"/>
                  </a:cubicBezTo>
                  <a:cubicBezTo>
                    <a:pt x="120775" y="2831"/>
                    <a:pt x="118887" y="-978"/>
                    <a:pt x="116494" y="236"/>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sp>
          <p:nvSpPr>
            <p:cNvPr id="202" name="Freeform: Shape 201">
              <a:extLst>
                <a:ext uri="{FF2B5EF4-FFF2-40B4-BE49-F238E27FC236}">
                  <a16:creationId xmlns:a16="http://schemas.microsoft.com/office/drawing/2014/main" id="{583091CC-A7CB-4E7E-A395-4910FE4217B4}"/>
                </a:ext>
              </a:extLst>
            </p:cNvPr>
            <p:cNvSpPr/>
            <p:nvPr/>
          </p:nvSpPr>
          <p:spPr>
            <a:xfrm>
              <a:off x="10538696" y="2533967"/>
              <a:ext cx="184402" cy="210723"/>
            </a:xfrm>
            <a:custGeom>
              <a:avLst/>
              <a:gdLst>
                <a:gd name="connsiteX0" fmla="*/ 181369 w 184402"/>
                <a:gd name="connsiteY0" fmla="*/ 203878 h 210723"/>
                <a:gd name="connsiteX1" fmla="*/ 78973 w 184402"/>
                <a:gd name="connsiteY1" fmla="*/ 120761 h 210723"/>
                <a:gd name="connsiteX2" fmla="*/ 39168 w 184402"/>
                <a:gd name="connsiteY2" fmla="*/ 52610 h 210723"/>
                <a:gd name="connsiteX3" fmla="*/ 5328 w 184402"/>
                <a:gd name="connsiteY3" fmla="*/ 1041 h 210723"/>
                <a:gd name="connsiteX4" fmla="*/ 812 w 184402"/>
                <a:gd name="connsiteY4" fmla="*/ 5558 h 210723"/>
                <a:gd name="connsiteX5" fmla="*/ 60840 w 184402"/>
                <a:gd name="connsiteY5" fmla="*/ 103167 h 210723"/>
                <a:gd name="connsiteX6" fmla="*/ 133676 w 184402"/>
                <a:gd name="connsiteY6" fmla="*/ 195991 h 210723"/>
                <a:gd name="connsiteX7" fmla="*/ 181369 w 184402"/>
                <a:gd name="connsiteY7" fmla="*/ 210248 h 210723"/>
                <a:gd name="connsiteX8" fmla="*/ 181369 w 184402"/>
                <a:gd name="connsiteY8" fmla="*/ 203878 h 210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4402" h="210723">
                  <a:moveTo>
                    <a:pt x="181369" y="203878"/>
                  </a:moveTo>
                  <a:cubicBezTo>
                    <a:pt x="134385" y="210147"/>
                    <a:pt x="100106" y="154365"/>
                    <a:pt x="78973" y="120761"/>
                  </a:cubicBezTo>
                  <a:cubicBezTo>
                    <a:pt x="64986" y="98482"/>
                    <a:pt x="52279" y="75394"/>
                    <a:pt x="39168" y="52610"/>
                  </a:cubicBezTo>
                  <a:cubicBezTo>
                    <a:pt x="28956" y="34881"/>
                    <a:pt x="18743" y="16613"/>
                    <a:pt x="5328" y="1041"/>
                  </a:cubicBezTo>
                  <a:cubicBezTo>
                    <a:pt x="2666" y="-2060"/>
                    <a:pt x="-1851" y="2457"/>
                    <a:pt x="812" y="5558"/>
                  </a:cubicBezTo>
                  <a:cubicBezTo>
                    <a:pt x="25518" y="34241"/>
                    <a:pt x="41729" y="70743"/>
                    <a:pt x="60840" y="103167"/>
                  </a:cubicBezTo>
                  <a:cubicBezTo>
                    <a:pt x="80423" y="136367"/>
                    <a:pt x="101960" y="172869"/>
                    <a:pt x="133676" y="195991"/>
                  </a:cubicBezTo>
                  <a:cubicBezTo>
                    <a:pt x="147563" y="206136"/>
                    <a:pt x="163977" y="212573"/>
                    <a:pt x="181369" y="210248"/>
                  </a:cubicBezTo>
                  <a:cubicBezTo>
                    <a:pt x="185380" y="209708"/>
                    <a:pt x="185447" y="203338"/>
                    <a:pt x="181369" y="203878"/>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sp>
          <p:nvSpPr>
            <p:cNvPr id="203" name="Freeform: Shape 202">
              <a:extLst>
                <a:ext uri="{FF2B5EF4-FFF2-40B4-BE49-F238E27FC236}">
                  <a16:creationId xmlns:a16="http://schemas.microsoft.com/office/drawing/2014/main" id="{88519491-BA71-421B-82CA-4CA7285BF1C4}"/>
                </a:ext>
              </a:extLst>
            </p:cNvPr>
            <p:cNvSpPr/>
            <p:nvPr/>
          </p:nvSpPr>
          <p:spPr>
            <a:xfrm>
              <a:off x="10385843" y="2860875"/>
              <a:ext cx="311734" cy="57426"/>
            </a:xfrm>
            <a:custGeom>
              <a:avLst/>
              <a:gdLst>
                <a:gd name="connsiteX0" fmla="*/ 307898 w 311734"/>
                <a:gd name="connsiteY0" fmla="*/ 228 h 57426"/>
                <a:gd name="connsiteX1" fmla="*/ 158788 w 311734"/>
                <a:gd name="connsiteY1" fmla="*/ 40101 h 57426"/>
                <a:gd name="connsiteX2" fmla="*/ 3071 w 311734"/>
                <a:gd name="connsiteY2" fmla="*/ 51055 h 57426"/>
                <a:gd name="connsiteX3" fmla="*/ 3071 w 311734"/>
                <a:gd name="connsiteY3" fmla="*/ 57426 h 57426"/>
                <a:gd name="connsiteX4" fmla="*/ 156934 w 311734"/>
                <a:gd name="connsiteY4" fmla="*/ 46775 h 57426"/>
                <a:gd name="connsiteX5" fmla="*/ 309550 w 311734"/>
                <a:gd name="connsiteY5" fmla="*/ 6363 h 57426"/>
                <a:gd name="connsiteX6" fmla="*/ 307898 w 311734"/>
                <a:gd name="connsiteY6" fmla="*/ 228 h 57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1734" h="57426">
                  <a:moveTo>
                    <a:pt x="307898" y="228"/>
                  </a:moveTo>
                  <a:cubicBezTo>
                    <a:pt x="259700" y="18732"/>
                    <a:pt x="209884" y="32282"/>
                    <a:pt x="158788" y="40101"/>
                  </a:cubicBezTo>
                  <a:cubicBezTo>
                    <a:pt x="107287" y="47988"/>
                    <a:pt x="55111" y="50246"/>
                    <a:pt x="3071" y="51055"/>
                  </a:cubicBezTo>
                  <a:cubicBezTo>
                    <a:pt x="-1007" y="51123"/>
                    <a:pt x="-1041" y="57493"/>
                    <a:pt x="3071" y="57426"/>
                  </a:cubicBezTo>
                  <a:cubicBezTo>
                    <a:pt x="54505" y="56617"/>
                    <a:pt x="106006" y="54325"/>
                    <a:pt x="156934" y="46775"/>
                  </a:cubicBezTo>
                  <a:cubicBezTo>
                    <a:pt x="209210" y="39023"/>
                    <a:pt x="260240" y="25305"/>
                    <a:pt x="309550" y="6363"/>
                  </a:cubicBezTo>
                  <a:cubicBezTo>
                    <a:pt x="313392" y="4913"/>
                    <a:pt x="311740" y="-1255"/>
                    <a:pt x="307898" y="228"/>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sp>
          <p:nvSpPr>
            <p:cNvPr id="204" name="Freeform: Shape 203">
              <a:extLst>
                <a:ext uri="{FF2B5EF4-FFF2-40B4-BE49-F238E27FC236}">
                  <a16:creationId xmlns:a16="http://schemas.microsoft.com/office/drawing/2014/main" id="{39D42B51-AF70-4D1A-AAE9-4CCD22414E72}"/>
                </a:ext>
              </a:extLst>
            </p:cNvPr>
            <p:cNvSpPr/>
            <p:nvPr/>
          </p:nvSpPr>
          <p:spPr>
            <a:xfrm>
              <a:off x="11019651" y="3294009"/>
              <a:ext cx="6370" cy="6370"/>
            </a:xfrm>
            <a:custGeom>
              <a:avLst/>
              <a:gdLst>
                <a:gd name="connsiteX0" fmla="*/ 3185 w 6370"/>
                <a:gd name="connsiteY0" fmla="*/ 0 h 6370"/>
                <a:gd name="connsiteX1" fmla="*/ 3185 w 6370"/>
                <a:gd name="connsiteY1" fmla="*/ 6370 h 6370"/>
                <a:gd name="connsiteX2" fmla="*/ 3185 w 6370"/>
                <a:gd name="connsiteY2" fmla="*/ 0 h 6370"/>
              </a:gdLst>
              <a:ahLst/>
              <a:cxnLst>
                <a:cxn ang="0">
                  <a:pos x="connsiteX0" y="connsiteY0"/>
                </a:cxn>
                <a:cxn ang="0">
                  <a:pos x="connsiteX1" y="connsiteY1"/>
                </a:cxn>
                <a:cxn ang="0">
                  <a:pos x="connsiteX2" y="connsiteY2"/>
                </a:cxn>
              </a:cxnLst>
              <a:rect l="l" t="t" r="r" b="b"/>
              <a:pathLst>
                <a:path w="6370" h="6370">
                  <a:moveTo>
                    <a:pt x="3185" y="0"/>
                  </a:moveTo>
                  <a:cubicBezTo>
                    <a:pt x="-1062" y="0"/>
                    <a:pt x="-1062" y="6370"/>
                    <a:pt x="3185" y="6370"/>
                  </a:cubicBezTo>
                  <a:cubicBezTo>
                    <a:pt x="7432" y="6337"/>
                    <a:pt x="7432" y="0"/>
                    <a:pt x="3185" y="0"/>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sp>
          <p:nvSpPr>
            <p:cNvPr id="205" name="Freeform: Shape 204">
              <a:extLst>
                <a:ext uri="{FF2B5EF4-FFF2-40B4-BE49-F238E27FC236}">
                  <a16:creationId xmlns:a16="http://schemas.microsoft.com/office/drawing/2014/main" id="{AA71B2E6-FB79-4D30-939B-F67BDF62548E}"/>
                </a:ext>
              </a:extLst>
            </p:cNvPr>
            <p:cNvSpPr/>
            <p:nvPr/>
          </p:nvSpPr>
          <p:spPr>
            <a:xfrm>
              <a:off x="10822686" y="3202468"/>
              <a:ext cx="57866" cy="334370"/>
            </a:xfrm>
            <a:custGeom>
              <a:avLst/>
              <a:gdLst>
                <a:gd name="connsiteX0" fmla="*/ 56804 w 57866"/>
                <a:gd name="connsiteY0" fmla="*/ 5660 h 334370"/>
                <a:gd name="connsiteX1" fmla="*/ 52657 w 57866"/>
                <a:gd name="connsiteY1" fmla="*/ 807 h 334370"/>
                <a:gd name="connsiteX2" fmla="*/ 8841 w 57866"/>
                <a:gd name="connsiteY2" fmla="*/ 109134 h 334370"/>
                <a:gd name="connsiteX3" fmla="*/ 1898 w 57866"/>
                <a:gd name="connsiteY3" fmla="*/ 260031 h 334370"/>
                <a:gd name="connsiteX4" fmla="*/ 11 w 57866"/>
                <a:gd name="connsiteY4" fmla="*/ 331047 h 334370"/>
                <a:gd name="connsiteX5" fmla="*/ 6347 w 57866"/>
                <a:gd name="connsiteY5" fmla="*/ 331553 h 334370"/>
                <a:gd name="connsiteX6" fmla="*/ 25424 w 57866"/>
                <a:gd name="connsiteY6" fmla="*/ 60869 h 334370"/>
                <a:gd name="connsiteX7" fmla="*/ 56804 w 57866"/>
                <a:gd name="connsiteY7" fmla="*/ 5660 h 334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866" h="334370">
                  <a:moveTo>
                    <a:pt x="56804" y="5660"/>
                  </a:moveTo>
                  <a:cubicBezTo>
                    <a:pt x="59837" y="2930"/>
                    <a:pt x="55725" y="-1923"/>
                    <a:pt x="52657" y="807"/>
                  </a:cubicBezTo>
                  <a:cubicBezTo>
                    <a:pt x="23031" y="27467"/>
                    <a:pt x="14099" y="71418"/>
                    <a:pt x="8841" y="109134"/>
                  </a:cubicBezTo>
                  <a:cubicBezTo>
                    <a:pt x="1898" y="159051"/>
                    <a:pt x="2134" y="209710"/>
                    <a:pt x="1898" y="260031"/>
                  </a:cubicBezTo>
                  <a:cubicBezTo>
                    <a:pt x="1797" y="283692"/>
                    <a:pt x="1831" y="307420"/>
                    <a:pt x="11" y="331047"/>
                  </a:cubicBezTo>
                  <a:cubicBezTo>
                    <a:pt x="-293" y="335126"/>
                    <a:pt x="6044" y="335631"/>
                    <a:pt x="6347" y="331553"/>
                  </a:cubicBezTo>
                  <a:cubicBezTo>
                    <a:pt x="13189" y="241965"/>
                    <a:pt x="-1136" y="148165"/>
                    <a:pt x="25424" y="60869"/>
                  </a:cubicBezTo>
                  <a:cubicBezTo>
                    <a:pt x="31625" y="40511"/>
                    <a:pt x="40693" y="20153"/>
                    <a:pt x="56804" y="5660"/>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sp>
          <p:nvSpPr>
            <p:cNvPr id="206" name="Freeform: Shape 205">
              <a:extLst>
                <a:ext uri="{FF2B5EF4-FFF2-40B4-BE49-F238E27FC236}">
                  <a16:creationId xmlns:a16="http://schemas.microsoft.com/office/drawing/2014/main" id="{8FE1D541-CA6F-4684-A1AB-3460D8E1ADBA}"/>
                </a:ext>
              </a:extLst>
            </p:cNvPr>
            <p:cNvSpPr/>
            <p:nvPr/>
          </p:nvSpPr>
          <p:spPr>
            <a:xfrm>
              <a:off x="11024660" y="2984717"/>
              <a:ext cx="376308" cy="155354"/>
            </a:xfrm>
            <a:custGeom>
              <a:avLst/>
              <a:gdLst>
                <a:gd name="connsiteX0" fmla="*/ 374390 w 376308"/>
                <a:gd name="connsiteY0" fmla="*/ 149126 h 155354"/>
                <a:gd name="connsiteX1" fmla="*/ 77787 w 376308"/>
                <a:gd name="connsiteY1" fmla="*/ 3150 h 155354"/>
                <a:gd name="connsiteX2" fmla="*/ 1883 w 376308"/>
                <a:gd name="connsiteY2" fmla="*/ 7599 h 155354"/>
                <a:gd name="connsiteX3" fmla="*/ 4479 w 376308"/>
                <a:gd name="connsiteY3" fmla="*/ 13396 h 155354"/>
                <a:gd name="connsiteX4" fmla="*/ 151735 w 376308"/>
                <a:gd name="connsiteY4" fmla="*/ 34192 h 155354"/>
                <a:gd name="connsiteX5" fmla="*/ 303407 w 376308"/>
                <a:gd name="connsiteY5" fmla="*/ 118016 h 155354"/>
                <a:gd name="connsiteX6" fmla="*/ 372132 w 376308"/>
                <a:gd name="connsiteY6" fmla="*/ 155058 h 155354"/>
                <a:gd name="connsiteX7" fmla="*/ 374390 w 376308"/>
                <a:gd name="connsiteY7" fmla="*/ 149126 h 155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6308" h="155354">
                  <a:moveTo>
                    <a:pt x="374390" y="149126"/>
                  </a:moveTo>
                  <a:cubicBezTo>
                    <a:pt x="274084" y="104736"/>
                    <a:pt x="188238" y="23777"/>
                    <a:pt x="77787" y="3150"/>
                  </a:cubicBezTo>
                  <a:cubicBezTo>
                    <a:pt x="52474" y="-1569"/>
                    <a:pt x="26184" y="-1670"/>
                    <a:pt x="1883" y="7599"/>
                  </a:cubicBezTo>
                  <a:cubicBezTo>
                    <a:pt x="-1959" y="9048"/>
                    <a:pt x="670" y="14879"/>
                    <a:pt x="4479" y="13396"/>
                  </a:cubicBezTo>
                  <a:cubicBezTo>
                    <a:pt x="52542" y="-4939"/>
                    <a:pt x="107279" y="14475"/>
                    <a:pt x="151735" y="34192"/>
                  </a:cubicBezTo>
                  <a:cubicBezTo>
                    <a:pt x="204618" y="57651"/>
                    <a:pt x="253692" y="88659"/>
                    <a:pt x="303407" y="118016"/>
                  </a:cubicBezTo>
                  <a:cubicBezTo>
                    <a:pt x="325788" y="131228"/>
                    <a:pt x="348336" y="144508"/>
                    <a:pt x="372132" y="155058"/>
                  </a:cubicBezTo>
                  <a:cubicBezTo>
                    <a:pt x="375873" y="156743"/>
                    <a:pt x="378132" y="150777"/>
                    <a:pt x="374390" y="149126"/>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sp>
          <p:nvSpPr>
            <p:cNvPr id="207" name="Freeform: Shape 206">
              <a:extLst>
                <a:ext uri="{FF2B5EF4-FFF2-40B4-BE49-F238E27FC236}">
                  <a16:creationId xmlns:a16="http://schemas.microsoft.com/office/drawing/2014/main" id="{A7897962-E916-4810-8EAE-2CD8D733949F}"/>
                </a:ext>
              </a:extLst>
            </p:cNvPr>
            <p:cNvSpPr/>
            <p:nvPr/>
          </p:nvSpPr>
          <p:spPr>
            <a:xfrm>
              <a:off x="11070579" y="2938388"/>
              <a:ext cx="133673" cy="6370"/>
            </a:xfrm>
            <a:custGeom>
              <a:avLst/>
              <a:gdLst>
                <a:gd name="connsiteX0" fmla="*/ 130489 w 133673"/>
                <a:gd name="connsiteY0" fmla="*/ 0 h 6370"/>
                <a:gd name="connsiteX1" fmla="*/ 3185 w 133673"/>
                <a:gd name="connsiteY1" fmla="*/ 0 h 6370"/>
                <a:gd name="connsiteX2" fmla="*/ 3185 w 133673"/>
                <a:gd name="connsiteY2" fmla="*/ 6370 h 6370"/>
                <a:gd name="connsiteX3" fmla="*/ 130489 w 133673"/>
                <a:gd name="connsiteY3" fmla="*/ 6370 h 6370"/>
                <a:gd name="connsiteX4" fmla="*/ 130489 w 133673"/>
                <a:gd name="connsiteY4" fmla="*/ 0 h 6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673" h="6370">
                  <a:moveTo>
                    <a:pt x="130489" y="0"/>
                  </a:moveTo>
                  <a:lnTo>
                    <a:pt x="3185" y="0"/>
                  </a:lnTo>
                  <a:cubicBezTo>
                    <a:pt x="-1062" y="0"/>
                    <a:pt x="-1062" y="6370"/>
                    <a:pt x="3185" y="6370"/>
                  </a:cubicBezTo>
                  <a:lnTo>
                    <a:pt x="130489" y="6370"/>
                  </a:lnTo>
                  <a:cubicBezTo>
                    <a:pt x="134735" y="6370"/>
                    <a:pt x="134735" y="0"/>
                    <a:pt x="130489" y="0"/>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sp>
          <p:nvSpPr>
            <p:cNvPr id="208" name="Freeform: Shape 207">
              <a:extLst>
                <a:ext uri="{FF2B5EF4-FFF2-40B4-BE49-F238E27FC236}">
                  <a16:creationId xmlns:a16="http://schemas.microsoft.com/office/drawing/2014/main" id="{F359C227-9F86-487A-A791-8A4DCDD3B0BA}"/>
                </a:ext>
              </a:extLst>
            </p:cNvPr>
            <p:cNvSpPr/>
            <p:nvPr/>
          </p:nvSpPr>
          <p:spPr>
            <a:xfrm>
              <a:off x="10460290" y="3141128"/>
              <a:ext cx="156248" cy="159032"/>
            </a:xfrm>
            <a:custGeom>
              <a:avLst/>
              <a:gdLst>
                <a:gd name="connsiteX0" fmla="*/ 149964 w 156248"/>
                <a:gd name="connsiteY0" fmla="*/ 2220 h 159032"/>
                <a:gd name="connsiteX1" fmla="*/ 116664 w 156248"/>
                <a:gd name="connsiteY1" fmla="*/ 30936 h 159032"/>
                <a:gd name="connsiteX2" fmla="*/ 73858 w 156248"/>
                <a:gd name="connsiteY2" fmla="*/ 73674 h 159032"/>
                <a:gd name="connsiteX3" fmla="*/ 416 w 156248"/>
                <a:gd name="connsiteY3" fmla="*/ 152780 h 159032"/>
                <a:gd name="connsiteX4" fmla="*/ 2303 w 156248"/>
                <a:gd name="connsiteY4" fmla="*/ 157465 h 159032"/>
                <a:gd name="connsiteX5" fmla="*/ 7898 w 156248"/>
                <a:gd name="connsiteY5" fmla="*/ 158914 h 159032"/>
                <a:gd name="connsiteX6" fmla="*/ 9584 w 156248"/>
                <a:gd name="connsiteY6" fmla="*/ 152780 h 159032"/>
                <a:gd name="connsiteX7" fmla="*/ 8168 w 156248"/>
                <a:gd name="connsiteY7" fmla="*/ 152409 h 159032"/>
                <a:gd name="connsiteX8" fmla="*/ 42614 w 156248"/>
                <a:gd name="connsiteY8" fmla="*/ 113648 h 159032"/>
                <a:gd name="connsiteX9" fmla="*/ 86633 w 156248"/>
                <a:gd name="connsiteY9" fmla="*/ 69428 h 159032"/>
                <a:gd name="connsiteX10" fmla="*/ 130112 w 156248"/>
                <a:gd name="connsiteY10" fmla="*/ 28982 h 159032"/>
                <a:gd name="connsiteX11" fmla="*/ 156099 w 156248"/>
                <a:gd name="connsiteY11" fmla="*/ 3939 h 159032"/>
                <a:gd name="connsiteX12" fmla="*/ 149964 w 156248"/>
                <a:gd name="connsiteY12" fmla="*/ 2220 h 159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6248" h="159032">
                  <a:moveTo>
                    <a:pt x="149964" y="2220"/>
                  </a:moveTo>
                  <a:cubicBezTo>
                    <a:pt x="145954" y="15533"/>
                    <a:pt x="126675" y="22578"/>
                    <a:pt x="116664" y="30936"/>
                  </a:cubicBezTo>
                  <a:cubicBezTo>
                    <a:pt x="101227" y="43845"/>
                    <a:pt x="87846" y="59249"/>
                    <a:pt x="73858" y="73674"/>
                  </a:cubicBezTo>
                  <a:cubicBezTo>
                    <a:pt x="49389" y="98919"/>
                    <a:pt x="18313" y="122075"/>
                    <a:pt x="416" y="152780"/>
                  </a:cubicBezTo>
                  <a:cubicBezTo>
                    <a:pt x="-595" y="154532"/>
                    <a:pt x="315" y="156925"/>
                    <a:pt x="2303" y="157465"/>
                  </a:cubicBezTo>
                  <a:cubicBezTo>
                    <a:pt x="4157" y="157936"/>
                    <a:pt x="6011" y="158442"/>
                    <a:pt x="7898" y="158914"/>
                  </a:cubicBezTo>
                  <a:cubicBezTo>
                    <a:pt x="11875" y="159959"/>
                    <a:pt x="13561" y="153791"/>
                    <a:pt x="9584" y="152780"/>
                  </a:cubicBezTo>
                  <a:cubicBezTo>
                    <a:pt x="9111" y="152645"/>
                    <a:pt x="8640" y="152544"/>
                    <a:pt x="8168" y="152409"/>
                  </a:cubicBezTo>
                  <a:cubicBezTo>
                    <a:pt x="17504" y="137815"/>
                    <a:pt x="30244" y="125681"/>
                    <a:pt x="42614" y="113648"/>
                  </a:cubicBezTo>
                  <a:cubicBezTo>
                    <a:pt x="57512" y="99155"/>
                    <a:pt x="72409" y="84595"/>
                    <a:pt x="86633" y="69428"/>
                  </a:cubicBezTo>
                  <a:cubicBezTo>
                    <a:pt x="100047" y="55103"/>
                    <a:pt x="113867" y="40104"/>
                    <a:pt x="130112" y="28982"/>
                  </a:cubicBezTo>
                  <a:cubicBezTo>
                    <a:pt x="139549" y="22510"/>
                    <a:pt x="152593" y="15668"/>
                    <a:pt x="156099" y="3939"/>
                  </a:cubicBezTo>
                  <a:cubicBezTo>
                    <a:pt x="157278" y="-5"/>
                    <a:pt x="151144" y="-1690"/>
                    <a:pt x="149964" y="2220"/>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sp>
          <p:nvSpPr>
            <p:cNvPr id="209" name="Freeform: Shape 208">
              <a:extLst>
                <a:ext uri="{FF2B5EF4-FFF2-40B4-BE49-F238E27FC236}">
                  <a16:creationId xmlns:a16="http://schemas.microsoft.com/office/drawing/2014/main" id="{B8139A0A-35AD-4BA1-BA36-E3990A93A11C}"/>
                </a:ext>
              </a:extLst>
            </p:cNvPr>
            <p:cNvSpPr/>
            <p:nvPr/>
          </p:nvSpPr>
          <p:spPr>
            <a:xfrm>
              <a:off x="10881714" y="2487602"/>
              <a:ext cx="23285" cy="108059"/>
            </a:xfrm>
            <a:custGeom>
              <a:avLst/>
              <a:gdLst>
                <a:gd name="connsiteX0" fmla="*/ 20998 w 23285"/>
                <a:gd name="connsiteY0" fmla="*/ 101873 h 108059"/>
                <a:gd name="connsiteX1" fmla="*/ 13246 w 23285"/>
                <a:gd name="connsiteY1" fmla="*/ 78549 h 108059"/>
                <a:gd name="connsiteX2" fmla="*/ 11258 w 23285"/>
                <a:gd name="connsiteY2" fmla="*/ 56473 h 108059"/>
                <a:gd name="connsiteX3" fmla="*/ 6370 w 23285"/>
                <a:gd name="connsiteY3" fmla="*/ 3084 h 108059"/>
                <a:gd name="connsiteX4" fmla="*/ 0 w 23285"/>
                <a:gd name="connsiteY4" fmla="*/ 3084 h 108059"/>
                <a:gd name="connsiteX5" fmla="*/ 3943 w 23285"/>
                <a:gd name="connsiteY5" fmla="*/ 53102 h 108059"/>
                <a:gd name="connsiteX6" fmla="*/ 10078 w 23285"/>
                <a:gd name="connsiteY6" fmla="*/ 104300 h 108059"/>
                <a:gd name="connsiteX7" fmla="*/ 12302 w 23285"/>
                <a:gd name="connsiteY7" fmla="*/ 106524 h 108059"/>
                <a:gd name="connsiteX8" fmla="*/ 19347 w 23285"/>
                <a:gd name="connsiteY8" fmla="*/ 107974 h 108059"/>
                <a:gd name="connsiteX9" fmla="*/ 20998 w 23285"/>
                <a:gd name="connsiteY9" fmla="*/ 101873 h 108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285" h="108059">
                  <a:moveTo>
                    <a:pt x="20998" y="101873"/>
                  </a:moveTo>
                  <a:cubicBezTo>
                    <a:pt x="11358" y="99884"/>
                    <a:pt x="13617" y="86706"/>
                    <a:pt x="13246" y="78549"/>
                  </a:cubicBezTo>
                  <a:cubicBezTo>
                    <a:pt x="12909" y="71168"/>
                    <a:pt x="12673" y="63753"/>
                    <a:pt x="11258" y="56473"/>
                  </a:cubicBezTo>
                  <a:cubicBezTo>
                    <a:pt x="7752" y="38474"/>
                    <a:pt x="6370" y="21453"/>
                    <a:pt x="6370" y="3084"/>
                  </a:cubicBezTo>
                  <a:cubicBezTo>
                    <a:pt x="6370" y="-1028"/>
                    <a:pt x="0" y="-1028"/>
                    <a:pt x="0" y="3084"/>
                  </a:cubicBezTo>
                  <a:cubicBezTo>
                    <a:pt x="0" y="19936"/>
                    <a:pt x="169" y="36620"/>
                    <a:pt x="3943" y="53102"/>
                  </a:cubicBezTo>
                  <a:cubicBezTo>
                    <a:pt x="7820" y="69988"/>
                    <a:pt x="5763" y="87481"/>
                    <a:pt x="10078" y="104300"/>
                  </a:cubicBezTo>
                  <a:cubicBezTo>
                    <a:pt x="10348" y="105311"/>
                    <a:pt x="11258" y="106322"/>
                    <a:pt x="12302" y="106524"/>
                  </a:cubicBezTo>
                  <a:cubicBezTo>
                    <a:pt x="14662" y="106996"/>
                    <a:pt x="16987" y="107502"/>
                    <a:pt x="19347" y="107974"/>
                  </a:cubicBezTo>
                  <a:cubicBezTo>
                    <a:pt x="23290" y="108850"/>
                    <a:pt x="25009" y="102716"/>
                    <a:pt x="20998" y="101873"/>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sp>
          <p:nvSpPr>
            <p:cNvPr id="210" name="Freeform: Shape 209">
              <a:extLst>
                <a:ext uri="{FF2B5EF4-FFF2-40B4-BE49-F238E27FC236}">
                  <a16:creationId xmlns:a16="http://schemas.microsoft.com/office/drawing/2014/main" id="{EF9C7589-B45E-41A3-9BB3-B7CCC1FA34A8}"/>
                </a:ext>
              </a:extLst>
            </p:cNvPr>
            <p:cNvSpPr/>
            <p:nvPr/>
          </p:nvSpPr>
          <p:spPr>
            <a:xfrm>
              <a:off x="11365694" y="3069643"/>
              <a:ext cx="64054" cy="106057"/>
            </a:xfrm>
            <a:custGeom>
              <a:avLst/>
              <a:gdLst>
                <a:gd name="connsiteX0" fmla="*/ 62511 w 64054"/>
                <a:gd name="connsiteY0" fmla="*/ 8048 h 106057"/>
                <a:gd name="connsiteX1" fmla="*/ 36053 w 64054"/>
                <a:gd name="connsiteY1" fmla="*/ 5048 h 106057"/>
                <a:gd name="connsiteX2" fmla="*/ 27323 w 64054"/>
                <a:gd name="connsiteY2" fmla="*/ 12564 h 106057"/>
                <a:gd name="connsiteX3" fmla="*/ 26750 w 64054"/>
                <a:gd name="connsiteY3" fmla="*/ 13239 h 106057"/>
                <a:gd name="connsiteX4" fmla="*/ 5584 w 64054"/>
                <a:gd name="connsiteY4" fmla="*/ 55370 h 106057"/>
                <a:gd name="connsiteX5" fmla="*/ 460 w 64054"/>
                <a:gd name="connsiteY5" fmla="*/ 88670 h 106057"/>
                <a:gd name="connsiteX6" fmla="*/ 11077 w 64054"/>
                <a:gd name="connsiteY6" fmla="*/ 104747 h 106057"/>
                <a:gd name="connsiteX7" fmla="*/ 15089 w 64054"/>
                <a:gd name="connsiteY7" fmla="*/ 105961 h 106057"/>
                <a:gd name="connsiteX8" fmla="*/ 37973 w 64054"/>
                <a:gd name="connsiteY8" fmla="*/ 87389 h 106057"/>
                <a:gd name="connsiteX9" fmla="*/ 43939 w 64054"/>
                <a:gd name="connsiteY9" fmla="*/ 74008 h 106057"/>
                <a:gd name="connsiteX10" fmla="*/ 51793 w 64054"/>
                <a:gd name="connsiteY10" fmla="*/ 64908 h 106057"/>
                <a:gd name="connsiteX11" fmla="*/ 62511 w 64054"/>
                <a:gd name="connsiteY11" fmla="*/ 33428 h 106057"/>
                <a:gd name="connsiteX12" fmla="*/ 62511 w 64054"/>
                <a:gd name="connsiteY12" fmla="*/ 8048 h 106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4054" h="106057">
                  <a:moveTo>
                    <a:pt x="62511" y="8048"/>
                  </a:moveTo>
                  <a:cubicBezTo>
                    <a:pt x="56849" y="-3479"/>
                    <a:pt x="45153" y="-884"/>
                    <a:pt x="36053" y="5048"/>
                  </a:cubicBezTo>
                  <a:cubicBezTo>
                    <a:pt x="32480" y="6464"/>
                    <a:pt x="29481" y="9228"/>
                    <a:pt x="27323" y="12564"/>
                  </a:cubicBezTo>
                  <a:cubicBezTo>
                    <a:pt x="27121" y="12800"/>
                    <a:pt x="26919" y="13036"/>
                    <a:pt x="26750" y="13239"/>
                  </a:cubicBezTo>
                  <a:cubicBezTo>
                    <a:pt x="17009" y="25305"/>
                    <a:pt x="10234" y="40708"/>
                    <a:pt x="5584" y="55370"/>
                  </a:cubicBezTo>
                  <a:cubicBezTo>
                    <a:pt x="2449" y="65245"/>
                    <a:pt x="-1326" y="77716"/>
                    <a:pt x="460" y="88670"/>
                  </a:cubicBezTo>
                  <a:cubicBezTo>
                    <a:pt x="730" y="95445"/>
                    <a:pt x="3527" y="101579"/>
                    <a:pt x="11077" y="104747"/>
                  </a:cubicBezTo>
                  <a:cubicBezTo>
                    <a:pt x="12358" y="105354"/>
                    <a:pt x="13706" y="105792"/>
                    <a:pt x="15089" y="105961"/>
                  </a:cubicBezTo>
                  <a:cubicBezTo>
                    <a:pt x="25065" y="107275"/>
                    <a:pt x="33794" y="94838"/>
                    <a:pt x="37973" y="87389"/>
                  </a:cubicBezTo>
                  <a:cubicBezTo>
                    <a:pt x="40401" y="83109"/>
                    <a:pt x="42288" y="78626"/>
                    <a:pt x="43939" y="74008"/>
                  </a:cubicBezTo>
                  <a:cubicBezTo>
                    <a:pt x="46467" y="70908"/>
                    <a:pt x="49299" y="68009"/>
                    <a:pt x="51793" y="64908"/>
                  </a:cubicBezTo>
                  <a:cubicBezTo>
                    <a:pt x="59579" y="55268"/>
                    <a:pt x="62882" y="45932"/>
                    <a:pt x="62511" y="33428"/>
                  </a:cubicBezTo>
                  <a:cubicBezTo>
                    <a:pt x="62309" y="25743"/>
                    <a:pt x="66084" y="15362"/>
                    <a:pt x="62511" y="8048"/>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sp>
          <p:nvSpPr>
            <p:cNvPr id="211" name="Freeform: Shape 210">
              <a:extLst>
                <a:ext uri="{FF2B5EF4-FFF2-40B4-BE49-F238E27FC236}">
                  <a16:creationId xmlns:a16="http://schemas.microsoft.com/office/drawing/2014/main" id="{C6899D56-6B95-491D-AE0C-50E42D80B9D0}"/>
                </a:ext>
              </a:extLst>
            </p:cNvPr>
            <p:cNvSpPr/>
            <p:nvPr/>
          </p:nvSpPr>
          <p:spPr>
            <a:xfrm>
              <a:off x="11238795" y="2606343"/>
              <a:ext cx="76297" cy="78237"/>
            </a:xfrm>
            <a:custGeom>
              <a:avLst/>
              <a:gdLst>
                <a:gd name="connsiteX0" fmla="*/ 67398 w 76297"/>
                <a:gd name="connsiteY0" fmla="*/ 41677 h 78237"/>
                <a:gd name="connsiteX1" fmla="*/ 33592 w 76297"/>
                <a:gd name="connsiteY1" fmla="*/ 5377 h 78237"/>
                <a:gd name="connsiteX2" fmla="*/ 24222 w 76297"/>
                <a:gd name="connsiteY2" fmla="*/ 2883 h 78237"/>
                <a:gd name="connsiteX3" fmla="*/ 18763 w 76297"/>
                <a:gd name="connsiteY3" fmla="*/ 524 h 78237"/>
                <a:gd name="connsiteX4" fmla="*/ 5718 w 76297"/>
                <a:gd name="connsiteY4" fmla="*/ 7939 h 78237"/>
                <a:gd name="connsiteX5" fmla="*/ 5281 w 76297"/>
                <a:gd name="connsiteY5" fmla="*/ 10939 h 78237"/>
                <a:gd name="connsiteX6" fmla="*/ 1471 w 76297"/>
                <a:gd name="connsiteY6" fmla="*/ 16298 h 78237"/>
                <a:gd name="connsiteX7" fmla="*/ 16235 w 76297"/>
                <a:gd name="connsiteY7" fmla="*/ 54047 h 78237"/>
                <a:gd name="connsiteX8" fmla="*/ 47074 w 76297"/>
                <a:gd name="connsiteY8" fmla="*/ 73967 h 78237"/>
                <a:gd name="connsiteX9" fmla="*/ 52905 w 76297"/>
                <a:gd name="connsiteY9" fmla="*/ 76899 h 78237"/>
                <a:gd name="connsiteX10" fmla="*/ 76297 w 76297"/>
                <a:gd name="connsiteY10" fmla="*/ 61294 h 78237"/>
                <a:gd name="connsiteX11" fmla="*/ 67398 w 76297"/>
                <a:gd name="connsiteY11" fmla="*/ 41677 h 78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6297" h="78237">
                  <a:moveTo>
                    <a:pt x="67398" y="41677"/>
                  </a:moveTo>
                  <a:cubicBezTo>
                    <a:pt x="62849" y="26476"/>
                    <a:pt x="44580" y="10905"/>
                    <a:pt x="33592" y="5377"/>
                  </a:cubicBezTo>
                  <a:cubicBezTo>
                    <a:pt x="30660" y="3894"/>
                    <a:pt x="27425" y="3052"/>
                    <a:pt x="24222" y="2883"/>
                  </a:cubicBezTo>
                  <a:cubicBezTo>
                    <a:pt x="22437" y="2074"/>
                    <a:pt x="20616" y="1265"/>
                    <a:pt x="18763" y="524"/>
                  </a:cubicBezTo>
                  <a:cubicBezTo>
                    <a:pt x="13808" y="-1532"/>
                    <a:pt x="6628" y="2782"/>
                    <a:pt x="5718" y="7939"/>
                  </a:cubicBezTo>
                  <a:cubicBezTo>
                    <a:pt x="5550" y="8950"/>
                    <a:pt x="5415" y="9961"/>
                    <a:pt x="5281" y="10939"/>
                  </a:cubicBezTo>
                  <a:cubicBezTo>
                    <a:pt x="3629" y="12354"/>
                    <a:pt x="2314" y="14275"/>
                    <a:pt x="1471" y="16298"/>
                  </a:cubicBezTo>
                  <a:cubicBezTo>
                    <a:pt x="-4090" y="29948"/>
                    <a:pt x="7269" y="44879"/>
                    <a:pt x="16235" y="54047"/>
                  </a:cubicBezTo>
                  <a:cubicBezTo>
                    <a:pt x="24222" y="62204"/>
                    <a:pt x="35244" y="71405"/>
                    <a:pt x="47074" y="73967"/>
                  </a:cubicBezTo>
                  <a:cubicBezTo>
                    <a:pt x="48962" y="75146"/>
                    <a:pt x="50917" y="76158"/>
                    <a:pt x="52905" y="76899"/>
                  </a:cubicBezTo>
                  <a:cubicBezTo>
                    <a:pt x="64634" y="81348"/>
                    <a:pt x="76196" y="74338"/>
                    <a:pt x="76297" y="61294"/>
                  </a:cubicBezTo>
                  <a:cubicBezTo>
                    <a:pt x="76364" y="53002"/>
                    <a:pt x="72285" y="47138"/>
                    <a:pt x="67398" y="41677"/>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sp>
          <p:nvSpPr>
            <p:cNvPr id="212" name="Freeform: Shape 211">
              <a:extLst>
                <a:ext uri="{FF2B5EF4-FFF2-40B4-BE49-F238E27FC236}">
                  <a16:creationId xmlns:a16="http://schemas.microsoft.com/office/drawing/2014/main" id="{152B8349-87D5-45AE-9A23-F08B532B2EB0}"/>
                </a:ext>
              </a:extLst>
            </p:cNvPr>
            <p:cNvSpPr/>
            <p:nvPr/>
          </p:nvSpPr>
          <p:spPr>
            <a:xfrm>
              <a:off x="10842476" y="2452279"/>
              <a:ext cx="90300" cy="37730"/>
            </a:xfrm>
            <a:custGeom>
              <a:avLst/>
              <a:gdLst>
                <a:gd name="connsiteX0" fmla="*/ 84739 w 90300"/>
                <a:gd name="connsiteY0" fmla="*/ 13567 h 37730"/>
                <a:gd name="connsiteX1" fmla="*/ 69167 w 90300"/>
                <a:gd name="connsiteY1" fmla="*/ 7905 h 37730"/>
                <a:gd name="connsiteX2" fmla="*/ 50192 w 90300"/>
                <a:gd name="connsiteY2" fmla="*/ 658 h 37730"/>
                <a:gd name="connsiteX3" fmla="*/ 46787 w 90300"/>
                <a:gd name="connsiteY3" fmla="*/ 18 h 37730"/>
                <a:gd name="connsiteX4" fmla="*/ 2769 w 90300"/>
                <a:gd name="connsiteY4" fmla="*/ 29509 h 37730"/>
                <a:gd name="connsiteX5" fmla="*/ 90300 w 90300"/>
                <a:gd name="connsiteY5" fmla="*/ 22297 h 37730"/>
                <a:gd name="connsiteX6" fmla="*/ 84739 w 90300"/>
                <a:gd name="connsiteY6" fmla="*/ 13567 h 3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300" h="37730">
                  <a:moveTo>
                    <a:pt x="84739" y="13567"/>
                  </a:moveTo>
                  <a:cubicBezTo>
                    <a:pt x="80830" y="10163"/>
                    <a:pt x="75470" y="8444"/>
                    <a:pt x="69167" y="7905"/>
                  </a:cubicBezTo>
                  <a:cubicBezTo>
                    <a:pt x="64280" y="3489"/>
                    <a:pt x="57135" y="1534"/>
                    <a:pt x="50192" y="658"/>
                  </a:cubicBezTo>
                  <a:cubicBezTo>
                    <a:pt x="49180" y="287"/>
                    <a:pt x="48034" y="85"/>
                    <a:pt x="46787" y="18"/>
                  </a:cubicBezTo>
                  <a:cubicBezTo>
                    <a:pt x="34822" y="-421"/>
                    <a:pt x="-11725" y="7231"/>
                    <a:pt x="2769" y="29509"/>
                  </a:cubicBezTo>
                  <a:cubicBezTo>
                    <a:pt x="14633" y="47778"/>
                    <a:pt x="79043" y="31161"/>
                    <a:pt x="90300" y="22297"/>
                  </a:cubicBezTo>
                  <a:cubicBezTo>
                    <a:pt x="89155" y="18623"/>
                    <a:pt x="87233" y="15758"/>
                    <a:pt x="84739" y="13567"/>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sp>
          <p:nvSpPr>
            <p:cNvPr id="213" name="Freeform: Shape 212">
              <a:extLst>
                <a:ext uri="{FF2B5EF4-FFF2-40B4-BE49-F238E27FC236}">
                  <a16:creationId xmlns:a16="http://schemas.microsoft.com/office/drawing/2014/main" id="{91104EA0-B6D0-4336-A773-A816E2395B16}"/>
                </a:ext>
              </a:extLst>
            </p:cNvPr>
            <p:cNvSpPr/>
            <p:nvPr/>
          </p:nvSpPr>
          <p:spPr>
            <a:xfrm>
              <a:off x="11085656" y="3217460"/>
              <a:ext cx="76049" cy="85044"/>
            </a:xfrm>
            <a:custGeom>
              <a:avLst/>
              <a:gdLst>
                <a:gd name="connsiteX0" fmla="*/ 3984 w 76049"/>
                <a:gd name="connsiteY0" fmla="*/ 8836 h 85044"/>
                <a:gd name="connsiteX1" fmla="*/ 23229 w 76049"/>
                <a:gd name="connsiteY1" fmla="*/ 24138 h 85044"/>
                <a:gd name="connsiteX2" fmla="*/ 36947 w 76049"/>
                <a:gd name="connsiteY2" fmla="*/ 41564 h 85044"/>
                <a:gd name="connsiteX3" fmla="*/ 70181 w 76049"/>
                <a:gd name="connsiteY3" fmla="*/ 83627 h 85044"/>
                <a:gd name="connsiteX4" fmla="*/ 75505 w 76049"/>
                <a:gd name="connsiteY4" fmla="*/ 80156 h 85044"/>
                <a:gd name="connsiteX5" fmla="*/ 44902 w 76049"/>
                <a:gd name="connsiteY5" fmla="*/ 40384 h 85044"/>
                <a:gd name="connsiteX6" fmla="*/ 11837 w 76049"/>
                <a:gd name="connsiteY6" fmla="*/ 814 h 85044"/>
                <a:gd name="connsiteX7" fmla="*/ 8769 w 76049"/>
                <a:gd name="connsiteY7" fmla="*/ 174 h 85044"/>
                <a:gd name="connsiteX8" fmla="*/ 2096 w 76049"/>
                <a:gd name="connsiteY8" fmla="*/ 2803 h 85044"/>
                <a:gd name="connsiteX9" fmla="*/ 3984 w 76049"/>
                <a:gd name="connsiteY9" fmla="*/ 8836 h 85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049" h="85044">
                  <a:moveTo>
                    <a:pt x="3984" y="8836"/>
                  </a:moveTo>
                  <a:cubicBezTo>
                    <a:pt x="13151" y="5230"/>
                    <a:pt x="18443" y="17498"/>
                    <a:pt x="23229" y="24138"/>
                  </a:cubicBezTo>
                  <a:cubicBezTo>
                    <a:pt x="27543" y="30138"/>
                    <a:pt x="31790" y="36204"/>
                    <a:pt x="36947" y="41564"/>
                  </a:cubicBezTo>
                  <a:cubicBezTo>
                    <a:pt x="49688" y="54742"/>
                    <a:pt x="60169" y="68224"/>
                    <a:pt x="70181" y="83627"/>
                  </a:cubicBezTo>
                  <a:cubicBezTo>
                    <a:pt x="72405" y="87065"/>
                    <a:pt x="77764" y="83594"/>
                    <a:pt x="75505" y="80156"/>
                  </a:cubicBezTo>
                  <a:cubicBezTo>
                    <a:pt x="66338" y="66033"/>
                    <a:pt x="57069" y="52147"/>
                    <a:pt x="44902" y="40384"/>
                  </a:cubicBezTo>
                  <a:cubicBezTo>
                    <a:pt x="32430" y="28351"/>
                    <a:pt x="24611" y="12544"/>
                    <a:pt x="11837" y="814"/>
                  </a:cubicBezTo>
                  <a:cubicBezTo>
                    <a:pt x="11062" y="106"/>
                    <a:pt x="9747" y="-231"/>
                    <a:pt x="8769" y="174"/>
                  </a:cubicBezTo>
                  <a:cubicBezTo>
                    <a:pt x="6545" y="1050"/>
                    <a:pt x="4321" y="1927"/>
                    <a:pt x="2096" y="2803"/>
                  </a:cubicBezTo>
                  <a:cubicBezTo>
                    <a:pt x="-1746" y="4286"/>
                    <a:pt x="175" y="10353"/>
                    <a:pt x="3984" y="8836"/>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sp>
          <p:nvSpPr>
            <p:cNvPr id="214" name="Freeform: Shape 213">
              <a:extLst>
                <a:ext uri="{FF2B5EF4-FFF2-40B4-BE49-F238E27FC236}">
                  <a16:creationId xmlns:a16="http://schemas.microsoft.com/office/drawing/2014/main" id="{87F18BBD-8F3C-4D91-8B8E-7068E2E45BF1}"/>
                </a:ext>
              </a:extLst>
            </p:cNvPr>
            <p:cNvSpPr/>
            <p:nvPr/>
          </p:nvSpPr>
          <p:spPr>
            <a:xfrm>
              <a:off x="11128871" y="3283213"/>
              <a:ext cx="81296" cy="75315"/>
            </a:xfrm>
            <a:custGeom>
              <a:avLst/>
              <a:gdLst>
                <a:gd name="connsiteX0" fmla="*/ 19112 w 81296"/>
                <a:gd name="connsiteY0" fmla="*/ 75273 h 75315"/>
                <a:gd name="connsiteX1" fmla="*/ 67680 w 81296"/>
                <a:gd name="connsiteY1" fmla="*/ 1965 h 75315"/>
                <a:gd name="connsiteX2" fmla="*/ 35 w 81296"/>
                <a:gd name="connsiteY2" fmla="*/ 57005 h 75315"/>
                <a:gd name="connsiteX3" fmla="*/ 19112 w 81296"/>
                <a:gd name="connsiteY3" fmla="*/ 75273 h 75315"/>
              </a:gdLst>
              <a:ahLst/>
              <a:cxnLst>
                <a:cxn ang="0">
                  <a:pos x="connsiteX0" y="connsiteY0"/>
                </a:cxn>
                <a:cxn ang="0">
                  <a:pos x="connsiteX1" y="connsiteY1"/>
                </a:cxn>
                <a:cxn ang="0">
                  <a:pos x="connsiteX2" y="connsiteY2"/>
                </a:cxn>
                <a:cxn ang="0">
                  <a:pos x="connsiteX3" y="connsiteY3"/>
                </a:cxn>
              </a:cxnLst>
              <a:rect l="l" t="t" r="r" b="b"/>
              <a:pathLst>
                <a:path w="81296" h="75315">
                  <a:moveTo>
                    <a:pt x="19112" y="75273"/>
                  </a:moveTo>
                  <a:cubicBezTo>
                    <a:pt x="44458" y="70352"/>
                    <a:pt x="109340" y="20368"/>
                    <a:pt x="67680" y="1965"/>
                  </a:cubicBezTo>
                  <a:cubicBezTo>
                    <a:pt x="40009" y="-10202"/>
                    <a:pt x="8495" y="37322"/>
                    <a:pt x="35" y="57005"/>
                  </a:cubicBezTo>
                  <a:cubicBezTo>
                    <a:pt x="-808" y="58792"/>
                    <a:pt x="13752" y="76285"/>
                    <a:pt x="19112" y="75273"/>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sp>
          <p:nvSpPr>
            <p:cNvPr id="215" name="Freeform: Shape 214">
              <a:extLst>
                <a:ext uri="{FF2B5EF4-FFF2-40B4-BE49-F238E27FC236}">
                  <a16:creationId xmlns:a16="http://schemas.microsoft.com/office/drawing/2014/main" id="{9D8E1798-5D2D-4AE8-96AE-FF4DEE295C24}"/>
                </a:ext>
              </a:extLst>
            </p:cNvPr>
            <p:cNvSpPr/>
            <p:nvPr/>
          </p:nvSpPr>
          <p:spPr>
            <a:xfrm>
              <a:off x="10483246" y="2493465"/>
              <a:ext cx="127311" cy="94470"/>
            </a:xfrm>
            <a:custGeom>
              <a:avLst/>
              <a:gdLst>
                <a:gd name="connsiteX0" fmla="*/ 123032 w 127311"/>
                <a:gd name="connsiteY0" fmla="*/ 29174 h 94470"/>
                <a:gd name="connsiteX1" fmla="*/ 125391 w 127311"/>
                <a:gd name="connsiteY1" fmla="*/ 13872 h 94470"/>
                <a:gd name="connsiteX2" fmla="*/ 3480 w 127311"/>
                <a:gd name="connsiteY2" fmla="*/ 61969 h 94470"/>
                <a:gd name="connsiteX3" fmla="*/ 1795 w 127311"/>
                <a:gd name="connsiteY3" fmla="*/ 82293 h 94470"/>
                <a:gd name="connsiteX4" fmla="*/ 13827 w 127311"/>
                <a:gd name="connsiteY4" fmla="*/ 90078 h 94470"/>
                <a:gd name="connsiteX5" fmla="*/ 24006 w 127311"/>
                <a:gd name="connsiteY5" fmla="*/ 94460 h 94470"/>
                <a:gd name="connsiteX6" fmla="*/ 115549 w 127311"/>
                <a:gd name="connsiteY6" fmla="*/ 46633 h 94470"/>
                <a:gd name="connsiteX7" fmla="*/ 123032 w 127311"/>
                <a:gd name="connsiteY7" fmla="*/ 29174 h 94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7311" h="94470">
                  <a:moveTo>
                    <a:pt x="123032" y="29174"/>
                  </a:moveTo>
                  <a:cubicBezTo>
                    <a:pt x="127076" y="24691"/>
                    <a:pt x="129031" y="19635"/>
                    <a:pt x="125391" y="13872"/>
                  </a:cubicBezTo>
                  <a:cubicBezTo>
                    <a:pt x="98697" y="-28023"/>
                    <a:pt x="19658" y="35881"/>
                    <a:pt x="3480" y="61969"/>
                  </a:cubicBezTo>
                  <a:cubicBezTo>
                    <a:pt x="-160" y="67833"/>
                    <a:pt x="-1306" y="74541"/>
                    <a:pt x="1795" y="82293"/>
                  </a:cubicBezTo>
                  <a:cubicBezTo>
                    <a:pt x="3582" y="86742"/>
                    <a:pt x="8131" y="89944"/>
                    <a:pt x="13827" y="90078"/>
                  </a:cubicBezTo>
                  <a:cubicBezTo>
                    <a:pt x="16187" y="92775"/>
                    <a:pt x="19928" y="94629"/>
                    <a:pt x="24006" y="94460"/>
                  </a:cubicBezTo>
                  <a:cubicBezTo>
                    <a:pt x="54239" y="93179"/>
                    <a:pt x="94888" y="68811"/>
                    <a:pt x="115549" y="46633"/>
                  </a:cubicBezTo>
                  <a:cubicBezTo>
                    <a:pt x="120672" y="41105"/>
                    <a:pt x="124110" y="35038"/>
                    <a:pt x="123032" y="29174"/>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sp>
          <p:nvSpPr>
            <p:cNvPr id="216" name="Freeform: Shape 215">
              <a:extLst>
                <a:ext uri="{FF2B5EF4-FFF2-40B4-BE49-F238E27FC236}">
                  <a16:creationId xmlns:a16="http://schemas.microsoft.com/office/drawing/2014/main" id="{DE874CFC-CCDC-4E34-99C4-7A9B423F8E64}"/>
                </a:ext>
              </a:extLst>
            </p:cNvPr>
            <p:cNvSpPr/>
            <p:nvPr/>
          </p:nvSpPr>
          <p:spPr>
            <a:xfrm>
              <a:off x="10357272" y="2863454"/>
              <a:ext cx="60321" cy="114671"/>
            </a:xfrm>
            <a:custGeom>
              <a:avLst/>
              <a:gdLst>
                <a:gd name="connsiteX0" fmla="*/ 57426 w 60321"/>
                <a:gd name="connsiteY0" fmla="*/ 26938 h 114671"/>
                <a:gd name="connsiteX1" fmla="*/ 34642 w 60321"/>
                <a:gd name="connsiteY1" fmla="*/ 176 h 114671"/>
                <a:gd name="connsiteX2" fmla="*/ 28609 w 60321"/>
                <a:gd name="connsiteY2" fmla="*/ 379 h 114671"/>
                <a:gd name="connsiteX3" fmla="*/ 9768 w 60321"/>
                <a:gd name="connsiteY3" fmla="*/ 10423 h 114671"/>
                <a:gd name="connsiteX4" fmla="*/ 4645 w 60321"/>
                <a:gd name="connsiteY4" fmla="*/ 26837 h 114671"/>
                <a:gd name="connsiteX5" fmla="*/ 3330 w 60321"/>
                <a:gd name="connsiteY5" fmla="*/ 39443 h 114671"/>
                <a:gd name="connsiteX6" fmla="*/ 2993 w 60321"/>
                <a:gd name="connsiteY6" fmla="*/ 42072 h 114671"/>
                <a:gd name="connsiteX7" fmla="*/ 162 w 60321"/>
                <a:gd name="connsiteY7" fmla="*/ 77226 h 114671"/>
                <a:gd name="connsiteX8" fmla="*/ 12531 w 60321"/>
                <a:gd name="connsiteY8" fmla="*/ 107897 h 114671"/>
                <a:gd name="connsiteX9" fmla="*/ 46574 w 60321"/>
                <a:gd name="connsiteY9" fmla="*/ 108706 h 114671"/>
                <a:gd name="connsiteX10" fmla="*/ 58438 w 60321"/>
                <a:gd name="connsiteY10" fmla="*/ 74866 h 114671"/>
                <a:gd name="connsiteX11" fmla="*/ 57426 w 60321"/>
                <a:gd name="connsiteY11" fmla="*/ 26938 h 114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321" h="114671">
                  <a:moveTo>
                    <a:pt x="57426" y="26938"/>
                  </a:moveTo>
                  <a:cubicBezTo>
                    <a:pt x="54360" y="15815"/>
                    <a:pt x="47248" y="2064"/>
                    <a:pt x="34642" y="176"/>
                  </a:cubicBezTo>
                  <a:cubicBezTo>
                    <a:pt x="32519" y="-127"/>
                    <a:pt x="30530" y="-26"/>
                    <a:pt x="28609" y="379"/>
                  </a:cubicBezTo>
                  <a:cubicBezTo>
                    <a:pt x="21227" y="277"/>
                    <a:pt x="13846" y="3715"/>
                    <a:pt x="9768" y="10423"/>
                  </a:cubicBezTo>
                  <a:cubicBezTo>
                    <a:pt x="6700" y="15445"/>
                    <a:pt x="5420" y="21073"/>
                    <a:pt x="4645" y="26837"/>
                  </a:cubicBezTo>
                  <a:cubicBezTo>
                    <a:pt x="3465" y="30915"/>
                    <a:pt x="3262" y="35128"/>
                    <a:pt x="3330" y="39443"/>
                  </a:cubicBezTo>
                  <a:cubicBezTo>
                    <a:pt x="3229" y="40319"/>
                    <a:pt x="3128" y="41195"/>
                    <a:pt x="2993" y="42072"/>
                  </a:cubicBezTo>
                  <a:cubicBezTo>
                    <a:pt x="1376" y="53666"/>
                    <a:pt x="-580" y="65463"/>
                    <a:pt x="162" y="77226"/>
                  </a:cubicBezTo>
                  <a:cubicBezTo>
                    <a:pt x="870" y="88517"/>
                    <a:pt x="3600" y="100246"/>
                    <a:pt x="12531" y="107897"/>
                  </a:cubicBezTo>
                  <a:cubicBezTo>
                    <a:pt x="21800" y="115852"/>
                    <a:pt x="37338" y="117638"/>
                    <a:pt x="46574" y="108706"/>
                  </a:cubicBezTo>
                  <a:cubicBezTo>
                    <a:pt x="55573" y="100044"/>
                    <a:pt x="56685" y="86495"/>
                    <a:pt x="58438" y="74866"/>
                  </a:cubicBezTo>
                  <a:cubicBezTo>
                    <a:pt x="60696" y="59733"/>
                    <a:pt x="61538" y="41869"/>
                    <a:pt x="57426" y="26938"/>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sp>
          <p:nvSpPr>
            <p:cNvPr id="217" name="Freeform: Shape 216">
              <a:extLst>
                <a:ext uri="{FF2B5EF4-FFF2-40B4-BE49-F238E27FC236}">
                  <a16:creationId xmlns:a16="http://schemas.microsoft.com/office/drawing/2014/main" id="{72F947A5-7ABF-4E35-8ECB-92A8E8303C6F}"/>
                </a:ext>
              </a:extLst>
            </p:cNvPr>
            <p:cNvSpPr/>
            <p:nvPr/>
          </p:nvSpPr>
          <p:spPr>
            <a:xfrm>
              <a:off x="10408915" y="3227049"/>
              <a:ext cx="96915" cy="101489"/>
            </a:xfrm>
            <a:custGeom>
              <a:avLst/>
              <a:gdLst>
                <a:gd name="connsiteX0" fmla="*/ 96517 w 96915"/>
                <a:gd name="connsiteY0" fmla="*/ 79262 h 101489"/>
                <a:gd name="connsiteX1" fmla="*/ 96146 w 96915"/>
                <a:gd name="connsiteY1" fmla="*/ 76801 h 101489"/>
                <a:gd name="connsiteX2" fmla="*/ 76665 w 96915"/>
                <a:gd name="connsiteY2" fmla="*/ 43568 h 101489"/>
                <a:gd name="connsiteX3" fmla="*/ 35478 w 96915"/>
                <a:gd name="connsiteY3" fmla="*/ 7942 h 101489"/>
                <a:gd name="connsiteX4" fmla="*/ 6525 w 96915"/>
                <a:gd name="connsiteY4" fmla="*/ 3459 h 101489"/>
                <a:gd name="connsiteX5" fmla="*/ 14007 w 96915"/>
                <a:gd name="connsiteY5" fmla="*/ 44344 h 101489"/>
                <a:gd name="connsiteX6" fmla="*/ 58767 w 96915"/>
                <a:gd name="connsiteY6" fmla="*/ 93789 h 101489"/>
                <a:gd name="connsiteX7" fmla="*/ 90753 w 96915"/>
                <a:gd name="connsiteY7" fmla="*/ 97328 h 101489"/>
                <a:gd name="connsiteX8" fmla="*/ 96517 w 96915"/>
                <a:gd name="connsiteY8" fmla="*/ 79262 h 101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915" h="101489">
                  <a:moveTo>
                    <a:pt x="96517" y="79262"/>
                  </a:moveTo>
                  <a:cubicBezTo>
                    <a:pt x="96450" y="78453"/>
                    <a:pt x="96315" y="77610"/>
                    <a:pt x="96146" y="76801"/>
                  </a:cubicBezTo>
                  <a:cubicBezTo>
                    <a:pt x="97427" y="63960"/>
                    <a:pt x="87147" y="52635"/>
                    <a:pt x="76665" y="43568"/>
                  </a:cubicBezTo>
                  <a:cubicBezTo>
                    <a:pt x="66082" y="27693"/>
                    <a:pt x="53779" y="12695"/>
                    <a:pt x="35478" y="7942"/>
                  </a:cubicBezTo>
                  <a:cubicBezTo>
                    <a:pt x="27321" y="1774"/>
                    <a:pt x="15861" y="-3854"/>
                    <a:pt x="6525" y="3459"/>
                  </a:cubicBezTo>
                  <a:cubicBezTo>
                    <a:pt x="-7766" y="14649"/>
                    <a:pt x="4503" y="32884"/>
                    <a:pt x="14007" y="44344"/>
                  </a:cubicBezTo>
                  <a:cubicBezTo>
                    <a:pt x="21996" y="65443"/>
                    <a:pt x="41207" y="80644"/>
                    <a:pt x="58767" y="93789"/>
                  </a:cubicBezTo>
                  <a:cubicBezTo>
                    <a:pt x="67835" y="100563"/>
                    <a:pt x="80810" y="105282"/>
                    <a:pt x="90753" y="97328"/>
                  </a:cubicBezTo>
                  <a:cubicBezTo>
                    <a:pt x="96517" y="92777"/>
                    <a:pt x="97663" y="85935"/>
                    <a:pt x="96517" y="79262"/>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sp>
          <p:nvSpPr>
            <p:cNvPr id="218" name="Freeform: Shape 217">
              <a:extLst>
                <a:ext uri="{FF2B5EF4-FFF2-40B4-BE49-F238E27FC236}">
                  <a16:creationId xmlns:a16="http://schemas.microsoft.com/office/drawing/2014/main" id="{A3F063FA-79F5-41BE-80D2-9CE57F7A6157}"/>
                </a:ext>
              </a:extLst>
            </p:cNvPr>
            <p:cNvSpPr/>
            <p:nvPr/>
          </p:nvSpPr>
          <p:spPr>
            <a:xfrm>
              <a:off x="10760099" y="3490379"/>
              <a:ext cx="135154" cy="61932"/>
            </a:xfrm>
            <a:custGeom>
              <a:avLst/>
              <a:gdLst>
                <a:gd name="connsiteX0" fmla="*/ 131053 w 135154"/>
                <a:gd name="connsiteY0" fmla="*/ 19712 h 61932"/>
                <a:gd name="connsiteX1" fmla="*/ 102774 w 135154"/>
                <a:gd name="connsiteY1" fmla="*/ 4713 h 61932"/>
                <a:gd name="connsiteX2" fmla="*/ 71125 w 135154"/>
                <a:gd name="connsiteY2" fmla="*/ 1545 h 61932"/>
                <a:gd name="connsiteX3" fmla="*/ 20669 w 135154"/>
                <a:gd name="connsiteY3" fmla="*/ 2759 h 61932"/>
                <a:gd name="connsiteX4" fmla="*/ 15141 w 135154"/>
                <a:gd name="connsiteY4" fmla="*/ 6567 h 61932"/>
                <a:gd name="connsiteX5" fmla="*/ 2165 w 135154"/>
                <a:gd name="connsiteY5" fmla="*/ 17959 h 61932"/>
                <a:gd name="connsiteX6" fmla="*/ 1187 w 135154"/>
                <a:gd name="connsiteY6" fmla="*/ 32352 h 61932"/>
                <a:gd name="connsiteX7" fmla="*/ 2333 w 135154"/>
                <a:gd name="connsiteY7" fmla="*/ 36396 h 61932"/>
                <a:gd name="connsiteX8" fmla="*/ 29904 w 135154"/>
                <a:gd name="connsiteY8" fmla="*/ 56686 h 61932"/>
                <a:gd name="connsiteX9" fmla="*/ 72473 w 135154"/>
                <a:gd name="connsiteY9" fmla="*/ 61439 h 61932"/>
                <a:gd name="connsiteX10" fmla="*/ 89865 w 135154"/>
                <a:gd name="connsiteY10" fmla="*/ 56821 h 61932"/>
                <a:gd name="connsiteX11" fmla="*/ 93471 w 135154"/>
                <a:gd name="connsiteY11" fmla="*/ 56686 h 61932"/>
                <a:gd name="connsiteX12" fmla="*/ 118682 w 135154"/>
                <a:gd name="connsiteY12" fmla="*/ 49642 h 61932"/>
                <a:gd name="connsiteX13" fmla="*/ 131053 w 135154"/>
                <a:gd name="connsiteY13" fmla="*/ 19712 h 61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5154" h="61932">
                  <a:moveTo>
                    <a:pt x="131053" y="19712"/>
                  </a:moveTo>
                  <a:cubicBezTo>
                    <a:pt x="124682" y="10848"/>
                    <a:pt x="112986" y="6938"/>
                    <a:pt x="102774" y="4713"/>
                  </a:cubicBezTo>
                  <a:cubicBezTo>
                    <a:pt x="92326" y="2422"/>
                    <a:pt x="81776" y="1815"/>
                    <a:pt x="71125" y="1545"/>
                  </a:cubicBezTo>
                  <a:cubicBezTo>
                    <a:pt x="54306" y="1141"/>
                    <a:pt x="37117" y="-2364"/>
                    <a:pt x="20669" y="2759"/>
                  </a:cubicBezTo>
                  <a:cubicBezTo>
                    <a:pt x="18444" y="3466"/>
                    <a:pt x="16523" y="4814"/>
                    <a:pt x="15141" y="6567"/>
                  </a:cubicBezTo>
                  <a:cubicBezTo>
                    <a:pt x="9614" y="9095"/>
                    <a:pt x="4861" y="12735"/>
                    <a:pt x="2165" y="17959"/>
                  </a:cubicBezTo>
                  <a:cubicBezTo>
                    <a:pt x="-531" y="23217"/>
                    <a:pt x="-531" y="28037"/>
                    <a:pt x="1187" y="32352"/>
                  </a:cubicBezTo>
                  <a:cubicBezTo>
                    <a:pt x="1457" y="33700"/>
                    <a:pt x="1828" y="35048"/>
                    <a:pt x="2333" y="36396"/>
                  </a:cubicBezTo>
                  <a:cubicBezTo>
                    <a:pt x="6951" y="48361"/>
                    <a:pt x="18074" y="53990"/>
                    <a:pt x="29904" y="56686"/>
                  </a:cubicBezTo>
                  <a:cubicBezTo>
                    <a:pt x="43589" y="59821"/>
                    <a:pt x="58452" y="63225"/>
                    <a:pt x="72473" y="61439"/>
                  </a:cubicBezTo>
                  <a:cubicBezTo>
                    <a:pt x="78506" y="60664"/>
                    <a:pt x="84169" y="58742"/>
                    <a:pt x="89865" y="56821"/>
                  </a:cubicBezTo>
                  <a:cubicBezTo>
                    <a:pt x="91078" y="56788"/>
                    <a:pt x="92292" y="56720"/>
                    <a:pt x="93471" y="56686"/>
                  </a:cubicBezTo>
                  <a:cubicBezTo>
                    <a:pt x="101729" y="56484"/>
                    <a:pt x="111267" y="54394"/>
                    <a:pt x="118682" y="49642"/>
                  </a:cubicBezTo>
                  <a:cubicBezTo>
                    <a:pt x="132738" y="44991"/>
                    <a:pt x="140389" y="32722"/>
                    <a:pt x="131053" y="19712"/>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sp>
          <p:nvSpPr>
            <p:cNvPr id="219" name="Freeform: Shape 218">
              <a:extLst>
                <a:ext uri="{FF2B5EF4-FFF2-40B4-BE49-F238E27FC236}">
                  <a16:creationId xmlns:a16="http://schemas.microsoft.com/office/drawing/2014/main" id="{F1629E89-A18B-4C48-AC28-76D62246B02E}"/>
                </a:ext>
              </a:extLst>
            </p:cNvPr>
            <p:cNvSpPr/>
            <p:nvPr/>
          </p:nvSpPr>
          <p:spPr>
            <a:xfrm>
              <a:off x="10691570" y="2673046"/>
              <a:ext cx="85063" cy="79867"/>
            </a:xfrm>
            <a:custGeom>
              <a:avLst/>
              <a:gdLst>
                <a:gd name="connsiteX0" fmla="*/ 71805 w 85063"/>
                <a:gd name="connsiteY0" fmla="*/ 287 h 79867"/>
                <a:gd name="connsiteX1" fmla="*/ 51886 w 85063"/>
                <a:gd name="connsiteY1" fmla="*/ 13465 h 79867"/>
                <a:gd name="connsiteX2" fmla="*/ 32034 w 85063"/>
                <a:gd name="connsiteY2" fmla="*/ 27756 h 79867"/>
                <a:gd name="connsiteX3" fmla="*/ 756 w 85063"/>
                <a:gd name="connsiteY3" fmla="*/ 67090 h 79867"/>
                <a:gd name="connsiteX4" fmla="*/ 21214 w 85063"/>
                <a:gd name="connsiteY4" fmla="*/ 72719 h 79867"/>
                <a:gd name="connsiteX5" fmla="*/ 48078 w 85063"/>
                <a:gd name="connsiteY5" fmla="*/ 43260 h 79867"/>
                <a:gd name="connsiteX6" fmla="*/ 62705 w 85063"/>
                <a:gd name="connsiteY6" fmla="*/ 32913 h 79867"/>
                <a:gd name="connsiteX7" fmla="*/ 77435 w 85063"/>
                <a:gd name="connsiteY7" fmla="*/ 20746 h 79867"/>
                <a:gd name="connsiteX8" fmla="*/ 71805 w 85063"/>
                <a:gd name="connsiteY8" fmla="*/ 287 h 79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063" h="79867">
                  <a:moveTo>
                    <a:pt x="71805" y="287"/>
                  </a:moveTo>
                  <a:cubicBezTo>
                    <a:pt x="63009" y="2242"/>
                    <a:pt x="57784" y="6960"/>
                    <a:pt x="51886" y="13465"/>
                  </a:cubicBezTo>
                  <a:cubicBezTo>
                    <a:pt x="45954" y="20038"/>
                    <a:pt x="39517" y="23375"/>
                    <a:pt x="32034" y="27756"/>
                  </a:cubicBezTo>
                  <a:cubicBezTo>
                    <a:pt x="17575" y="36182"/>
                    <a:pt x="6654" y="51720"/>
                    <a:pt x="756" y="67090"/>
                  </a:cubicBezTo>
                  <a:cubicBezTo>
                    <a:pt x="-4165" y="79830"/>
                    <a:pt x="16361" y="85358"/>
                    <a:pt x="21214" y="72719"/>
                  </a:cubicBezTo>
                  <a:cubicBezTo>
                    <a:pt x="26236" y="59641"/>
                    <a:pt x="36079" y="49833"/>
                    <a:pt x="48078" y="43260"/>
                  </a:cubicBezTo>
                  <a:cubicBezTo>
                    <a:pt x="53369" y="40362"/>
                    <a:pt x="58323" y="37059"/>
                    <a:pt x="62705" y="32913"/>
                  </a:cubicBezTo>
                  <a:cubicBezTo>
                    <a:pt x="67626" y="28262"/>
                    <a:pt x="70491" y="22262"/>
                    <a:pt x="77435" y="20746"/>
                  </a:cubicBezTo>
                  <a:cubicBezTo>
                    <a:pt x="90782" y="17813"/>
                    <a:pt x="85153" y="-2646"/>
                    <a:pt x="71805" y="287"/>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sp>
          <p:nvSpPr>
            <p:cNvPr id="220" name="Freeform: Shape 219">
              <a:extLst>
                <a:ext uri="{FF2B5EF4-FFF2-40B4-BE49-F238E27FC236}">
                  <a16:creationId xmlns:a16="http://schemas.microsoft.com/office/drawing/2014/main" id="{3143A24E-5CB8-49BF-ABB1-0E13170F576C}"/>
                </a:ext>
              </a:extLst>
            </p:cNvPr>
            <p:cNvSpPr/>
            <p:nvPr/>
          </p:nvSpPr>
          <p:spPr>
            <a:xfrm>
              <a:off x="10597035" y="2796388"/>
              <a:ext cx="69801" cy="254206"/>
            </a:xfrm>
            <a:custGeom>
              <a:avLst/>
              <a:gdLst>
                <a:gd name="connsiteX0" fmla="*/ 51340 w 69801"/>
                <a:gd name="connsiteY0" fmla="*/ 2731 h 254206"/>
                <a:gd name="connsiteX1" fmla="*/ 16826 w 69801"/>
                <a:gd name="connsiteY1" fmla="*/ 60838 h 254206"/>
                <a:gd name="connsiteX2" fmla="*/ 7 w 69801"/>
                <a:gd name="connsiteY2" fmla="*/ 141494 h 254206"/>
                <a:gd name="connsiteX3" fmla="*/ 1524 w 69801"/>
                <a:gd name="connsiteY3" fmla="*/ 182446 h 254206"/>
                <a:gd name="connsiteX4" fmla="*/ 6007 w 69801"/>
                <a:gd name="connsiteY4" fmla="*/ 218645 h 254206"/>
                <a:gd name="connsiteX5" fmla="*/ 29162 w 69801"/>
                <a:gd name="connsiteY5" fmla="*/ 254203 h 254206"/>
                <a:gd name="connsiteX6" fmla="*/ 29162 w 69801"/>
                <a:gd name="connsiteY6" fmla="*/ 232969 h 254206"/>
                <a:gd name="connsiteX7" fmla="*/ 28959 w 69801"/>
                <a:gd name="connsiteY7" fmla="*/ 232969 h 254206"/>
                <a:gd name="connsiteX8" fmla="*/ 28083 w 69801"/>
                <a:gd name="connsiteY8" fmla="*/ 229801 h 254206"/>
                <a:gd name="connsiteX9" fmla="*/ 27274 w 69801"/>
                <a:gd name="connsiteY9" fmla="*/ 221341 h 254206"/>
                <a:gd name="connsiteX10" fmla="*/ 24881 w 69801"/>
                <a:gd name="connsiteY10" fmla="*/ 198658 h 254206"/>
                <a:gd name="connsiteX11" fmla="*/ 21612 w 69801"/>
                <a:gd name="connsiteY11" fmla="*/ 130372 h 254206"/>
                <a:gd name="connsiteX12" fmla="*/ 37723 w 69801"/>
                <a:gd name="connsiteY12" fmla="*/ 65591 h 254206"/>
                <a:gd name="connsiteX13" fmla="*/ 66338 w 69801"/>
                <a:gd name="connsiteY13" fmla="*/ 17696 h 254206"/>
                <a:gd name="connsiteX14" fmla="*/ 51340 w 69801"/>
                <a:gd name="connsiteY14" fmla="*/ 2731 h 254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801" h="254206">
                  <a:moveTo>
                    <a:pt x="51340" y="2731"/>
                  </a:moveTo>
                  <a:cubicBezTo>
                    <a:pt x="34656" y="17224"/>
                    <a:pt x="25185" y="40851"/>
                    <a:pt x="16826" y="60838"/>
                  </a:cubicBezTo>
                  <a:cubicBezTo>
                    <a:pt x="6445" y="85679"/>
                    <a:pt x="210" y="114530"/>
                    <a:pt x="7" y="141494"/>
                  </a:cubicBezTo>
                  <a:cubicBezTo>
                    <a:pt x="-94" y="155145"/>
                    <a:pt x="884" y="168829"/>
                    <a:pt x="1524" y="182446"/>
                  </a:cubicBezTo>
                  <a:cubicBezTo>
                    <a:pt x="2063" y="194681"/>
                    <a:pt x="5568" y="206444"/>
                    <a:pt x="6007" y="218645"/>
                  </a:cubicBezTo>
                  <a:cubicBezTo>
                    <a:pt x="6546" y="234014"/>
                    <a:pt x="9377" y="254473"/>
                    <a:pt x="29162" y="254203"/>
                  </a:cubicBezTo>
                  <a:cubicBezTo>
                    <a:pt x="42812" y="254001"/>
                    <a:pt x="42846" y="232801"/>
                    <a:pt x="29162" y="232969"/>
                  </a:cubicBezTo>
                  <a:cubicBezTo>
                    <a:pt x="29094" y="232969"/>
                    <a:pt x="29027" y="232969"/>
                    <a:pt x="28959" y="232969"/>
                  </a:cubicBezTo>
                  <a:cubicBezTo>
                    <a:pt x="28488" y="232026"/>
                    <a:pt x="28252" y="230678"/>
                    <a:pt x="28083" y="229801"/>
                  </a:cubicBezTo>
                  <a:cubicBezTo>
                    <a:pt x="27645" y="226970"/>
                    <a:pt x="27375" y="224206"/>
                    <a:pt x="27274" y="221341"/>
                  </a:cubicBezTo>
                  <a:cubicBezTo>
                    <a:pt x="27005" y="213656"/>
                    <a:pt x="26331" y="206241"/>
                    <a:pt x="24881" y="198658"/>
                  </a:cubicBezTo>
                  <a:cubicBezTo>
                    <a:pt x="20769" y="176918"/>
                    <a:pt x="20028" y="152448"/>
                    <a:pt x="21612" y="130372"/>
                  </a:cubicBezTo>
                  <a:cubicBezTo>
                    <a:pt x="23128" y="109003"/>
                    <a:pt x="28724" y="85072"/>
                    <a:pt x="37723" y="65591"/>
                  </a:cubicBezTo>
                  <a:cubicBezTo>
                    <a:pt x="45306" y="49177"/>
                    <a:pt x="52385" y="29830"/>
                    <a:pt x="66338" y="17696"/>
                  </a:cubicBezTo>
                  <a:cubicBezTo>
                    <a:pt x="76652" y="8764"/>
                    <a:pt x="61620" y="-6167"/>
                    <a:pt x="51340" y="2731"/>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grpSp>
      <p:grpSp>
        <p:nvGrpSpPr>
          <p:cNvPr id="221" name="Graphic 6">
            <a:extLst>
              <a:ext uri="{FF2B5EF4-FFF2-40B4-BE49-F238E27FC236}">
                <a16:creationId xmlns:a16="http://schemas.microsoft.com/office/drawing/2014/main" id="{51D6F4BB-E553-4BB1-84E6-37499D523463}"/>
              </a:ext>
            </a:extLst>
          </p:cNvPr>
          <p:cNvGrpSpPr/>
          <p:nvPr/>
        </p:nvGrpSpPr>
        <p:grpSpPr>
          <a:xfrm>
            <a:off x="11126462" y="4637380"/>
            <a:ext cx="345481" cy="354369"/>
            <a:chOff x="11126462" y="4637380"/>
            <a:chExt cx="345481" cy="354369"/>
          </a:xfrm>
          <a:solidFill>
            <a:srgbClr val="DAE3F3"/>
          </a:solidFill>
        </p:grpSpPr>
        <p:sp>
          <p:nvSpPr>
            <p:cNvPr id="222" name="Freeform: Shape 221">
              <a:extLst>
                <a:ext uri="{FF2B5EF4-FFF2-40B4-BE49-F238E27FC236}">
                  <a16:creationId xmlns:a16="http://schemas.microsoft.com/office/drawing/2014/main" id="{D4C9EFE5-0E73-45A3-981C-4EDEAD2532F3}"/>
                </a:ext>
              </a:extLst>
            </p:cNvPr>
            <p:cNvSpPr/>
            <p:nvPr/>
          </p:nvSpPr>
          <p:spPr>
            <a:xfrm rot="-4602852">
              <a:off x="11169831" y="4672298"/>
              <a:ext cx="246104" cy="246104"/>
            </a:xfrm>
            <a:custGeom>
              <a:avLst/>
              <a:gdLst>
                <a:gd name="connsiteX0" fmla="*/ 246104 w 246104"/>
                <a:gd name="connsiteY0" fmla="*/ 123052 h 246104"/>
                <a:gd name="connsiteX1" fmla="*/ 123052 w 246104"/>
                <a:gd name="connsiteY1" fmla="*/ 246104 h 246104"/>
                <a:gd name="connsiteX2" fmla="*/ 0 w 246104"/>
                <a:gd name="connsiteY2" fmla="*/ 123052 h 246104"/>
                <a:gd name="connsiteX3" fmla="*/ 123052 w 246104"/>
                <a:gd name="connsiteY3" fmla="*/ 0 h 246104"/>
                <a:gd name="connsiteX4" fmla="*/ 246104 w 246104"/>
                <a:gd name="connsiteY4" fmla="*/ 123052 h 246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6104" h="246104">
                  <a:moveTo>
                    <a:pt x="246104" y="123052"/>
                  </a:moveTo>
                  <a:cubicBezTo>
                    <a:pt x="246104" y="191012"/>
                    <a:pt x="191011" y="246104"/>
                    <a:pt x="123052" y="246104"/>
                  </a:cubicBezTo>
                  <a:cubicBezTo>
                    <a:pt x="55092" y="246104"/>
                    <a:pt x="0" y="191012"/>
                    <a:pt x="0" y="123052"/>
                  </a:cubicBezTo>
                  <a:cubicBezTo>
                    <a:pt x="0" y="55092"/>
                    <a:pt x="55092" y="0"/>
                    <a:pt x="123052" y="0"/>
                  </a:cubicBezTo>
                  <a:cubicBezTo>
                    <a:pt x="191011" y="0"/>
                    <a:pt x="246104" y="55092"/>
                    <a:pt x="246104" y="123052"/>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sp>
          <p:nvSpPr>
            <p:cNvPr id="223" name="Freeform: Shape 222">
              <a:extLst>
                <a:ext uri="{FF2B5EF4-FFF2-40B4-BE49-F238E27FC236}">
                  <a16:creationId xmlns:a16="http://schemas.microsoft.com/office/drawing/2014/main" id="{53835C52-674F-4D84-8358-BEEB831FBA6F}"/>
                </a:ext>
              </a:extLst>
            </p:cNvPr>
            <p:cNvSpPr/>
            <p:nvPr/>
          </p:nvSpPr>
          <p:spPr>
            <a:xfrm>
              <a:off x="11384115" y="4699973"/>
              <a:ext cx="38483" cy="38919"/>
            </a:xfrm>
            <a:custGeom>
              <a:avLst/>
              <a:gdLst>
                <a:gd name="connsiteX0" fmla="*/ 37517 w 38483"/>
                <a:gd name="connsiteY0" fmla="*/ 70 h 38919"/>
                <a:gd name="connsiteX1" fmla="*/ 17126 w 38483"/>
                <a:gd name="connsiteY1" fmla="*/ 18843 h 38919"/>
                <a:gd name="connsiteX2" fmla="*/ 7419 w 38483"/>
                <a:gd name="connsiteY2" fmla="*/ 27910 h 38919"/>
                <a:gd name="connsiteX3" fmla="*/ 38 w 38483"/>
                <a:gd name="connsiteY3" fmla="*/ 38055 h 38919"/>
                <a:gd name="connsiteX4" fmla="*/ 1285 w 38483"/>
                <a:gd name="connsiteY4" fmla="*/ 38392 h 38919"/>
                <a:gd name="connsiteX5" fmla="*/ 9307 w 38483"/>
                <a:gd name="connsiteY5" fmla="*/ 28011 h 38919"/>
                <a:gd name="connsiteX6" fmla="*/ 18474 w 38483"/>
                <a:gd name="connsiteY6" fmla="*/ 19247 h 38919"/>
                <a:gd name="connsiteX7" fmla="*/ 38124 w 38483"/>
                <a:gd name="connsiteY7" fmla="*/ 1283 h 38919"/>
                <a:gd name="connsiteX8" fmla="*/ 37517 w 38483"/>
                <a:gd name="connsiteY8" fmla="*/ 70 h 38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483" h="38919">
                  <a:moveTo>
                    <a:pt x="37517" y="70"/>
                  </a:moveTo>
                  <a:cubicBezTo>
                    <a:pt x="29159" y="4350"/>
                    <a:pt x="23362" y="11529"/>
                    <a:pt x="17126" y="18843"/>
                  </a:cubicBezTo>
                  <a:cubicBezTo>
                    <a:pt x="14160" y="22315"/>
                    <a:pt x="10790" y="24978"/>
                    <a:pt x="7419" y="27910"/>
                  </a:cubicBezTo>
                  <a:cubicBezTo>
                    <a:pt x="4251" y="30673"/>
                    <a:pt x="1318" y="33774"/>
                    <a:pt x="38" y="38055"/>
                  </a:cubicBezTo>
                  <a:cubicBezTo>
                    <a:pt x="-232" y="38931"/>
                    <a:pt x="1015" y="39302"/>
                    <a:pt x="1285" y="38392"/>
                  </a:cubicBezTo>
                  <a:cubicBezTo>
                    <a:pt x="2633" y="33909"/>
                    <a:pt x="6004" y="30808"/>
                    <a:pt x="9307" y="28011"/>
                  </a:cubicBezTo>
                  <a:cubicBezTo>
                    <a:pt x="12576" y="25247"/>
                    <a:pt x="15643" y="22585"/>
                    <a:pt x="18474" y="19247"/>
                  </a:cubicBezTo>
                  <a:cubicBezTo>
                    <a:pt x="24440" y="12203"/>
                    <a:pt x="30069" y="5361"/>
                    <a:pt x="38124" y="1283"/>
                  </a:cubicBezTo>
                  <a:cubicBezTo>
                    <a:pt x="38900" y="912"/>
                    <a:pt x="38293" y="-301"/>
                    <a:pt x="37517" y="70"/>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sp>
          <p:nvSpPr>
            <p:cNvPr id="224" name="Freeform: Shape 223">
              <a:extLst>
                <a:ext uri="{FF2B5EF4-FFF2-40B4-BE49-F238E27FC236}">
                  <a16:creationId xmlns:a16="http://schemas.microsoft.com/office/drawing/2014/main" id="{068129C9-6C3D-4219-9D6D-E455E651256A}"/>
                </a:ext>
              </a:extLst>
            </p:cNvPr>
            <p:cNvSpPr/>
            <p:nvPr/>
          </p:nvSpPr>
          <p:spPr>
            <a:xfrm>
              <a:off x="11184968" y="4663703"/>
              <a:ext cx="59363" cy="67870"/>
            </a:xfrm>
            <a:custGeom>
              <a:avLst/>
              <a:gdLst>
                <a:gd name="connsiteX0" fmla="*/ 58399 w 59363"/>
                <a:gd name="connsiteY0" fmla="*/ 65663 h 67870"/>
                <a:gd name="connsiteX1" fmla="*/ 25436 w 59363"/>
                <a:gd name="connsiteY1" fmla="*/ 38901 h 67870"/>
                <a:gd name="connsiteX2" fmla="*/ 12628 w 59363"/>
                <a:gd name="connsiteY2" fmla="*/ 16960 h 67870"/>
                <a:gd name="connsiteX3" fmla="*/ 1707 w 59363"/>
                <a:gd name="connsiteY3" fmla="*/ 343 h 67870"/>
                <a:gd name="connsiteX4" fmla="*/ 258 w 59363"/>
                <a:gd name="connsiteY4" fmla="*/ 1792 h 67870"/>
                <a:gd name="connsiteX5" fmla="*/ 19605 w 59363"/>
                <a:gd name="connsiteY5" fmla="*/ 33239 h 67870"/>
                <a:gd name="connsiteX6" fmla="*/ 43063 w 59363"/>
                <a:gd name="connsiteY6" fmla="*/ 63135 h 67870"/>
                <a:gd name="connsiteX7" fmla="*/ 58433 w 59363"/>
                <a:gd name="connsiteY7" fmla="*/ 67719 h 67870"/>
                <a:gd name="connsiteX8" fmla="*/ 58399 w 59363"/>
                <a:gd name="connsiteY8" fmla="*/ 65663 h 67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363" h="67870">
                  <a:moveTo>
                    <a:pt x="58399" y="65663"/>
                  </a:moveTo>
                  <a:cubicBezTo>
                    <a:pt x="43266" y="67686"/>
                    <a:pt x="32210" y="49721"/>
                    <a:pt x="25436" y="38901"/>
                  </a:cubicBezTo>
                  <a:cubicBezTo>
                    <a:pt x="20919" y="31722"/>
                    <a:pt x="16841" y="24307"/>
                    <a:pt x="12628" y="16960"/>
                  </a:cubicBezTo>
                  <a:cubicBezTo>
                    <a:pt x="9325" y="11230"/>
                    <a:pt x="6055" y="5365"/>
                    <a:pt x="1707" y="343"/>
                  </a:cubicBezTo>
                  <a:cubicBezTo>
                    <a:pt x="831" y="-668"/>
                    <a:pt x="-584" y="781"/>
                    <a:pt x="258" y="1792"/>
                  </a:cubicBezTo>
                  <a:cubicBezTo>
                    <a:pt x="8212" y="11027"/>
                    <a:pt x="13436" y="22790"/>
                    <a:pt x="19605" y="33239"/>
                  </a:cubicBezTo>
                  <a:cubicBezTo>
                    <a:pt x="25907" y="43923"/>
                    <a:pt x="32851" y="55686"/>
                    <a:pt x="43063" y="63135"/>
                  </a:cubicBezTo>
                  <a:cubicBezTo>
                    <a:pt x="47546" y="66405"/>
                    <a:pt x="52837" y="68461"/>
                    <a:pt x="58433" y="67719"/>
                  </a:cubicBezTo>
                  <a:cubicBezTo>
                    <a:pt x="59680" y="67517"/>
                    <a:pt x="59680" y="65495"/>
                    <a:pt x="58399" y="65663"/>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sp>
          <p:nvSpPr>
            <p:cNvPr id="225" name="Freeform: Shape 224">
              <a:extLst>
                <a:ext uri="{FF2B5EF4-FFF2-40B4-BE49-F238E27FC236}">
                  <a16:creationId xmlns:a16="http://schemas.microsoft.com/office/drawing/2014/main" id="{1442B0D8-FEF2-43CF-A4A4-8119EC09B0EA}"/>
                </a:ext>
              </a:extLst>
            </p:cNvPr>
            <p:cNvSpPr/>
            <p:nvPr/>
          </p:nvSpPr>
          <p:spPr>
            <a:xfrm>
              <a:off x="11135705" y="4768997"/>
              <a:ext cx="100401" cy="18509"/>
            </a:xfrm>
            <a:custGeom>
              <a:avLst/>
              <a:gdLst>
                <a:gd name="connsiteX0" fmla="*/ 99168 w 100401"/>
                <a:gd name="connsiteY0" fmla="*/ 73 h 18509"/>
                <a:gd name="connsiteX1" fmla="*/ 51139 w 100401"/>
                <a:gd name="connsiteY1" fmla="*/ 12915 h 18509"/>
                <a:gd name="connsiteX2" fmla="*/ 986 w 100401"/>
                <a:gd name="connsiteY2" fmla="*/ 16453 h 18509"/>
                <a:gd name="connsiteX3" fmla="*/ 986 w 100401"/>
                <a:gd name="connsiteY3" fmla="*/ 18509 h 18509"/>
                <a:gd name="connsiteX4" fmla="*/ 50532 w 100401"/>
                <a:gd name="connsiteY4" fmla="*/ 15072 h 18509"/>
                <a:gd name="connsiteX5" fmla="*/ 99707 w 100401"/>
                <a:gd name="connsiteY5" fmla="*/ 2061 h 18509"/>
                <a:gd name="connsiteX6" fmla="*/ 99168 w 100401"/>
                <a:gd name="connsiteY6" fmla="*/ 73 h 18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401" h="18509">
                  <a:moveTo>
                    <a:pt x="99168" y="73"/>
                  </a:moveTo>
                  <a:cubicBezTo>
                    <a:pt x="83630" y="6039"/>
                    <a:pt x="67587" y="10387"/>
                    <a:pt x="51139" y="12915"/>
                  </a:cubicBezTo>
                  <a:cubicBezTo>
                    <a:pt x="34556" y="15443"/>
                    <a:pt x="17737" y="16184"/>
                    <a:pt x="986" y="16453"/>
                  </a:cubicBezTo>
                  <a:cubicBezTo>
                    <a:pt x="-329" y="16487"/>
                    <a:pt x="-329" y="18509"/>
                    <a:pt x="986" y="18509"/>
                  </a:cubicBezTo>
                  <a:cubicBezTo>
                    <a:pt x="17569" y="18240"/>
                    <a:pt x="34152" y="17498"/>
                    <a:pt x="50532" y="15072"/>
                  </a:cubicBezTo>
                  <a:cubicBezTo>
                    <a:pt x="67385" y="12577"/>
                    <a:pt x="83799" y="8162"/>
                    <a:pt x="99707" y="2061"/>
                  </a:cubicBezTo>
                  <a:cubicBezTo>
                    <a:pt x="100921" y="1556"/>
                    <a:pt x="100415" y="-399"/>
                    <a:pt x="99168" y="73"/>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sp>
          <p:nvSpPr>
            <p:cNvPr id="226" name="Freeform: Shape 225">
              <a:extLst>
                <a:ext uri="{FF2B5EF4-FFF2-40B4-BE49-F238E27FC236}">
                  <a16:creationId xmlns:a16="http://schemas.microsoft.com/office/drawing/2014/main" id="{AA43DEE5-543C-4373-895F-49E89337C3F7}"/>
                </a:ext>
              </a:extLst>
            </p:cNvPr>
            <p:cNvSpPr/>
            <p:nvPr/>
          </p:nvSpPr>
          <p:spPr>
            <a:xfrm>
              <a:off x="11339839" y="4908507"/>
              <a:ext cx="2072" cy="2055"/>
            </a:xfrm>
            <a:custGeom>
              <a:avLst/>
              <a:gdLst>
                <a:gd name="connsiteX0" fmla="*/ 1036 w 2072"/>
                <a:gd name="connsiteY0" fmla="*/ 0 h 2055"/>
                <a:gd name="connsiteX1" fmla="*/ 1036 w 2072"/>
                <a:gd name="connsiteY1" fmla="*/ 2056 h 2055"/>
                <a:gd name="connsiteX2" fmla="*/ 1036 w 2072"/>
                <a:gd name="connsiteY2" fmla="*/ 0 h 2055"/>
              </a:gdLst>
              <a:ahLst/>
              <a:cxnLst>
                <a:cxn ang="0">
                  <a:pos x="connsiteX0" y="connsiteY0"/>
                </a:cxn>
                <a:cxn ang="0">
                  <a:pos x="connsiteX1" y="connsiteY1"/>
                </a:cxn>
                <a:cxn ang="0">
                  <a:pos x="connsiteX2" y="connsiteY2"/>
                </a:cxn>
              </a:cxnLst>
              <a:rect l="l" t="t" r="r" b="b"/>
              <a:pathLst>
                <a:path w="2072" h="2055">
                  <a:moveTo>
                    <a:pt x="1036" y="0"/>
                  </a:moveTo>
                  <a:cubicBezTo>
                    <a:pt x="-345" y="0"/>
                    <a:pt x="-345" y="2056"/>
                    <a:pt x="1036" y="2056"/>
                  </a:cubicBezTo>
                  <a:cubicBezTo>
                    <a:pt x="2418" y="2022"/>
                    <a:pt x="2418" y="0"/>
                    <a:pt x="1036" y="0"/>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sp>
          <p:nvSpPr>
            <p:cNvPr id="227" name="Freeform: Shape 226">
              <a:extLst>
                <a:ext uri="{FF2B5EF4-FFF2-40B4-BE49-F238E27FC236}">
                  <a16:creationId xmlns:a16="http://schemas.microsoft.com/office/drawing/2014/main" id="{C74752BF-547D-4F5B-BD7D-688320AA5637}"/>
                </a:ext>
              </a:extLst>
            </p:cNvPr>
            <p:cNvSpPr/>
            <p:nvPr/>
          </p:nvSpPr>
          <p:spPr>
            <a:xfrm>
              <a:off x="11276428" y="4879012"/>
              <a:ext cx="18616" cy="107719"/>
            </a:xfrm>
            <a:custGeom>
              <a:avLst/>
              <a:gdLst>
                <a:gd name="connsiteX0" fmla="*/ 18272 w 18616"/>
                <a:gd name="connsiteY0" fmla="*/ 1823 h 107719"/>
                <a:gd name="connsiteX1" fmla="*/ 16957 w 18616"/>
                <a:gd name="connsiteY1" fmla="*/ 273 h 107719"/>
                <a:gd name="connsiteX2" fmla="*/ 2835 w 18616"/>
                <a:gd name="connsiteY2" fmla="*/ 35158 h 107719"/>
                <a:gd name="connsiteX3" fmla="*/ 611 w 18616"/>
                <a:gd name="connsiteY3" fmla="*/ 83760 h 107719"/>
                <a:gd name="connsiteX4" fmla="*/ 4 w 18616"/>
                <a:gd name="connsiteY4" fmla="*/ 106646 h 107719"/>
                <a:gd name="connsiteX5" fmla="*/ 2060 w 18616"/>
                <a:gd name="connsiteY5" fmla="*/ 106814 h 107719"/>
                <a:gd name="connsiteX6" fmla="*/ 8194 w 18616"/>
                <a:gd name="connsiteY6" fmla="*/ 19620 h 107719"/>
                <a:gd name="connsiteX7" fmla="*/ 18272 w 18616"/>
                <a:gd name="connsiteY7" fmla="*/ 1823 h 107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616" h="107719">
                  <a:moveTo>
                    <a:pt x="18272" y="1823"/>
                  </a:moveTo>
                  <a:cubicBezTo>
                    <a:pt x="19250" y="947"/>
                    <a:pt x="17935" y="-637"/>
                    <a:pt x="16957" y="273"/>
                  </a:cubicBezTo>
                  <a:cubicBezTo>
                    <a:pt x="7419" y="8868"/>
                    <a:pt x="4520" y="23024"/>
                    <a:pt x="2835" y="35158"/>
                  </a:cubicBezTo>
                  <a:cubicBezTo>
                    <a:pt x="611" y="51235"/>
                    <a:pt x="678" y="67548"/>
                    <a:pt x="611" y="83760"/>
                  </a:cubicBezTo>
                  <a:cubicBezTo>
                    <a:pt x="577" y="91377"/>
                    <a:pt x="577" y="99028"/>
                    <a:pt x="4" y="106646"/>
                  </a:cubicBezTo>
                  <a:cubicBezTo>
                    <a:pt x="-97" y="107960"/>
                    <a:pt x="1959" y="108129"/>
                    <a:pt x="2060" y="106814"/>
                  </a:cubicBezTo>
                  <a:cubicBezTo>
                    <a:pt x="4250" y="77963"/>
                    <a:pt x="-367" y="47729"/>
                    <a:pt x="8194" y="19620"/>
                  </a:cubicBezTo>
                  <a:cubicBezTo>
                    <a:pt x="10149" y="13047"/>
                    <a:pt x="13081" y="6475"/>
                    <a:pt x="18272" y="1823"/>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sp>
          <p:nvSpPr>
            <p:cNvPr id="228" name="Freeform: Shape 227">
              <a:extLst>
                <a:ext uri="{FF2B5EF4-FFF2-40B4-BE49-F238E27FC236}">
                  <a16:creationId xmlns:a16="http://schemas.microsoft.com/office/drawing/2014/main" id="{BFE90CC4-AC57-40BB-A016-695276C43B1D}"/>
                </a:ext>
              </a:extLst>
            </p:cNvPr>
            <p:cNvSpPr/>
            <p:nvPr/>
          </p:nvSpPr>
          <p:spPr>
            <a:xfrm>
              <a:off x="11341442" y="4808875"/>
              <a:ext cx="121222" cy="50068"/>
            </a:xfrm>
            <a:custGeom>
              <a:avLst/>
              <a:gdLst>
                <a:gd name="connsiteX0" fmla="*/ 120603 w 121222"/>
                <a:gd name="connsiteY0" fmla="*/ 48030 h 50068"/>
                <a:gd name="connsiteX1" fmla="*/ 25050 w 121222"/>
                <a:gd name="connsiteY1" fmla="*/ 1011 h 50068"/>
                <a:gd name="connsiteX2" fmla="*/ 614 w 121222"/>
                <a:gd name="connsiteY2" fmla="*/ 2461 h 50068"/>
                <a:gd name="connsiteX3" fmla="*/ 1457 w 121222"/>
                <a:gd name="connsiteY3" fmla="*/ 4348 h 50068"/>
                <a:gd name="connsiteX4" fmla="*/ 48879 w 121222"/>
                <a:gd name="connsiteY4" fmla="*/ 11055 h 50068"/>
                <a:gd name="connsiteX5" fmla="*/ 97717 w 121222"/>
                <a:gd name="connsiteY5" fmla="*/ 38053 h 50068"/>
                <a:gd name="connsiteX6" fmla="*/ 119862 w 121222"/>
                <a:gd name="connsiteY6" fmla="*/ 49985 h 50068"/>
                <a:gd name="connsiteX7" fmla="*/ 120603 w 121222"/>
                <a:gd name="connsiteY7" fmla="*/ 48030 h 50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222" h="50068">
                  <a:moveTo>
                    <a:pt x="120603" y="48030"/>
                  </a:moveTo>
                  <a:cubicBezTo>
                    <a:pt x="88314" y="33739"/>
                    <a:pt x="60642" y="7651"/>
                    <a:pt x="25050" y="1011"/>
                  </a:cubicBezTo>
                  <a:cubicBezTo>
                    <a:pt x="16893" y="-505"/>
                    <a:pt x="8433" y="-539"/>
                    <a:pt x="614" y="2461"/>
                  </a:cubicBezTo>
                  <a:cubicBezTo>
                    <a:pt x="-633" y="2933"/>
                    <a:pt x="209" y="4786"/>
                    <a:pt x="1457" y="4348"/>
                  </a:cubicBezTo>
                  <a:cubicBezTo>
                    <a:pt x="16927" y="-1550"/>
                    <a:pt x="34554" y="4685"/>
                    <a:pt x="48879" y="11055"/>
                  </a:cubicBezTo>
                  <a:cubicBezTo>
                    <a:pt x="65900" y="18605"/>
                    <a:pt x="81707" y="28582"/>
                    <a:pt x="97717" y="38053"/>
                  </a:cubicBezTo>
                  <a:cubicBezTo>
                    <a:pt x="104931" y="42300"/>
                    <a:pt x="112177" y="46580"/>
                    <a:pt x="119862" y="49985"/>
                  </a:cubicBezTo>
                  <a:cubicBezTo>
                    <a:pt x="121075" y="50490"/>
                    <a:pt x="121817" y="48569"/>
                    <a:pt x="120603" y="48030"/>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sp>
          <p:nvSpPr>
            <p:cNvPr id="229" name="Freeform: Shape 228">
              <a:extLst>
                <a:ext uri="{FF2B5EF4-FFF2-40B4-BE49-F238E27FC236}">
                  <a16:creationId xmlns:a16="http://schemas.microsoft.com/office/drawing/2014/main" id="{EFFAEEA4-07E0-4162-A0DF-43FD28ECFD06}"/>
                </a:ext>
              </a:extLst>
            </p:cNvPr>
            <p:cNvSpPr/>
            <p:nvPr/>
          </p:nvSpPr>
          <p:spPr>
            <a:xfrm>
              <a:off x="11356220" y="4793944"/>
              <a:ext cx="43091" cy="2055"/>
            </a:xfrm>
            <a:custGeom>
              <a:avLst/>
              <a:gdLst>
                <a:gd name="connsiteX0" fmla="*/ 42055 w 43091"/>
                <a:gd name="connsiteY0" fmla="*/ 0 h 2055"/>
                <a:gd name="connsiteX1" fmla="*/ 1037 w 43091"/>
                <a:gd name="connsiteY1" fmla="*/ 0 h 2055"/>
                <a:gd name="connsiteX2" fmla="*/ 1037 w 43091"/>
                <a:gd name="connsiteY2" fmla="*/ 2056 h 2055"/>
                <a:gd name="connsiteX3" fmla="*/ 42055 w 43091"/>
                <a:gd name="connsiteY3" fmla="*/ 2056 h 2055"/>
                <a:gd name="connsiteX4" fmla="*/ 42055 w 43091"/>
                <a:gd name="connsiteY4" fmla="*/ 0 h 20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091" h="2055">
                  <a:moveTo>
                    <a:pt x="42055" y="0"/>
                  </a:moveTo>
                  <a:lnTo>
                    <a:pt x="1037" y="0"/>
                  </a:lnTo>
                  <a:cubicBezTo>
                    <a:pt x="-346" y="0"/>
                    <a:pt x="-346" y="2056"/>
                    <a:pt x="1037" y="2056"/>
                  </a:cubicBezTo>
                  <a:lnTo>
                    <a:pt x="42055" y="2056"/>
                  </a:lnTo>
                  <a:cubicBezTo>
                    <a:pt x="43437" y="2056"/>
                    <a:pt x="43437" y="0"/>
                    <a:pt x="42055" y="0"/>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sp>
          <p:nvSpPr>
            <p:cNvPr id="230" name="Freeform: Shape 229">
              <a:extLst>
                <a:ext uri="{FF2B5EF4-FFF2-40B4-BE49-F238E27FC236}">
                  <a16:creationId xmlns:a16="http://schemas.microsoft.com/office/drawing/2014/main" id="{D83DF7F2-974F-4AA4-892A-007F9F8C15CE}"/>
                </a:ext>
              </a:extLst>
            </p:cNvPr>
            <p:cNvSpPr/>
            <p:nvPr/>
          </p:nvSpPr>
          <p:spPr>
            <a:xfrm>
              <a:off x="11159674" y="4859247"/>
              <a:ext cx="50287" cy="51219"/>
            </a:xfrm>
            <a:custGeom>
              <a:avLst/>
              <a:gdLst>
                <a:gd name="connsiteX0" fmla="*/ 48304 w 50287"/>
                <a:gd name="connsiteY0" fmla="*/ 725 h 51219"/>
                <a:gd name="connsiteX1" fmla="*/ 37585 w 50287"/>
                <a:gd name="connsiteY1" fmla="*/ 9960 h 51219"/>
                <a:gd name="connsiteX2" fmla="*/ 23800 w 50287"/>
                <a:gd name="connsiteY2" fmla="*/ 23712 h 51219"/>
                <a:gd name="connsiteX3" fmla="*/ 139 w 50287"/>
                <a:gd name="connsiteY3" fmla="*/ 49192 h 51219"/>
                <a:gd name="connsiteX4" fmla="*/ 746 w 50287"/>
                <a:gd name="connsiteY4" fmla="*/ 50709 h 51219"/>
                <a:gd name="connsiteX5" fmla="*/ 2532 w 50287"/>
                <a:gd name="connsiteY5" fmla="*/ 51181 h 51219"/>
                <a:gd name="connsiteX6" fmla="*/ 3071 w 50287"/>
                <a:gd name="connsiteY6" fmla="*/ 49192 h 51219"/>
                <a:gd name="connsiteX7" fmla="*/ 2600 w 50287"/>
                <a:gd name="connsiteY7" fmla="*/ 49058 h 51219"/>
                <a:gd name="connsiteX8" fmla="*/ 13689 w 50287"/>
                <a:gd name="connsiteY8" fmla="*/ 36587 h 51219"/>
                <a:gd name="connsiteX9" fmla="*/ 27878 w 50287"/>
                <a:gd name="connsiteY9" fmla="*/ 22330 h 51219"/>
                <a:gd name="connsiteX10" fmla="*/ 41866 w 50287"/>
                <a:gd name="connsiteY10" fmla="*/ 9286 h 51219"/>
                <a:gd name="connsiteX11" fmla="*/ 50224 w 50287"/>
                <a:gd name="connsiteY11" fmla="*/ 1230 h 51219"/>
                <a:gd name="connsiteX12" fmla="*/ 48304 w 50287"/>
                <a:gd name="connsiteY12" fmla="*/ 725 h 51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287" h="51219">
                  <a:moveTo>
                    <a:pt x="48304" y="725"/>
                  </a:moveTo>
                  <a:cubicBezTo>
                    <a:pt x="47023" y="5005"/>
                    <a:pt x="40788" y="7264"/>
                    <a:pt x="37585" y="9960"/>
                  </a:cubicBezTo>
                  <a:cubicBezTo>
                    <a:pt x="32597" y="14106"/>
                    <a:pt x="28316" y="19060"/>
                    <a:pt x="23800" y="23712"/>
                  </a:cubicBezTo>
                  <a:cubicBezTo>
                    <a:pt x="15913" y="31835"/>
                    <a:pt x="5903" y="39283"/>
                    <a:pt x="139" y="49192"/>
                  </a:cubicBezTo>
                  <a:cubicBezTo>
                    <a:pt x="-198" y="49766"/>
                    <a:pt x="106" y="50541"/>
                    <a:pt x="746" y="50709"/>
                  </a:cubicBezTo>
                  <a:cubicBezTo>
                    <a:pt x="1352" y="50878"/>
                    <a:pt x="1960" y="51013"/>
                    <a:pt x="2532" y="51181"/>
                  </a:cubicBezTo>
                  <a:cubicBezTo>
                    <a:pt x="3813" y="51518"/>
                    <a:pt x="4352" y="49530"/>
                    <a:pt x="3071" y="49192"/>
                  </a:cubicBezTo>
                  <a:cubicBezTo>
                    <a:pt x="2903" y="49159"/>
                    <a:pt x="2768" y="49125"/>
                    <a:pt x="2600" y="49058"/>
                  </a:cubicBezTo>
                  <a:cubicBezTo>
                    <a:pt x="5599" y="44339"/>
                    <a:pt x="9712" y="40463"/>
                    <a:pt x="13689" y="36587"/>
                  </a:cubicBezTo>
                  <a:cubicBezTo>
                    <a:pt x="18475" y="31902"/>
                    <a:pt x="23294" y="27217"/>
                    <a:pt x="27878" y="22330"/>
                  </a:cubicBezTo>
                  <a:cubicBezTo>
                    <a:pt x="32193" y="17712"/>
                    <a:pt x="36642" y="12892"/>
                    <a:pt x="41866" y="9286"/>
                  </a:cubicBezTo>
                  <a:cubicBezTo>
                    <a:pt x="44900" y="7196"/>
                    <a:pt x="49113" y="5005"/>
                    <a:pt x="50224" y="1230"/>
                  </a:cubicBezTo>
                  <a:cubicBezTo>
                    <a:pt x="50663" y="17"/>
                    <a:pt x="48674" y="-556"/>
                    <a:pt x="48304" y="725"/>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sp>
          <p:nvSpPr>
            <p:cNvPr id="231" name="Freeform: Shape 230">
              <a:extLst>
                <a:ext uri="{FF2B5EF4-FFF2-40B4-BE49-F238E27FC236}">
                  <a16:creationId xmlns:a16="http://schemas.microsoft.com/office/drawing/2014/main" id="{E1875535-0279-46AF-8189-301C1BC707EE}"/>
                </a:ext>
              </a:extLst>
            </p:cNvPr>
            <p:cNvSpPr/>
            <p:nvPr/>
          </p:nvSpPr>
          <p:spPr>
            <a:xfrm>
              <a:off x="11295408" y="4648769"/>
              <a:ext cx="7504" cy="34783"/>
            </a:xfrm>
            <a:custGeom>
              <a:avLst/>
              <a:gdLst>
                <a:gd name="connsiteX0" fmla="*/ 6775 w 7504"/>
                <a:gd name="connsiteY0" fmla="*/ 32804 h 34783"/>
                <a:gd name="connsiteX1" fmla="*/ 4281 w 7504"/>
                <a:gd name="connsiteY1" fmla="*/ 25287 h 34783"/>
                <a:gd name="connsiteX2" fmla="*/ 3640 w 7504"/>
                <a:gd name="connsiteY2" fmla="*/ 18176 h 34783"/>
                <a:gd name="connsiteX3" fmla="*/ 2056 w 7504"/>
                <a:gd name="connsiteY3" fmla="*/ 986 h 34783"/>
                <a:gd name="connsiteX4" fmla="*/ 0 w 7504"/>
                <a:gd name="connsiteY4" fmla="*/ 986 h 34783"/>
                <a:gd name="connsiteX5" fmla="*/ 1280 w 7504"/>
                <a:gd name="connsiteY5" fmla="*/ 17097 h 34783"/>
                <a:gd name="connsiteX6" fmla="*/ 3236 w 7504"/>
                <a:gd name="connsiteY6" fmla="*/ 33579 h 34783"/>
                <a:gd name="connsiteX7" fmla="*/ 3943 w 7504"/>
                <a:gd name="connsiteY7" fmla="*/ 34286 h 34783"/>
                <a:gd name="connsiteX8" fmla="*/ 6202 w 7504"/>
                <a:gd name="connsiteY8" fmla="*/ 34758 h 34783"/>
                <a:gd name="connsiteX9" fmla="*/ 6775 w 7504"/>
                <a:gd name="connsiteY9" fmla="*/ 32804 h 34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04" h="34783">
                  <a:moveTo>
                    <a:pt x="6775" y="32804"/>
                  </a:moveTo>
                  <a:cubicBezTo>
                    <a:pt x="3674" y="32163"/>
                    <a:pt x="4382" y="27916"/>
                    <a:pt x="4281" y="25287"/>
                  </a:cubicBezTo>
                  <a:cubicBezTo>
                    <a:pt x="4179" y="22894"/>
                    <a:pt x="4112" y="20535"/>
                    <a:pt x="3640" y="18176"/>
                  </a:cubicBezTo>
                  <a:cubicBezTo>
                    <a:pt x="2528" y="12378"/>
                    <a:pt x="2056" y="6884"/>
                    <a:pt x="2056" y="986"/>
                  </a:cubicBezTo>
                  <a:cubicBezTo>
                    <a:pt x="2056" y="-329"/>
                    <a:pt x="0" y="-329"/>
                    <a:pt x="0" y="986"/>
                  </a:cubicBezTo>
                  <a:cubicBezTo>
                    <a:pt x="0" y="6412"/>
                    <a:pt x="67" y="11805"/>
                    <a:pt x="1280" y="17097"/>
                  </a:cubicBezTo>
                  <a:cubicBezTo>
                    <a:pt x="2528" y="22523"/>
                    <a:pt x="1854" y="28186"/>
                    <a:pt x="3236" y="33579"/>
                  </a:cubicBezTo>
                  <a:cubicBezTo>
                    <a:pt x="3303" y="33916"/>
                    <a:pt x="3607" y="34219"/>
                    <a:pt x="3943" y="34286"/>
                  </a:cubicBezTo>
                  <a:cubicBezTo>
                    <a:pt x="4685" y="34455"/>
                    <a:pt x="5460" y="34590"/>
                    <a:pt x="6202" y="34758"/>
                  </a:cubicBezTo>
                  <a:cubicBezTo>
                    <a:pt x="7516" y="35028"/>
                    <a:pt x="8055" y="33073"/>
                    <a:pt x="6775" y="32804"/>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sp>
          <p:nvSpPr>
            <p:cNvPr id="232" name="Freeform: Shape 231">
              <a:extLst>
                <a:ext uri="{FF2B5EF4-FFF2-40B4-BE49-F238E27FC236}">
                  <a16:creationId xmlns:a16="http://schemas.microsoft.com/office/drawing/2014/main" id="{CD45B836-7D21-4421-AF9B-D07948B11CE9}"/>
                </a:ext>
              </a:extLst>
            </p:cNvPr>
            <p:cNvSpPr/>
            <p:nvPr/>
          </p:nvSpPr>
          <p:spPr>
            <a:xfrm>
              <a:off x="11451314" y="4836252"/>
              <a:ext cx="20629" cy="34197"/>
            </a:xfrm>
            <a:custGeom>
              <a:avLst/>
              <a:gdLst>
                <a:gd name="connsiteX0" fmla="*/ 20134 w 20629"/>
                <a:gd name="connsiteY0" fmla="*/ 2587 h 34197"/>
                <a:gd name="connsiteX1" fmla="*/ 11607 w 20629"/>
                <a:gd name="connsiteY1" fmla="*/ 1610 h 34197"/>
                <a:gd name="connsiteX2" fmla="*/ 8809 w 20629"/>
                <a:gd name="connsiteY2" fmla="*/ 4037 h 34197"/>
                <a:gd name="connsiteX3" fmla="*/ 8608 w 20629"/>
                <a:gd name="connsiteY3" fmla="*/ 4273 h 34197"/>
                <a:gd name="connsiteX4" fmla="*/ 1799 w 20629"/>
                <a:gd name="connsiteY4" fmla="*/ 17855 h 34197"/>
                <a:gd name="connsiteX5" fmla="*/ 148 w 20629"/>
                <a:gd name="connsiteY5" fmla="*/ 28574 h 34197"/>
                <a:gd name="connsiteX6" fmla="*/ 3586 w 20629"/>
                <a:gd name="connsiteY6" fmla="*/ 33764 h 34197"/>
                <a:gd name="connsiteX7" fmla="*/ 4866 w 20629"/>
                <a:gd name="connsiteY7" fmla="*/ 34169 h 34197"/>
                <a:gd name="connsiteX8" fmla="*/ 12247 w 20629"/>
                <a:gd name="connsiteY8" fmla="*/ 28169 h 34197"/>
                <a:gd name="connsiteX9" fmla="*/ 14169 w 20629"/>
                <a:gd name="connsiteY9" fmla="*/ 23855 h 34197"/>
                <a:gd name="connsiteX10" fmla="*/ 16696 w 20629"/>
                <a:gd name="connsiteY10" fmla="*/ 20923 h 34197"/>
                <a:gd name="connsiteX11" fmla="*/ 20134 w 20629"/>
                <a:gd name="connsiteY11" fmla="*/ 10777 h 34197"/>
                <a:gd name="connsiteX12" fmla="*/ 20134 w 20629"/>
                <a:gd name="connsiteY12" fmla="*/ 2587 h 34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629" h="34197">
                  <a:moveTo>
                    <a:pt x="20134" y="2587"/>
                  </a:moveTo>
                  <a:cubicBezTo>
                    <a:pt x="18314" y="-1120"/>
                    <a:pt x="14540" y="-278"/>
                    <a:pt x="11607" y="1610"/>
                  </a:cubicBezTo>
                  <a:cubicBezTo>
                    <a:pt x="10462" y="2082"/>
                    <a:pt x="9484" y="2958"/>
                    <a:pt x="8809" y="4037"/>
                  </a:cubicBezTo>
                  <a:cubicBezTo>
                    <a:pt x="8743" y="4104"/>
                    <a:pt x="8675" y="4171"/>
                    <a:pt x="8608" y="4273"/>
                  </a:cubicBezTo>
                  <a:cubicBezTo>
                    <a:pt x="5472" y="8148"/>
                    <a:pt x="3282" y="13103"/>
                    <a:pt x="1799" y="17855"/>
                  </a:cubicBezTo>
                  <a:cubicBezTo>
                    <a:pt x="788" y="21024"/>
                    <a:pt x="-426" y="25068"/>
                    <a:pt x="148" y="28574"/>
                  </a:cubicBezTo>
                  <a:cubicBezTo>
                    <a:pt x="249" y="30765"/>
                    <a:pt x="1125" y="32719"/>
                    <a:pt x="3586" y="33764"/>
                  </a:cubicBezTo>
                  <a:cubicBezTo>
                    <a:pt x="3990" y="33966"/>
                    <a:pt x="4428" y="34101"/>
                    <a:pt x="4866" y="34169"/>
                  </a:cubicBezTo>
                  <a:cubicBezTo>
                    <a:pt x="8068" y="34573"/>
                    <a:pt x="10899" y="30596"/>
                    <a:pt x="12247" y="28169"/>
                  </a:cubicBezTo>
                  <a:cubicBezTo>
                    <a:pt x="13022" y="26787"/>
                    <a:pt x="13630" y="25338"/>
                    <a:pt x="14169" y="23855"/>
                  </a:cubicBezTo>
                  <a:cubicBezTo>
                    <a:pt x="14977" y="22844"/>
                    <a:pt x="15888" y="21934"/>
                    <a:pt x="16696" y="20923"/>
                  </a:cubicBezTo>
                  <a:cubicBezTo>
                    <a:pt x="19191" y="17822"/>
                    <a:pt x="20269" y="14822"/>
                    <a:pt x="20134" y="10777"/>
                  </a:cubicBezTo>
                  <a:cubicBezTo>
                    <a:pt x="20067" y="8283"/>
                    <a:pt x="21281" y="4913"/>
                    <a:pt x="20134" y="2587"/>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sp>
          <p:nvSpPr>
            <p:cNvPr id="233" name="Freeform: Shape 232">
              <a:extLst>
                <a:ext uri="{FF2B5EF4-FFF2-40B4-BE49-F238E27FC236}">
                  <a16:creationId xmlns:a16="http://schemas.microsoft.com/office/drawing/2014/main" id="{1B06D04B-F208-4831-8756-29F134B8E667}"/>
                </a:ext>
              </a:extLst>
            </p:cNvPr>
            <p:cNvSpPr/>
            <p:nvPr/>
          </p:nvSpPr>
          <p:spPr>
            <a:xfrm>
              <a:off x="11410475" y="4686962"/>
              <a:ext cx="24572" cy="25235"/>
            </a:xfrm>
            <a:custGeom>
              <a:avLst/>
              <a:gdLst>
                <a:gd name="connsiteX0" fmla="*/ 21674 w 24572"/>
                <a:gd name="connsiteY0" fmla="*/ 13451 h 25235"/>
                <a:gd name="connsiteX1" fmla="*/ 10787 w 24572"/>
                <a:gd name="connsiteY1" fmla="*/ 1756 h 25235"/>
                <a:gd name="connsiteX2" fmla="*/ 7787 w 24572"/>
                <a:gd name="connsiteY2" fmla="*/ 947 h 25235"/>
                <a:gd name="connsiteX3" fmla="*/ 6034 w 24572"/>
                <a:gd name="connsiteY3" fmla="*/ 172 h 25235"/>
                <a:gd name="connsiteX4" fmla="*/ 1821 w 24572"/>
                <a:gd name="connsiteY4" fmla="*/ 2565 h 25235"/>
                <a:gd name="connsiteX5" fmla="*/ 1686 w 24572"/>
                <a:gd name="connsiteY5" fmla="*/ 3542 h 25235"/>
                <a:gd name="connsiteX6" fmla="*/ 473 w 24572"/>
                <a:gd name="connsiteY6" fmla="*/ 5261 h 25235"/>
                <a:gd name="connsiteX7" fmla="*/ 5225 w 24572"/>
                <a:gd name="connsiteY7" fmla="*/ 17429 h 25235"/>
                <a:gd name="connsiteX8" fmla="*/ 15168 w 24572"/>
                <a:gd name="connsiteY8" fmla="*/ 23866 h 25235"/>
                <a:gd name="connsiteX9" fmla="*/ 17056 w 24572"/>
                <a:gd name="connsiteY9" fmla="*/ 24810 h 25235"/>
                <a:gd name="connsiteX10" fmla="*/ 24572 w 24572"/>
                <a:gd name="connsiteY10" fmla="*/ 19788 h 25235"/>
                <a:gd name="connsiteX11" fmla="*/ 21674 w 24572"/>
                <a:gd name="connsiteY11" fmla="*/ 13451 h 25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572" h="25235">
                  <a:moveTo>
                    <a:pt x="21674" y="13451"/>
                  </a:moveTo>
                  <a:cubicBezTo>
                    <a:pt x="20190" y="8564"/>
                    <a:pt x="14326" y="3542"/>
                    <a:pt x="10787" y="1756"/>
                  </a:cubicBezTo>
                  <a:cubicBezTo>
                    <a:pt x="9843" y="1284"/>
                    <a:pt x="8798" y="1015"/>
                    <a:pt x="7787" y="947"/>
                  </a:cubicBezTo>
                  <a:cubicBezTo>
                    <a:pt x="7214" y="677"/>
                    <a:pt x="6642" y="441"/>
                    <a:pt x="6034" y="172"/>
                  </a:cubicBezTo>
                  <a:cubicBezTo>
                    <a:pt x="4417" y="-502"/>
                    <a:pt x="2125" y="913"/>
                    <a:pt x="1821" y="2565"/>
                  </a:cubicBezTo>
                  <a:cubicBezTo>
                    <a:pt x="1754" y="2902"/>
                    <a:pt x="1720" y="3205"/>
                    <a:pt x="1686" y="3542"/>
                  </a:cubicBezTo>
                  <a:cubicBezTo>
                    <a:pt x="1147" y="4014"/>
                    <a:pt x="743" y="4621"/>
                    <a:pt x="473" y="5261"/>
                  </a:cubicBezTo>
                  <a:cubicBezTo>
                    <a:pt x="-1313" y="9677"/>
                    <a:pt x="2327" y="14463"/>
                    <a:pt x="5225" y="17429"/>
                  </a:cubicBezTo>
                  <a:cubicBezTo>
                    <a:pt x="7787" y="20058"/>
                    <a:pt x="11360" y="23024"/>
                    <a:pt x="15168" y="23866"/>
                  </a:cubicBezTo>
                  <a:cubicBezTo>
                    <a:pt x="15776" y="24237"/>
                    <a:pt x="16416" y="24574"/>
                    <a:pt x="17056" y="24810"/>
                  </a:cubicBezTo>
                  <a:cubicBezTo>
                    <a:pt x="20831" y="26226"/>
                    <a:pt x="24572" y="24001"/>
                    <a:pt x="24572" y="19788"/>
                  </a:cubicBezTo>
                  <a:cubicBezTo>
                    <a:pt x="24538" y="17091"/>
                    <a:pt x="23258" y="15204"/>
                    <a:pt x="21674" y="13451"/>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sp>
          <p:nvSpPr>
            <p:cNvPr id="234" name="Freeform: Shape 233">
              <a:extLst>
                <a:ext uri="{FF2B5EF4-FFF2-40B4-BE49-F238E27FC236}">
                  <a16:creationId xmlns:a16="http://schemas.microsoft.com/office/drawing/2014/main" id="{2B15472A-E467-4E63-863C-2B23363323AC}"/>
                </a:ext>
              </a:extLst>
            </p:cNvPr>
            <p:cNvSpPr/>
            <p:nvPr/>
          </p:nvSpPr>
          <p:spPr>
            <a:xfrm>
              <a:off x="11282793" y="4637380"/>
              <a:ext cx="29096" cy="12150"/>
            </a:xfrm>
            <a:custGeom>
              <a:avLst/>
              <a:gdLst>
                <a:gd name="connsiteX0" fmla="*/ 27277 w 29096"/>
                <a:gd name="connsiteY0" fmla="*/ 4353 h 12150"/>
                <a:gd name="connsiteX1" fmla="*/ 22255 w 29096"/>
                <a:gd name="connsiteY1" fmla="*/ 2533 h 12150"/>
                <a:gd name="connsiteX2" fmla="*/ 16154 w 29096"/>
                <a:gd name="connsiteY2" fmla="*/ 207 h 12150"/>
                <a:gd name="connsiteX3" fmla="*/ 15075 w 29096"/>
                <a:gd name="connsiteY3" fmla="*/ 5 h 12150"/>
                <a:gd name="connsiteX4" fmla="*/ 886 w 29096"/>
                <a:gd name="connsiteY4" fmla="*/ 9510 h 12150"/>
                <a:gd name="connsiteX5" fmla="*/ 29096 w 29096"/>
                <a:gd name="connsiteY5" fmla="*/ 7184 h 12150"/>
                <a:gd name="connsiteX6" fmla="*/ 27277 w 29096"/>
                <a:gd name="connsiteY6" fmla="*/ 4353 h 12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096" h="12150">
                  <a:moveTo>
                    <a:pt x="27277" y="4353"/>
                  </a:moveTo>
                  <a:cubicBezTo>
                    <a:pt x="26029" y="3241"/>
                    <a:pt x="24310" y="2701"/>
                    <a:pt x="22255" y="2533"/>
                  </a:cubicBezTo>
                  <a:cubicBezTo>
                    <a:pt x="20670" y="1117"/>
                    <a:pt x="18378" y="477"/>
                    <a:pt x="16154" y="207"/>
                  </a:cubicBezTo>
                  <a:cubicBezTo>
                    <a:pt x="15817" y="106"/>
                    <a:pt x="15446" y="5"/>
                    <a:pt x="15075" y="5"/>
                  </a:cubicBezTo>
                  <a:cubicBezTo>
                    <a:pt x="11233" y="-130"/>
                    <a:pt x="-3766" y="2331"/>
                    <a:pt x="886" y="9510"/>
                  </a:cubicBezTo>
                  <a:cubicBezTo>
                    <a:pt x="4728" y="15374"/>
                    <a:pt x="25457" y="10049"/>
                    <a:pt x="29096" y="7184"/>
                  </a:cubicBezTo>
                  <a:cubicBezTo>
                    <a:pt x="28692" y="6004"/>
                    <a:pt x="28086" y="5061"/>
                    <a:pt x="27277" y="4353"/>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sp>
          <p:nvSpPr>
            <p:cNvPr id="235" name="Freeform: Shape 234">
              <a:extLst>
                <a:ext uri="{FF2B5EF4-FFF2-40B4-BE49-F238E27FC236}">
                  <a16:creationId xmlns:a16="http://schemas.microsoft.com/office/drawing/2014/main" id="{C373D9D1-E412-4C3C-9EE4-D67C3D6A6771}"/>
                </a:ext>
              </a:extLst>
            </p:cNvPr>
            <p:cNvSpPr/>
            <p:nvPr/>
          </p:nvSpPr>
          <p:spPr>
            <a:xfrm>
              <a:off x="11361111" y="4883842"/>
              <a:ext cx="24489" cy="27383"/>
            </a:xfrm>
            <a:custGeom>
              <a:avLst/>
              <a:gdLst>
                <a:gd name="connsiteX0" fmla="*/ 1268 w 24489"/>
                <a:gd name="connsiteY0" fmla="*/ 2858 h 27383"/>
                <a:gd name="connsiteX1" fmla="*/ 7470 w 24489"/>
                <a:gd name="connsiteY1" fmla="*/ 7779 h 27383"/>
                <a:gd name="connsiteX2" fmla="*/ 11885 w 24489"/>
                <a:gd name="connsiteY2" fmla="*/ 13374 h 27383"/>
                <a:gd name="connsiteX3" fmla="*/ 22603 w 24489"/>
                <a:gd name="connsiteY3" fmla="*/ 26923 h 27383"/>
                <a:gd name="connsiteX4" fmla="*/ 24322 w 24489"/>
                <a:gd name="connsiteY4" fmla="*/ 25811 h 27383"/>
                <a:gd name="connsiteX5" fmla="*/ 14447 w 24489"/>
                <a:gd name="connsiteY5" fmla="*/ 13003 h 27383"/>
                <a:gd name="connsiteX6" fmla="*/ 3795 w 24489"/>
                <a:gd name="connsiteY6" fmla="*/ 262 h 27383"/>
                <a:gd name="connsiteX7" fmla="*/ 2819 w 24489"/>
                <a:gd name="connsiteY7" fmla="*/ 60 h 27383"/>
                <a:gd name="connsiteX8" fmla="*/ 661 w 24489"/>
                <a:gd name="connsiteY8" fmla="*/ 903 h 27383"/>
                <a:gd name="connsiteX9" fmla="*/ 1268 w 24489"/>
                <a:gd name="connsiteY9" fmla="*/ 2858 h 27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489" h="27383">
                  <a:moveTo>
                    <a:pt x="1268" y="2858"/>
                  </a:moveTo>
                  <a:cubicBezTo>
                    <a:pt x="4234" y="1712"/>
                    <a:pt x="5919" y="5655"/>
                    <a:pt x="7470" y="7779"/>
                  </a:cubicBezTo>
                  <a:cubicBezTo>
                    <a:pt x="8851" y="9700"/>
                    <a:pt x="10234" y="11655"/>
                    <a:pt x="11885" y="13374"/>
                  </a:cubicBezTo>
                  <a:cubicBezTo>
                    <a:pt x="15997" y="17621"/>
                    <a:pt x="19368" y="21969"/>
                    <a:pt x="22603" y="26923"/>
                  </a:cubicBezTo>
                  <a:cubicBezTo>
                    <a:pt x="23311" y="28035"/>
                    <a:pt x="25030" y="26923"/>
                    <a:pt x="24322" y="25811"/>
                  </a:cubicBezTo>
                  <a:cubicBezTo>
                    <a:pt x="21356" y="21261"/>
                    <a:pt x="18390" y="16778"/>
                    <a:pt x="14447" y="13003"/>
                  </a:cubicBezTo>
                  <a:cubicBezTo>
                    <a:pt x="10436" y="9127"/>
                    <a:pt x="7908" y="4037"/>
                    <a:pt x="3795" y="262"/>
                  </a:cubicBezTo>
                  <a:cubicBezTo>
                    <a:pt x="3560" y="27"/>
                    <a:pt x="3122" y="-74"/>
                    <a:pt x="2819" y="60"/>
                  </a:cubicBezTo>
                  <a:cubicBezTo>
                    <a:pt x="2110" y="330"/>
                    <a:pt x="1369" y="633"/>
                    <a:pt x="661" y="903"/>
                  </a:cubicBezTo>
                  <a:cubicBezTo>
                    <a:pt x="-552" y="1375"/>
                    <a:pt x="55" y="3330"/>
                    <a:pt x="1268" y="2858"/>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sp>
          <p:nvSpPr>
            <p:cNvPr id="236" name="Freeform: Shape 235">
              <a:extLst>
                <a:ext uri="{FF2B5EF4-FFF2-40B4-BE49-F238E27FC236}">
                  <a16:creationId xmlns:a16="http://schemas.microsoft.com/office/drawing/2014/main" id="{2D5D693E-CEDC-410D-8A1D-B3DC0F4F6240}"/>
                </a:ext>
              </a:extLst>
            </p:cNvPr>
            <p:cNvSpPr/>
            <p:nvPr/>
          </p:nvSpPr>
          <p:spPr>
            <a:xfrm>
              <a:off x="11375010" y="4905012"/>
              <a:ext cx="26199" cy="24272"/>
            </a:xfrm>
            <a:custGeom>
              <a:avLst/>
              <a:gdLst>
                <a:gd name="connsiteX0" fmla="*/ 6177 w 26199"/>
                <a:gd name="connsiteY0" fmla="*/ 24258 h 24272"/>
                <a:gd name="connsiteX1" fmla="*/ 21816 w 26199"/>
                <a:gd name="connsiteY1" fmla="*/ 630 h 24272"/>
                <a:gd name="connsiteX2" fmla="*/ 9 w 26199"/>
                <a:gd name="connsiteY2" fmla="*/ 18359 h 24272"/>
                <a:gd name="connsiteX3" fmla="*/ 6177 w 26199"/>
                <a:gd name="connsiteY3" fmla="*/ 24258 h 24272"/>
              </a:gdLst>
              <a:ahLst/>
              <a:cxnLst>
                <a:cxn ang="0">
                  <a:pos x="connsiteX0" y="connsiteY0"/>
                </a:cxn>
                <a:cxn ang="0">
                  <a:pos x="connsiteX1" y="connsiteY1"/>
                </a:cxn>
                <a:cxn ang="0">
                  <a:pos x="connsiteX2" y="connsiteY2"/>
                </a:cxn>
                <a:cxn ang="0">
                  <a:pos x="connsiteX3" y="connsiteY3"/>
                </a:cxn>
              </a:cxnLst>
              <a:rect l="l" t="t" r="r" b="b"/>
              <a:pathLst>
                <a:path w="26199" h="24272">
                  <a:moveTo>
                    <a:pt x="6177" y="24258"/>
                  </a:moveTo>
                  <a:cubicBezTo>
                    <a:pt x="14333" y="22674"/>
                    <a:pt x="35231" y="6562"/>
                    <a:pt x="21816" y="630"/>
                  </a:cubicBezTo>
                  <a:cubicBezTo>
                    <a:pt x="12918" y="-3279"/>
                    <a:pt x="2739" y="12023"/>
                    <a:pt x="9" y="18359"/>
                  </a:cubicBezTo>
                  <a:cubicBezTo>
                    <a:pt x="-227" y="18932"/>
                    <a:pt x="4458" y="24595"/>
                    <a:pt x="6177" y="24258"/>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sp>
          <p:nvSpPr>
            <p:cNvPr id="237" name="Freeform: Shape 236">
              <a:extLst>
                <a:ext uri="{FF2B5EF4-FFF2-40B4-BE49-F238E27FC236}">
                  <a16:creationId xmlns:a16="http://schemas.microsoft.com/office/drawing/2014/main" id="{8EEE09A3-99A8-423B-96D2-A44EEF693E70}"/>
                </a:ext>
              </a:extLst>
            </p:cNvPr>
            <p:cNvSpPr/>
            <p:nvPr/>
          </p:nvSpPr>
          <p:spPr>
            <a:xfrm>
              <a:off x="11167080" y="4650636"/>
              <a:ext cx="40997" cy="30432"/>
            </a:xfrm>
            <a:custGeom>
              <a:avLst/>
              <a:gdLst>
                <a:gd name="connsiteX0" fmla="*/ 39617 w 40997"/>
                <a:gd name="connsiteY0" fmla="*/ 9399 h 30432"/>
                <a:gd name="connsiteX1" fmla="*/ 40392 w 40997"/>
                <a:gd name="connsiteY1" fmla="*/ 4478 h 30432"/>
                <a:gd name="connsiteX2" fmla="*/ 1126 w 40997"/>
                <a:gd name="connsiteY2" fmla="*/ 19982 h 30432"/>
                <a:gd name="connsiteX3" fmla="*/ 587 w 40997"/>
                <a:gd name="connsiteY3" fmla="*/ 26521 h 30432"/>
                <a:gd name="connsiteX4" fmla="*/ 4463 w 40997"/>
                <a:gd name="connsiteY4" fmla="*/ 29015 h 30432"/>
                <a:gd name="connsiteX5" fmla="*/ 7732 w 40997"/>
                <a:gd name="connsiteY5" fmla="*/ 30431 h 30432"/>
                <a:gd name="connsiteX6" fmla="*/ 37224 w 40997"/>
                <a:gd name="connsiteY6" fmla="*/ 15028 h 30432"/>
                <a:gd name="connsiteX7" fmla="*/ 39617 w 40997"/>
                <a:gd name="connsiteY7" fmla="*/ 9399 h 30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997" h="30432">
                  <a:moveTo>
                    <a:pt x="39617" y="9399"/>
                  </a:moveTo>
                  <a:cubicBezTo>
                    <a:pt x="40932" y="7949"/>
                    <a:pt x="41538" y="6332"/>
                    <a:pt x="40392" y="4478"/>
                  </a:cubicBezTo>
                  <a:cubicBezTo>
                    <a:pt x="31798" y="-9038"/>
                    <a:pt x="6317" y="11556"/>
                    <a:pt x="1126" y="19982"/>
                  </a:cubicBezTo>
                  <a:cubicBezTo>
                    <a:pt x="-54" y="21870"/>
                    <a:pt x="-424" y="24027"/>
                    <a:pt x="587" y="26521"/>
                  </a:cubicBezTo>
                  <a:cubicBezTo>
                    <a:pt x="1160" y="27970"/>
                    <a:pt x="2609" y="28981"/>
                    <a:pt x="4463" y="29015"/>
                  </a:cubicBezTo>
                  <a:cubicBezTo>
                    <a:pt x="5204" y="29891"/>
                    <a:pt x="6418" y="30464"/>
                    <a:pt x="7732" y="30431"/>
                  </a:cubicBezTo>
                  <a:cubicBezTo>
                    <a:pt x="17473" y="30026"/>
                    <a:pt x="30550" y="22173"/>
                    <a:pt x="37224" y="15028"/>
                  </a:cubicBezTo>
                  <a:cubicBezTo>
                    <a:pt x="38842" y="13241"/>
                    <a:pt x="39988" y="11286"/>
                    <a:pt x="39617" y="9399"/>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sp>
          <p:nvSpPr>
            <p:cNvPr id="238" name="Freeform: Shape 237">
              <a:extLst>
                <a:ext uri="{FF2B5EF4-FFF2-40B4-BE49-F238E27FC236}">
                  <a16:creationId xmlns:a16="http://schemas.microsoft.com/office/drawing/2014/main" id="{D4DDE5D2-E172-467B-879B-2BB4E17BB049}"/>
                </a:ext>
              </a:extLst>
            </p:cNvPr>
            <p:cNvSpPr/>
            <p:nvPr/>
          </p:nvSpPr>
          <p:spPr>
            <a:xfrm>
              <a:off x="11126462" y="4769820"/>
              <a:ext cx="19464" cy="36923"/>
            </a:xfrm>
            <a:custGeom>
              <a:avLst/>
              <a:gdLst>
                <a:gd name="connsiteX0" fmla="*/ 18520 w 19464"/>
                <a:gd name="connsiteY0" fmla="*/ 8688 h 36923"/>
                <a:gd name="connsiteX1" fmla="*/ 11173 w 19464"/>
                <a:gd name="connsiteY1" fmla="*/ 59 h 36923"/>
                <a:gd name="connsiteX2" fmla="*/ 9219 w 19464"/>
                <a:gd name="connsiteY2" fmla="*/ 126 h 36923"/>
                <a:gd name="connsiteX3" fmla="*/ 3152 w 19464"/>
                <a:gd name="connsiteY3" fmla="*/ 3362 h 36923"/>
                <a:gd name="connsiteX4" fmla="*/ 1500 w 19464"/>
                <a:gd name="connsiteY4" fmla="*/ 8654 h 36923"/>
                <a:gd name="connsiteX5" fmla="*/ 1062 w 19464"/>
                <a:gd name="connsiteY5" fmla="*/ 12698 h 36923"/>
                <a:gd name="connsiteX6" fmla="*/ 960 w 19464"/>
                <a:gd name="connsiteY6" fmla="*/ 13541 h 36923"/>
                <a:gd name="connsiteX7" fmla="*/ 50 w 19464"/>
                <a:gd name="connsiteY7" fmla="*/ 24866 h 36923"/>
                <a:gd name="connsiteX8" fmla="*/ 4028 w 19464"/>
                <a:gd name="connsiteY8" fmla="*/ 34741 h 36923"/>
                <a:gd name="connsiteX9" fmla="*/ 14982 w 19464"/>
                <a:gd name="connsiteY9" fmla="*/ 35011 h 36923"/>
                <a:gd name="connsiteX10" fmla="*/ 18790 w 19464"/>
                <a:gd name="connsiteY10" fmla="*/ 24124 h 36923"/>
                <a:gd name="connsiteX11" fmla="*/ 18520 w 19464"/>
                <a:gd name="connsiteY11" fmla="*/ 8688 h 36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464" h="36923">
                  <a:moveTo>
                    <a:pt x="18520" y="8688"/>
                  </a:moveTo>
                  <a:cubicBezTo>
                    <a:pt x="17544" y="5115"/>
                    <a:pt x="15251" y="666"/>
                    <a:pt x="11173" y="59"/>
                  </a:cubicBezTo>
                  <a:cubicBezTo>
                    <a:pt x="10499" y="-42"/>
                    <a:pt x="9859" y="-9"/>
                    <a:pt x="9219" y="126"/>
                  </a:cubicBezTo>
                  <a:cubicBezTo>
                    <a:pt x="6825" y="93"/>
                    <a:pt x="4466" y="1205"/>
                    <a:pt x="3152" y="3362"/>
                  </a:cubicBezTo>
                  <a:cubicBezTo>
                    <a:pt x="2174" y="4980"/>
                    <a:pt x="1735" y="6800"/>
                    <a:pt x="1500" y="8654"/>
                  </a:cubicBezTo>
                  <a:cubicBezTo>
                    <a:pt x="1129" y="9968"/>
                    <a:pt x="1062" y="11316"/>
                    <a:pt x="1062" y="12698"/>
                  </a:cubicBezTo>
                  <a:cubicBezTo>
                    <a:pt x="1028" y="12968"/>
                    <a:pt x="994" y="13271"/>
                    <a:pt x="960" y="13541"/>
                  </a:cubicBezTo>
                  <a:cubicBezTo>
                    <a:pt x="455" y="17282"/>
                    <a:pt x="-185" y="21057"/>
                    <a:pt x="50" y="24866"/>
                  </a:cubicBezTo>
                  <a:cubicBezTo>
                    <a:pt x="286" y="28506"/>
                    <a:pt x="1163" y="32281"/>
                    <a:pt x="4028" y="34741"/>
                  </a:cubicBezTo>
                  <a:cubicBezTo>
                    <a:pt x="7027" y="37303"/>
                    <a:pt x="12016" y="37876"/>
                    <a:pt x="14982" y="35011"/>
                  </a:cubicBezTo>
                  <a:cubicBezTo>
                    <a:pt x="17880" y="32213"/>
                    <a:pt x="18251" y="27865"/>
                    <a:pt x="18790" y="24124"/>
                  </a:cubicBezTo>
                  <a:cubicBezTo>
                    <a:pt x="19599" y="19237"/>
                    <a:pt x="19869" y="13473"/>
                    <a:pt x="18520" y="8688"/>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sp>
          <p:nvSpPr>
            <p:cNvPr id="239" name="Freeform: Shape 238">
              <a:extLst>
                <a:ext uri="{FF2B5EF4-FFF2-40B4-BE49-F238E27FC236}">
                  <a16:creationId xmlns:a16="http://schemas.microsoft.com/office/drawing/2014/main" id="{2CE62667-A07C-4561-B26E-091BC611DE58}"/>
                </a:ext>
              </a:extLst>
            </p:cNvPr>
            <p:cNvSpPr/>
            <p:nvPr/>
          </p:nvSpPr>
          <p:spPr>
            <a:xfrm>
              <a:off x="11143095" y="4886900"/>
              <a:ext cx="31239" cy="32722"/>
            </a:xfrm>
            <a:custGeom>
              <a:avLst/>
              <a:gdLst>
                <a:gd name="connsiteX0" fmla="*/ 31110 w 31239"/>
                <a:gd name="connsiteY0" fmla="*/ 25551 h 32722"/>
                <a:gd name="connsiteX1" fmla="*/ 30975 w 31239"/>
                <a:gd name="connsiteY1" fmla="*/ 24742 h 32722"/>
                <a:gd name="connsiteX2" fmla="*/ 24706 w 31239"/>
                <a:gd name="connsiteY2" fmla="*/ 14024 h 32722"/>
                <a:gd name="connsiteX3" fmla="*/ 11426 w 31239"/>
                <a:gd name="connsiteY3" fmla="*/ 2564 h 32722"/>
                <a:gd name="connsiteX4" fmla="*/ 2090 w 31239"/>
                <a:gd name="connsiteY4" fmla="*/ 1115 h 32722"/>
                <a:gd name="connsiteX5" fmla="*/ 4517 w 31239"/>
                <a:gd name="connsiteY5" fmla="*/ 14294 h 32722"/>
                <a:gd name="connsiteX6" fmla="*/ 18942 w 31239"/>
                <a:gd name="connsiteY6" fmla="*/ 30236 h 32722"/>
                <a:gd name="connsiteX7" fmla="*/ 29256 w 31239"/>
                <a:gd name="connsiteY7" fmla="*/ 31382 h 32722"/>
                <a:gd name="connsiteX8" fmla="*/ 31110 w 31239"/>
                <a:gd name="connsiteY8" fmla="*/ 25551 h 32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239" h="32722">
                  <a:moveTo>
                    <a:pt x="31110" y="25551"/>
                  </a:moveTo>
                  <a:cubicBezTo>
                    <a:pt x="31076" y="25281"/>
                    <a:pt x="31043" y="25012"/>
                    <a:pt x="30975" y="24742"/>
                  </a:cubicBezTo>
                  <a:cubicBezTo>
                    <a:pt x="31379" y="20597"/>
                    <a:pt x="28076" y="16956"/>
                    <a:pt x="24706" y="14024"/>
                  </a:cubicBezTo>
                  <a:cubicBezTo>
                    <a:pt x="21302" y="8901"/>
                    <a:pt x="17325" y="4081"/>
                    <a:pt x="11426" y="2564"/>
                  </a:cubicBezTo>
                  <a:cubicBezTo>
                    <a:pt x="8797" y="576"/>
                    <a:pt x="5090" y="-1245"/>
                    <a:pt x="2090" y="1115"/>
                  </a:cubicBezTo>
                  <a:cubicBezTo>
                    <a:pt x="-2494" y="4721"/>
                    <a:pt x="1450" y="10586"/>
                    <a:pt x="4517" y="14294"/>
                  </a:cubicBezTo>
                  <a:cubicBezTo>
                    <a:pt x="7078" y="21102"/>
                    <a:pt x="13280" y="25989"/>
                    <a:pt x="18942" y="30236"/>
                  </a:cubicBezTo>
                  <a:cubicBezTo>
                    <a:pt x="21875" y="32427"/>
                    <a:pt x="26054" y="33944"/>
                    <a:pt x="29256" y="31382"/>
                  </a:cubicBezTo>
                  <a:cubicBezTo>
                    <a:pt x="31110" y="29899"/>
                    <a:pt x="31480" y="27708"/>
                    <a:pt x="31110" y="25551"/>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sp>
          <p:nvSpPr>
            <p:cNvPr id="240" name="Freeform: Shape 239">
              <a:extLst>
                <a:ext uri="{FF2B5EF4-FFF2-40B4-BE49-F238E27FC236}">
                  <a16:creationId xmlns:a16="http://schemas.microsoft.com/office/drawing/2014/main" id="{891668C5-CD63-4B36-A14E-7E92DEDAC5F7}"/>
                </a:ext>
              </a:extLst>
            </p:cNvPr>
            <p:cNvSpPr/>
            <p:nvPr/>
          </p:nvSpPr>
          <p:spPr>
            <a:xfrm>
              <a:off x="11256250" y="4971786"/>
              <a:ext cx="43526" cy="19963"/>
            </a:xfrm>
            <a:custGeom>
              <a:avLst/>
              <a:gdLst>
                <a:gd name="connsiteX0" fmla="*/ 42191 w 43526"/>
                <a:gd name="connsiteY0" fmla="*/ 6322 h 19963"/>
                <a:gd name="connsiteX1" fmla="*/ 33091 w 43526"/>
                <a:gd name="connsiteY1" fmla="*/ 1502 h 19963"/>
                <a:gd name="connsiteX2" fmla="*/ 22912 w 43526"/>
                <a:gd name="connsiteY2" fmla="*/ 491 h 19963"/>
                <a:gd name="connsiteX3" fmla="*/ 6667 w 43526"/>
                <a:gd name="connsiteY3" fmla="*/ 896 h 19963"/>
                <a:gd name="connsiteX4" fmla="*/ 4881 w 43526"/>
                <a:gd name="connsiteY4" fmla="*/ 2143 h 19963"/>
                <a:gd name="connsiteX5" fmla="*/ 701 w 43526"/>
                <a:gd name="connsiteY5" fmla="*/ 5816 h 19963"/>
                <a:gd name="connsiteX6" fmla="*/ 398 w 43526"/>
                <a:gd name="connsiteY6" fmla="*/ 10434 h 19963"/>
                <a:gd name="connsiteX7" fmla="*/ 769 w 43526"/>
                <a:gd name="connsiteY7" fmla="*/ 11748 h 19963"/>
                <a:gd name="connsiteX8" fmla="*/ 9666 w 43526"/>
                <a:gd name="connsiteY8" fmla="*/ 18287 h 19963"/>
                <a:gd name="connsiteX9" fmla="*/ 23385 w 43526"/>
                <a:gd name="connsiteY9" fmla="*/ 19804 h 19963"/>
                <a:gd name="connsiteX10" fmla="*/ 28979 w 43526"/>
                <a:gd name="connsiteY10" fmla="*/ 18321 h 19963"/>
                <a:gd name="connsiteX11" fmla="*/ 30159 w 43526"/>
                <a:gd name="connsiteY11" fmla="*/ 18287 h 19963"/>
                <a:gd name="connsiteX12" fmla="*/ 38282 w 43526"/>
                <a:gd name="connsiteY12" fmla="*/ 16029 h 19963"/>
                <a:gd name="connsiteX13" fmla="*/ 42191 w 43526"/>
                <a:gd name="connsiteY13" fmla="*/ 6322 h 19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26" h="19963">
                  <a:moveTo>
                    <a:pt x="42191" y="6322"/>
                  </a:moveTo>
                  <a:cubicBezTo>
                    <a:pt x="40136" y="3457"/>
                    <a:pt x="36360" y="2210"/>
                    <a:pt x="33091" y="1502"/>
                  </a:cubicBezTo>
                  <a:cubicBezTo>
                    <a:pt x="29721" y="761"/>
                    <a:pt x="26316" y="559"/>
                    <a:pt x="22912" y="491"/>
                  </a:cubicBezTo>
                  <a:cubicBezTo>
                    <a:pt x="17486" y="356"/>
                    <a:pt x="11958" y="-756"/>
                    <a:pt x="6667" y="896"/>
                  </a:cubicBezTo>
                  <a:cubicBezTo>
                    <a:pt x="5959" y="1131"/>
                    <a:pt x="5318" y="1570"/>
                    <a:pt x="4881" y="2143"/>
                  </a:cubicBezTo>
                  <a:cubicBezTo>
                    <a:pt x="3094" y="2952"/>
                    <a:pt x="1578" y="4131"/>
                    <a:pt x="701" y="5816"/>
                  </a:cubicBezTo>
                  <a:cubicBezTo>
                    <a:pt x="-175" y="7502"/>
                    <a:pt x="-175" y="9052"/>
                    <a:pt x="398" y="10434"/>
                  </a:cubicBezTo>
                  <a:cubicBezTo>
                    <a:pt x="465" y="10872"/>
                    <a:pt x="600" y="11310"/>
                    <a:pt x="769" y="11748"/>
                  </a:cubicBezTo>
                  <a:cubicBezTo>
                    <a:pt x="2252" y="15591"/>
                    <a:pt x="5824" y="17411"/>
                    <a:pt x="9666" y="18287"/>
                  </a:cubicBezTo>
                  <a:cubicBezTo>
                    <a:pt x="14082" y="19298"/>
                    <a:pt x="18868" y="20377"/>
                    <a:pt x="23385" y="19804"/>
                  </a:cubicBezTo>
                  <a:cubicBezTo>
                    <a:pt x="25339" y="19568"/>
                    <a:pt x="27159" y="18928"/>
                    <a:pt x="28979" y="18321"/>
                  </a:cubicBezTo>
                  <a:cubicBezTo>
                    <a:pt x="29384" y="18321"/>
                    <a:pt x="29754" y="18287"/>
                    <a:pt x="30159" y="18287"/>
                  </a:cubicBezTo>
                  <a:cubicBezTo>
                    <a:pt x="32821" y="18220"/>
                    <a:pt x="35889" y="17546"/>
                    <a:pt x="38282" y="16029"/>
                  </a:cubicBezTo>
                  <a:cubicBezTo>
                    <a:pt x="42731" y="14445"/>
                    <a:pt x="45225" y="10501"/>
                    <a:pt x="42191" y="6322"/>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sp>
          <p:nvSpPr>
            <p:cNvPr id="241" name="Freeform: Shape 240">
              <a:extLst>
                <a:ext uri="{FF2B5EF4-FFF2-40B4-BE49-F238E27FC236}">
                  <a16:creationId xmlns:a16="http://schemas.microsoft.com/office/drawing/2014/main" id="{DEBDDAF6-29CC-4DED-A73F-A9FD93FA4150}"/>
                </a:ext>
              </a:extLst>
            </p:cNvPr>
            <p:cNvSpPr/>
            <p:nvPr/>
          </p:nvSpPr>
          <p:spPr>
            <a:xfrm>
              <a:off x="11234158" y="4708478"/>
              <a:ext cx="27422" cy="25755"/>
            </a:xfrm>
            <a:custGeom>
              <a:avLst/>
              <a:gdLst>
                <a:gd name="connsiteX0" fmla="*/ 23129 w 27422"/>
                <a:gd name="connsiteY0" fmla="*/ 92 h 25755"/>
                <a:gd name="connsiteX1" fmla="*/ 16726 w 27422"/>
                <a:gd name="connsiteY1" fmla="*/ 4339 h 25755"/>
                <a:gd name="connsiteX2" fmla="*/ 10321 w 27422"/>
                <a:gd name="connsiteY2" fmla="*/ 8956 h 25755"/>
                <a:gd name="connsiteX3" fmla="*/ 243 w 27422"/>
                <a:gd name="connsiteY3" fmla="*/ 21630 h 25755"/>
                <a:gd name="connsiteX4" fmla="*/ 6850 w 27422"/>
                <a:gd name="connsiteY4" fmla="*/ 23449 h 25755"/>
                <a:gd name="connsiteX5" fmla="*/ 15512 w 27422"/>
                <a:gd name="connsiteY5" fmla="*/ 13945 h 25755"/>
                <a:gd name="connsiteX6" fmla="*/ 20231 w 27422"/>
                <a:gd name="connsiteY6" fmla="*/ 10608 h 25755"/>
                <a:gd name="connsiteX7" fmla="*/ 24983 w 27422"/>
                <a:gd name="connsiteY7" fmla="*/ 6698 h 25755"/>
                <a:gd name="connsiteX8" fmla="*/ 23129 w 27422"/>
                <a:gd name="connsiteY8" fmla="*/ 92 h 25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422" h="25755">
                  <a:moveTo>
                    <a:pt x="23129" y="92"/>
                  </a:moveTo>
                  <a:cubicBezTo>
                    <a:pt x="20298" y="732"/>
                    <a:pt x="18613" y="2249"/>
                    <a:pt x="16726" y="4339"/>
                  </a:cubicBezTo>
                  <a:cubicBezTo>
                    <a:pt x="14804" y="6462"/>
                    <a:pt x="12749" y="7541"/>
                    <a:pt x="10321" y="8956"/>
                  </a:cubicBezTo>
                  <a:cubicBezTo>
                    <a:pt x="5670" y="11653"/>
                    <a:pt x="2131" y="16675"/>
                    <a:pt x="243" y="21630"/>
                  </a:cubicBezTo>
                  <a:cubicBezTo>
                    <a:pt x="-1341" y="25741"/>
                    <a:pt x="5265" y="27528"/>
                    <a:pt x="6850" y="23449"/>
                  </a:cubicBezTo>
                  <a:cubicBezTo>
                    <a:pt x="8468" y="19236"/>
                    <a:pt x="11636" y="16068"/>
                    <a:pt x="15512" y="13945"/>
                  </a:cubicBezTo>
                  <a:cubicBezTo>
                    <a:pt x="17231" y="13001"/>
                    <a:pt x="18815" y="11956"/>
                    <a:pt x="20231" y="10608"/>
                  </a:cubicBezTo>
                  <a:cubicBezTo>
                    <a:pt x="21815" y="9125"/>
                    <a:pt x="22759" y="7170"/>
                    <a:pt x="24983" y="6698"/>
                  </a:cubicBezTo>
                  <a:cubicBezTo>
                    <a:pt x="29264" y="5754"/>
                    <a:pt x="27443" y="-852"/>
                    <a:pt x="23129" y="92"/>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sp>
          <p:nvSpPr>
            <p:cNvPr id="242" name="Freeform: Shape 241">
              <a:extLst>
                <a:ext uri="{FF2B5EF4-FFF2-40B4-BE49-F238E27FC236}">
                  <a16:creationId xmlns:a16="http://schemas.microsoft.com/office/drawing/2014/main" id="{F35AA608-C575-498C-85CC-A31CEA172095}"/>
                </a:ext>
              </a:extLst>
            </p:cNvPr>
            <p:cNvSpPr/>
            <p:nvPr/>
          </p:nvSpPr>
          <p:spPr>
            <a:xfrm>
              <a:off x="11203694" y="4748205"/>
              <a:ext cx="22482" cy="81871"/>
            </a:xfrm>
            <a:custGeom>
              <a:avLst/>
              <a:gdLst>
                <a:gd name="connsiteX0" fmla="*/ 16551 w 22482"/>
                <a:gd name="connsiteY0" fmla="*/ 878 h 81871"/>
                <a:gd name="connsiteX1" fmla="*/ 5428 w 22482"/>
                <a:gd name="connsiteY1" fmla="*/ 19584 h 81871"/>
                <a:gd name="connsiteX2" fmla="*/ 2 w 22482"/>
                <a:gd name="connsiteY2" fmla="*/ 45571 h 81871"/>
                <a:gd name="connsiteX3" fmla="*/ 474 w 22482"/>
                <a:gd name="connsiteY3" fmla="*/ 58750 h 81871"/>
                <a:gd name="connsiteX4" fmla="*/ 1924 w 22482"/>
                <a:gd name="connsiteY4" fmla="*/ 70412 h 81871"/>
                <a:gd name="connsiteX5" fmla="*/ 9372 w 22482"/>
                <a:gd name="connsiteY5" fmla="*/ 81871 h 81871"/>
                <a:gd name="connsiteX6" fmla="*/ 9372 w 22482"/>
                <a:gd name="connsiteY6" fmla="*/ 75029 h 81871"/>
                <a:gd name="connsiteX7" fmla="*/ 9305 w 22482"/>
                <a:gd name="connsiteY7" fmla="*/ 75029 h 81871"/>
                <a:gd name="connsiteX8" fmla="*/ 9035 w 22482"/>
                <a:gd name="connsiteY8" fmla="*/ 74018 h 81871"/>
                <a:gd name="connsiteX9" fmla="*/ 8765 w 22482"/>
                <a:gd name="connsiteY9" fmla="*/ 71288 h 81871"/>
                <a:gd name="connsiteX10" fmla="*/ 7990 w 22482"/>
                <a:gd name="connsiteY10" fmla="*/ 63974 h 81871"/>
                <a:gd name="connsiteX11" fmla="*/ 6946 w 22482"/>
                <a:gd name="connsiteY11" fmla="*/ 41965 h 81871"/>
                <a:gd name="connsiteX12" fmla="*/ 12136 w 22482"/>
                <a:gd name="connsiteY12" fmla="*/ 21101 h 81871"/>
                <a:gd name="connsiteX13" fmla="*/ 21337 w 22482"/>
                <a:gd name="connsiteY13" fmla="*/ 5664 h 81871"/>
                <a:gd name="connsiteX14" fmla="*/ 16551 w 22482"/>
                <a:gd name="connsiteY14" fmla="*/ 878 h 81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482" h="81871">
                  <a:moveTo>
                    <a:pt x="16551" y="878"/>
                  </a:moveTo>
                  <a:cubicBezTo>
                    <a:pt x="11193" y="5563"/>
                    <a:pt x="8125" y="13147"/>
                    <a:pt x="5428" y="19584"/>
                  </a:cubicBezTo>
                  <a:cubicBezTo>
                    <a:pt x="2092" y="27573"/>
                    <a:pt x="70" y="36875"/>
                    <a:pt x="2" y="45571"/>
                  </a:cubicBezTo>
                  <a:cubicBezTo>
                    <a:pt x="-31" y="49953"/>
                    <a:pt x="305" y="54368"/>
                    <a:pt x="474" y="58750"/>
                  </a:cubicBezTo>
                  <a:cubicBezTo>
                    <a:pt x="643" y="62693"/>
                    <a:pt x="1789" y="66468"/>
                    <a:pt x="1924" y="70412"/>
                  </a:cubicBezTo>
                  <a:cubicBezTo>
                    <a:pt x="2092" y="75366"/>
                    <a:pt x="3002" y="81939"/>
                    <a:pt x="9372" y="81871"/>
                  </a:cubicBezTo>
                  <a:cubicBezTo>
                    <a:pt x="13753" y="81804"/>
                    <a:pt x="13787" y="74962"/>
                    <a:pt x="9372" y="75029"/>
                  </a:cubicBezTo>
                  <a:cubicBezTo>
                    <a:pt x="9339" y="75029"/>
                    <a:pt x="9339" y="75029"/>
                    <a:pt x="9305" y="75029"/>
                  </a:cubicBezTo>
                  <a:cubicBezTo>
                    <a:pt x="9136" y="74726"/>
                    <a:pt x="9069" y="74287"/>
                    <a:pt x="9035" y="74018"/>
                  </a:cubicBezTo>
                  <a:cubicBezTo>
                    <a:pt x="8900" y="73108"/>
                    <a:pt x="8799" y="72232"/>
                    <a:pt x="8765" y="71288"/>
                  </a:cubicBezTo>
                  <a:cubicBezTo>
                    <a:pt x="8665" y="68827"/>
                    <a:pt x="8462" y="66434"/>
                    <a:pt x="7990" y="63974"/>
                  </a:cubicBezTo>
                  <a:cubicBezTo>
                    <a:pt x="6676" y="56963"/>
                    <a:pt x="6440" y="49076"/>
                    <a:pt x="6946" y="41965"/>
                  </a:cubicBezTo>
                  <a:cubicBezTo>
                    <a:pt x="7451" y="35089"/>
                    <a:pt x="9237" y="27370"/>
                    <a:pt x="12136" y="21101"/>
                  </a:cubicBezTo>
                  <a:cubicBezTo>
                    <a:pt x="14563" y="15810"/>
                    <a:pt x="16855" y="9574"/>
                    <a:pt x="21337" y="5664"/>
                  </a:cubicBezTo>
                  <a:cubicBezTo>
                    <a:pt x="24707" y="2833"/>
                    <a:pt x="19888" y="-1987"/>
                    <a:pt x="16551" y="878"/>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grpSp>
      <p:grpSp>
        <p:nvGrpSpPr>
          <p:cNvPr id="243" name="Graphic 6">
            <a:extLst>
              <a:ext uri="{FF2B5EF4-FFF2-40B4-BE49-F238E27FC236}">
                <a16:creationId xmlns:a16="http://schemas.microsoft.com/office/drawing/2014/main" id="{51D6F4BB-E553-4BB1-84E6-37499D523463}"/>
              </a:ext>
            </a:extLst>
          </p:cNvPr>
          <p:cNvGrpSpPr/>
          <p:nvPr/>
        </p:nvGrpSpPr>
        <p:grpSpPr>
          <a:xfrm>
            <a:off x="1528262" y="2848321"/>
            <a:ext cx="504617" cy="517579"/>
            <a:chOff x="1528262" y="2848321"/>
            <a:chExt cx="504617" cy="517579"/>
          </a:xfrm>
          <a:solidFill>
            <a:srgbClr val="DAE3F3"/>
          </a:solidFill>
        </p:grpSpPr>
        <p:sp>
          <p:nvSpPr>
            <p:cNvPr id="244" name="Freeform: Shape 243">
              <a:extLst>
                <a:ext uri="{FF2B5EF4-FFF2-40B4-BE49-F238E27FC236}">
                  <a16:creationId xmlns:a16="http://schemas.microsoft.com/office/drawing/2014/main" id="{1D87F49F-286B-40F8-9BA7-9C7FD2CE2687}"/>
                </a:ext>
              </a:extLst>
            </p:cNvPr>
            <p:cNvSpPr/>
            <p:nvPr/>
          </p:nvSpPr>
          <p:spPr>
            <a:xfrm>
              <a:off x="1591093" y="2898279"/>
              <a:ext cx="359563" cy="359563"/>
            </a:xfrm>
            <a:custGeom>
              <a:avLst/>
              <a:gdLst>
                <a:gd name="connsiteX0" fmla="*/ 359564 w 359563"/>
                <a:gd name="connsiteY0" fmla="*/ 179782 h 359563"/>
                <a:gd name="connsiteX1" fmla="*/ 179782 w 359563"/>
                <a:gd name="connsiteY1" fmla="*/ 359564 h 359563"/>
                <a:gd name="connsiteX2" fmla="*/ 0 w 359563"/>
                <a:gd name="connsiteY2" fmla="*/ 179782 h 359563"/>
                <a:gd name="connsiteX3" fmla="*/ 179782 w 359563"/>
                <a:gd name="connsiteY3" fmla="*/ 0 h 359563"/>
                <a:gd name="connsiteX4" fmla="*/ 359564 w 359563"/>
                <a:gd name="connsiteY4" fmla="*/ 179782 h 359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563" h="359563">
                  <a:moveTo>
                    <a:pt x="359564" y="179782"/>
                  </a:moveTo>
                  <a:cubicBezTo>
                    <a:pt x="359564" y="279073"/>
                    <a:pt x="279073" y="359564"/>
                    <a:pt x="179782" y="359564"/>
                  </a:cubicBezTo>
                  <a:cubicBezTo>
                    <a:pt x="80491" y="359564"/>
                    <a:pt x="0" y="279073"/>
                    <a:pt x="0" y="179782"/>
                  </a:cubicBezTo>
                  <a:cubicBezTo>
                    <a:pt x="0" y="80491"/>
                    <a:pt x="80491" y="0"/>
                    <a:pt x="179782" y="0"/>
                  </a:cubicBezTo>
                  <a:cubicBezTo>
                    <a:pt x="279073" y="0"/>
                    <a:pt x="359564" y="80491"/>
                    <a:pt x="359564" y="179782"/>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sp>
          <p:nvSpPr>
            <p:cNvPr id="245" name="Freeform: Shape 244">
              <a:extLst>
                <a:ext uri="{FF2B5EF4-FFF2-40B4-BE49-F238E27FC236}">
                  <a16:creationId xmlns:a16="http://schemas.microsoft.com/office/drawing/2014/main" id="{3E5C929C-C9D4-49BC-A22E-39DFC4EC394C}"/>
                </a:ext>
              </a:extLst>
            </p:cNvPr>
            <p:cNvSpPr/>
            <p:nvPr/>
          </p:nvSpPr>
          <p:spPr>
            <a:xfrm>
              <a:off x="1904599" y="2939760"/>
              <a:ext cx="56188" cy="56849"/>
            </a:xfrm>
            <a:custGeom>
              <a:avLst/>
              <a:gdLst>
                <a:gd name="connsiteX0" fmla="*/ 54787 w 56188"/>
                <a:gd name="connsiteY0" fmla="*/ 112 h 56849"/>
                <a:gd name="connsiteX1" fmla="*/ 24992 w 56188"/>
                <a:gd name="connsiteY1" fmla="*/ 27547 h 56849"/>
                <a:gd name="connsiteX2" fmla="*/ 10836 w 56188"/>
                <a:gd name="connsiteY2" fmla="*/ 40760 h 56849"/>
                <a:gd name="connsiteX3" fmla="*/ 50 w 56188"/>
                <a:gd name="connsiteY3" fmla="*/ 55590 h 56849"/>
                <a:gd name="connsiteX4" fmla="*/ 1870 w 56188"/>
                <a:gd name="connsiteY4" fmla="*/ 56096 h 56849"/>
                <a:gd name="connsiteX5" fmla="*/ 13600 w 56188"/>
                <a:gd name="connsiteY5" fmla="*/ 40962 h 56849"/>
                <a:gd name="connsiteX6" fmla="*/ 26980 w 56188"/>
                <a:gd name="connsiteY6" fmla="*/ 28188 h 56849"/>
                <a:gd name="connsiteX7" fmla="*/ 55697 w 56188"/>
                <a:gd name="connsiteY7" fmla="*/ 1932 h 56849"/>
                <a:gd name="connsiteX8" fmla="*/ 54787 w 56188"/>
                <a:gd name="connsiteY8" fmla="*/ 112 h 56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188" h="56849">
                  <a:moveTo>
                    <a:pt x="54787" y="112"/>
                  </a:moveTo>
                  <a:cubicBezTo>
                    <a:pt x="42552" y="6347"/>
                    <a:pt x="34092" y="16863"/>
                    <a:pt x="24992" y="27547"/>
                  </a:cubicBezTo>
                  <a:cubicBezTo>
                    <a:pt x="20678" y="32603"/>
                    <a:pt x="15723" y="36479"/>
                    <a:pt x="10836" y="40760"/>
                  </a:cubicBezTo>
                  <a:cubicBezTo>
                    <a:pt x="6218" y="44771"/>
                    <a:pt x="1904" y="49355"/>
                    <a:pt x="50" y="55590"/>
                  </a:cubicBezTo>
                  <a:cubicBezTo>
                    <a:pt x="-320" y="56904"/>
                    <a:pt x="1466" y="57376"/>
                    <a:pt x="1870" y="56096"/>
                  </a:cubicBezTo>
                  <a:cubicBezTo>
                    <a:pt x="3825" y="49557"/>
                    <a:pt x="8780" y="45040"/>
                    <a:pt x="13600" y="40962"/>
                  </a:cubicBezTo>
                  <a:cubicBezTo>
                    <a:pt x="18352" y="36951"/>
                    <a:pt x="22868" y="33041"/>
                    <a:pt x="26980" y="28188"/>
                  </a:cubicBezTo>
                  <a:cubicBezTo>
                    <a:pt x="35710" y="17908"/>
                    <a:pt x="43934" y="7931"/>
                    <a:pt x="55697" y="1932"/>
                  </a:cubicBezTo>
                  <a:cubicBezTo>
                    <a:pt x="56776" y="1325"/>
                    <a:pt x="55899" y="-461"/>
                    <a:pt x="54787" y="112"/>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sp>
          <p:nvSpPr>
            <p:cNvPr id="246" name="Freeform: Shape 245">
              <a:extLst>
                <a:ext uri="{FF2B5EF4-FFF2-40B4-BE49-F238E27FC236}">
                  <a16:creationId xmlns:a16="http://schemas.microsoft.com/office/drawing/2014/main" id="{BF29F33D-54CF-42D4-AFFC-D4F2B933B243}"/>
                </a:ext>
              </a:extLst>
            </p:cNvPr>
            <p:cNvSpPr/>
            <p:nvPr/>
          </p:nvSpPr>
          <p:spPr>
            <a:xfrm>
              <a:off x="1613599" y="2886773"/>
              <a:ext cx="86777" cy="99156"/>
            </a:xfrm>
            <a:custGeom>
              <a:avLst/>
              <a:gdLst>
                <a:gd name="connsiteX0" fmla="*/ 85349 w 86777"/>
                <a:gd name="connsiteY0" fmla="*/ 95904 h 99156"/>
                <a:gd name="connsiteX1" fmla="*/ 37185 w 86777"/>
                <a:gd name="connsiteY1" fmla="*/ 56806 h 99156"/>
                <a:gd name="connsiteX2" fmla="*/ 18445 w 86777"/>
                <a:gd name="connsiteY2" fmla="*/ 24753 h 99156"/>
                <a:gd name="connsiteX3" fmla="*/ 2503 w 86777"/>
                <a:gd name="connsiteY3" fmla="*/ 485 h 99156"/>
                <a:gd name="connsiteX4" fmla="*/ 379 w 86777"/>
                <a:gd name="connsiteY4" fmla="*/ 2608 h 99156"/>
                <a:gd name="connsiteX5" fmla="*/ 28624 w 86777"/>
                <a:gd name="connsiteY5" fmla="*/ 48548 h 99156"/>
                <a:gd name="connsiteX6" fmla="*/ 62902 w 86777"/>
                <a:gd name="connsiteY6" fmla="*/ 92230 h 99156"/>
                <a:gd name="connsiteX7" fmla="*/ 85349 w 86777"/>
                <a:gd name="connsiteY7" fmla="*/ 98937 h 99156"/>
                <a:gd name="connsiteX8" fmla="*/ 85349 w 86777"/>
                <a:gd name="connsiteY8" fmla="*/ 95904 h 99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777" h="99156">
                  <a:moveTo>
                    <a:pt x="85349" y="95904"/>
                  </a:moveTo>
                  <a:cubicBezTo>
                    <a:pt x="63239" y="98870"/>
                    <a:pt x="47128" y="72614"/>
                    <a:pt x="37185" y="56806"/>
                  </a:cubicBezTo>
                  <a:cubicBezTo>
                    <a:pt x="30612" y="46324"/>
                    <a:pt x="24647" y="35471"/>
                    <a:pt x="18445" y="24753"/>
                  </a:cubicBezTo>
                  <a:cubicBezTo>
                    <a:pt x="13625" y="16394"/>
                    <a:pt x="8839" y="7833"/>
                    <a:pt x="2503" y="485"/>
                  </a:cubicBezTo>
                  <a:cubicBezTo>
                    <a:pt x="1255" y="-964"/>
                    <a:pt x="-868" y="1159"/>
                    <a:pt x="379" y="2608"/>
                  </a:cubicBezTo>
                  <a:cubicBezTo>
                    <a:pt x="12007" y="16090"/>
                    <a:pt x="19625" y="33280"/>
                    <a:pt x="28624" y="48548"/>
                  </a:cubicBezTo>
                  <a:cubicBezTo>
                    <a:pt x="37825" y="64187"/>
                    <a:pt x="47970" y="81343"/>
                    <a:pt x="62902" y="92230"/>
                  </a:cubicBezTo>
                  <a:cubicBezTo>
                    <a:pt x="69440" y="97016"/>
                    <a:pt x="77159" y="100016"/>
                    <a:pt x="85349" y="98937"/>
                  </a:cubicBezTo>
                  <a:cubicBezTo>
                    <a:pt x="87237" y="98667"/>
                    <a:pt x="87270" y="95668"/>
                    <a:pt x="85349" y="95904"/>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sp>
          <p:nvSpPr>
            <p:cNvPr id="247" name="Freeform: Shape 246">
              <a:extLst>
                <a:ext uri="{FF2B5EF4-FFF2-40B4-BE49-F238E27FC236}">
                  <a16:creationId xmlns:a16="http://schemas.microsoft.com/office/drawing/2014/main" id="{3F8D3320-4A4C-43FE-82AC-9A370C18104D}"/>
                </a:ext>
              </a:extLst>
            </p:cNvPr>
            <p:cNvSpPr/>
            <p:nvPr/>
          </p:nvSpPr>
          <p:spPr>
            <a:xfrm>
              <a:off x="1541724" y="3040572"/>
              <a:ext cx="146651" cy="27040"/>
            </a:xfrm>
            <a:custGeom>
              <a:avLst/>
              <a:gdLst>
                <a:gd name="connsiteX0" fmla="*/ 144855 w 146651"/>
                <a:gd name="connsiteY0" fmla="*/ 110 h 27040"/>
                <a:gd name="connsiteX1" fmla="*/ 74715 w 146651"/>
                <a:gd name="connsiteY1" fmla="*/ 18884 h 27040"/>
                <a:gd name="connsiteX2" fmla="*/ 1441 w 146651"/>
                <a:gd name="connsiteY2" fmla="*/ 24041 h 27040"/>
                <a:gd name="connsiteX3" fmla="*/ 1441 w 146651"/>
                <a:gd name="connsiteY3" fmla="*/ 27041 h 27040"/>
                <a:gd name="connsiteX4" fmla="*/ 73839 w 146651"/>
                <a:gd name="connsiteY4" fmla="*/ 22019 h 27040"/>
                <a:gd name="connsiteX5" fmla="*/ 145664 w 146651"/>
                <a:gd name="connsiteY5" fmla="*/ 3009 h 27040"/>
                <a:gd name="connsiteX6" fmla="*/ 144855 w 146651"/>
                <a:gd name="connsiteY6" fmla="*/ 110 h 27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651" h="27040">
                  <a:moveTo>
                    <a:pt x="144855" y="110"/>
                  </a:moveTo>
                  <a:cubicBezTo>
                    <a:pt x="122172" y="8806"/>
                    <a:pt x="98713" y="15210"/>
                    <a:pt x="74715" y="18884"/>
                  </a:cubicBezTo>
                  <a:cubicBezTo>
                    <a:pt x="50482" y="22592"/>
                    <a:pt x="25944" y="23670"/>
                    <a:pt x="1441" y="24041"/>
                  </a:cubicBezTo>
                  <a:cubicBezTo>
                    <a:pt x="-480" y="24075"/>
                    <a:pt x="-480" y="27074"/>
                    <a:pt x="1441" y="27041"/>
                  </a:cubicBezTo>
                  <a:cubicBezTo>
                    <a:pt x="25641" y="26670"/>
                    <a:pt x="49875" y="25591"/>
                    <a:pt x="73839" y="22019"/>
                  </a:cubicBezTo>
                  <a:cubicBezTo>
                    <a:pt x="98444" y="18378"/>
                    <a:pt x="122441" y="11941"/>
                    <a:pt x="145664" y="3009"/>
                  </a:cubicBezTo>
                  <a:cubicBezTo>
                    <a:pt x="147417" y="2301"/>
                    <a:pt x="146642" y="-597"/>
                    <a:pt x="144855" y="110"/>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sp>
          <p:nvSpPr>
            <p:cNvPr id="248" name="Freeform: Shape 247">
              <a:extLst>
                <a:ext uri="{FF2B5EF4-FFF2-40B4-BE49-F238E27FC236}">
                  <a16:creationId xmlns:a16="http://schemas.microsoft.com/office/drawing/2014/main" id="{145EED4D-362A-4C12-80CD-4F504F67F182}"/>
                </a:ext>
              </a:extLst>
            </p:cNvPr>
            <p:cNvSpPr/>
            <p:nvPr/>
          </p:nvSpPr>
          <p:spPr>
            <a:xfrm>
              <a:off x="1839928" y="3244361"/>
              <a:ext cx="2982" cy="2999"/>
            </a:xfrm>
            <a:custGeom>
              <a:avLst/>
              <a:gdLst>
                <a:gd name="connsiteX0" fmla="*/ 1491 w 2982"/>
                <a:gd name="connsiteY0" fmla="*/ 0 h 2999"/>
                <a:gd name="connsiteX1" fmla="*/ 1491 w 2982"/>
                <a:gd name="connsiteY1" fmla="*/ 3000 h 2999"/>
                <a:gd name="connsiteX2" fmla="*/ 1491 w 2982"/>
                <a:gd name="connsiteY2" fmla="*/ 0 h 2999"/>
              </a:gdLst>
              <a:ahLst/>
              <a:cxnLst>
                <a:cxn ang="0">
                  <a:pos x="connsiteX0" y="connsiteY0"/>
                </a:cxn>
                <a:cxn ang="0">
                  <a:pos x="connsiteX1" y="connsiteY1"/>
                </a:cxn>
                <a:cxn ang="0">
                  <a:pos x="connsiteX2" y="connsiteY2"/>
                </a:cxn>
              </a:cxnLst>
              <a:rect l="l" t="t" r="r" b="b"/>
              <a:pathLst>
                <a:path w="2982" h="2999">
                  <a:moveTo>
                    <a:pt x="1491" y="0"/>
                  </a:moveTo>
                  <a:cubicBezTo>
                    <a:pt x="-497" y="0"/>
                    <a:pt x="-497" y="3000"/>
                    <a:pt x="1491" y="3000"/>
                  </a:cubicBezTo>
                  <a:cubicBezTo>
                    <a:pt x="3480" y="3000"/>
                    <a:pt x="3480" y="0"/>
                    <a:pt x="1491" y="0"/>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sp>
          <p:nvSpPr>
            <p:cNvPr id="249" name="Freeform: Shape 248">
              <a:extLst>
                <a:ext uri="{FF2B5EF4-FFF2-40B4-BE49-F238E27FC236}">
                  <a16:creationId xmlns:a16="http://schemas.microsoft.com/office/drawing/2014/main" id="{6129FBBF-D366-468C-AB12-170CFE20C727}"/>
                </a:ext>
              </a:extLst>
            </p:cNvPr>
            <p:cNvSpPr/>
            <p:nvPr/>
          </p:nvSpPr>
          <p:spPr>
            <a:xfrm>
              <a:off x="1747243" y="3201281"/>
              <a:ext cx="27228" cy="157286"/>
            </a:xfrm>
            <a:custGeom>
              <a:avLst/>
              <a:gdLst>
                <a:gd name="connsiteX0" fmla="*/ 26732 w 27228"/>
                <a:gd name="connsiteY0" fmla="*/ 2669 h 157286"/>
                <a:gd name="connsiteX1" fmla="*/ 24777 w 27228"/>
                <a:gd name="connsiteY1" fmla="*/ 377 h 157286"/>
                <a:gd name="connsiteX2" fmla="*/ 4150 w 27228"/>
                <a:gd name="connsiteY2" fmla="*/ 51339 h 157286"/>
                <a:gd name="connsiteX3" fmla="*/ 881 w 27228"/>
                <a:gd name="connsiteY3" fmla="*/ 122321 h 157286"/>
                <a:gd name="connsiteX4" fmla="*/ 4 w 27228"/>
                <a:gd name="connsiteY4" fmla="*/ 155723 h 157286"/>
                <a:gd name="connsiteX5" fmla="*/ 3004 w 27228"/>
                <a:gd name="connsiteY5" fmla="*/ 155959 h 157286"/>
                <a:gd name="connsiteX6" fmla="*/ 11970 w 27228"/>
                <a:gd name="connsiteY6" fmla="*/ 28588 h 157286"/>
                <a:gd name="connsiteX7" fmla="*/ 26732 w 27228"/>
                <a:gd name="connsiteY7" fmla="*/ 2669 h 157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228" h="157286">
                  <a:moveTo>
                    <a:pt x="26732" y="2669"/>
                  </a:moveTo>
                  <a:cubicBezTo>
                    <a:pt x="28148" y="1388"/>
                    <a:pt x="26227" y="-904"/>
                    <a:pt x="24777" y="377"/>
                  </a:cubicBezTo>
                  <a:cubicBezTo>
                    <a:pt x="10824" y="12915"/>
                    <a:pt x="6644" y="33610"/>
                    <a:pt x="4150" y="51339"/>
                  </a:cubicBezTo>
                  <a:cubicBezTo>
                    <a:pt x="881" y="74831"/>
                    <a:pt x="982" y="98660"/>
                    <a:pt x="881" y="122321"/>
                  </a:cubicBezTo>
                  <a:cubicBezTo>
                    <a:pt x="813" y="133444"/>
                    <a:pt x="847" y="144634"/>
                    <a:pt x="4" y="155723"/>
                  </a:cubicBezTo>
                  <a:cubicBezTo>
                    <a:pt x="-130" y="157644"/>
                    <a:pt x="2836" y="157880"/>
                    <a:pt x="3004" y="155959"/>
                  </a:cubicBezTo>
                  <a:cubicBezTo>
                    <a:pt x="6206" y="113794"/>
                    <a:pt x="-501" y="69674"/>
                    <a:pt x="11970" y="28588"/>
                  </a:cubicBezTo>
                  <a:cubicBezTo>
                    <a:pt x="14868" y="19049"/>
                    <a:pt x="19149" y="9477"/>
                    <a:pt x="26732" y="2669"/>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sp>
          <p:nvSpPr>
            <p:cNvPr id="250" name="Freeform: Shape 249">
              <a:extLst>
                <a:ext uri="{FF2B5EF4-FFF2-40B4-BE49-F238E27FC236}">
                  <a16:creationId xmlns:a16="http://schemas.microsoft.com/office/drawing/2014/main" id="{95FE2769-A6B0-46F1-8862-CFD9C7AE798A}"/>
                </a:ext>
              </a:extLst>
            </p:cNvPr>
            <p:cNvSpPr/>
            <p:nvPr/>
          </p:nvSpPr>
          <p:spPr>
            <a:xfrm>
              <a:off x="1842261" y="3098826"/>
              <a:ext cx="177067" cy="73080"/>
            </a:xfrm>
            <a:custGeom>
              <a:avLst/>
              <a:gdLst>
                <a:gd name="connsiteX0" fmla="*/ 176177 w 177067"/>
                <a:gd name="connsiteY0" fmla="*/ 70172 h 73080"/>
                <a:gd name="connsiteX1" fmla="*/ 36605 w 177067"/>
                <a:gd name="connsiteY1" fmla="*/ 1481 h 73080"/>
                <a:gd name="connsiteX2" fmla="*/ 877 w 177067"/>
                <a:gd name="connsiteY2" fmla="*/ 3571 h 73080"/>
                <a:gd name="connsiteX3" fmla="*/ 2091 w 177067"/>
                <a:gd name="connsiteY3" fmla="*/ 6301 h 73080"/>
                <a:gd name="connsiteX4" fmla="*/ 71388 w 177067"/>
                <a:gd name="connsiteY4" fmla="*/ 16075 h 73080"/>
                <a:gd name="connsiteX5" fmla="*/ 142741 w 177067"/>
                <a:gd name="connsiteY5" fmla="*/ 55510 h 73080"/>
                <a:gd name="connsiteX6" fmla="*/ 175064 w 177067"/>
                <a:gd name="connsiteY6" fmla="*/ 72936 h 73080"/>
                <a:gd name="connsiteX7" fmla="*/ 176177 w 177067"/>
                <a:gd name="connsiteY7" fmla="*/ 70172 h 73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7067" h="73080">
                  <a:moveTo>
                    <a:pt x="176177" y="70172"/>
                  </a:moveTo>
                  <a:cubicBezTo>
                    <a:pt x="128990" y="49275"/>
                    <a:pt x="88578" y="11188"/>
                    <a:pt x="36605" y="1481"/>
                  </a:cubicBezTo>
                  <a:cubicBezTo>
                    <a:pt x="24707" y="-743"/>
                    <a:pt x="12337" y="-777"/>
                    <a:pt x="877" y="3571"/>
                  </a:cubicBezTo>
                  <a:cubicBezTo>
                    <a:pt x="-909" y="4245"/>
                    <a:pt x="304" y="6975"/>
                    <a:pt x="2091" y="6301"/>
                  </a:cubicBezTo>
                  <a:cubicBezTo>
                    <a:pt x="24707" y="-2328"/>
                    <a:pt x="50457" y="6807"/>
                    <a:pt x="71388" y="16075"/>
                  </a:cubicBezTo>
                  <a:cubicBezTo>
                    <a:pt x="96262" y="27131"/>
                    <a:pt x="119350" y="41691"/>
                    <a:pt x="142741" y="55510"/>
                  </a:cubicBezTo>
                  <a:cubicBezTo>
                    <a:pt x="153257" y="61746"/>
                    <a:pt x="163874" y="67981"/>
                    <a:pt x="175064" y="72936"/>
                  </a:cubicBezTo>
                  <a:cubicBezTo>
                    <a:pt x="176851" y="73744"/>
                    <a:pt x="177929" y="70947"/>
                    <a:pt x="176177" y="70172"/>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sp>
          <p:nvSpPr>
            <p:cNvPr id="251" name="Freeform: Shape 250">
              <a:extLst>
                <a:ext uri="{FF2B5EF4-FFF2-40B4-BE49-F238E27FC236}">
                  <a16:creationId xmlns:a16="http://schemas.microsoft.com/office/drawing/2014/main" id="{A6750B27-CC05-4F86-A97E-AA5561ACA068}"/>
                </a:ext>
              </a:extLst>
            </p:cNvPr>
            <p:cNvSpPr/>
            <p:nvPr/>
          </p:nvSpPr>
          <p:spPr>
            <a:xfrm>
              <a:off x="1863892" y="3077050"/>
              <a:ext cx="62876" cy="2999"/>
            </a:xfrm>
            <a:custGeom>
              <a:avLst/>
              <a:gdLst>
                <a:gd name="connsiteX0" fmla="*/ 61385 w 62876"/>
                <a:gd name="connsiteY0" fmla="*/ 0 h 2999"/>
                <a:gd name="connsiteX1" fmla="*/ 1491 w 62876"/>
                <a:gd name="connsiteY1" fmla="*/ 0 h 2999"/>
                <a:gd name="connsiteX2" fmla="*/ 1491 w 62876"/>
                <a:gd name="connsiteY2" fmla="*/ 3000 h 2999"/>
                <a:gd name="connsiteX3" fmla="*/ 61385 w 62876"/>
                <a:gd name="connsiteY3" fmla="*/ 3000 h 2999"/>
                <a:gd name="connsiteX4" fmla="*/ 61385 w 62876"/>
                <a:gd name="connsiteY4" fmla="*/ 0 h 2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876" h="2999">
                  <a:moveTo>
                    <a:pt x="61385" y="0"/>
                  </a:moveTo>
                  <a:lnTo>
                    <a:pt x="1491" y="0"/>
                  </a:lnTo>
                  <a:cubicBezTo>
                    <a:pt x="-497" y="0"/>
                    <a:pt x="-497" y="3000"/>
                    <a:pt x="1491" y="3000"/>
                  </a:cubicBezTo>
                  <a:lnTo>
                    <a:pt x="61385" y="3000"/>
                  </a:lnTo>
                  <a:cubicBezTo>
                    <a:pt x="63374" y="2966"/>
                    <a:pt x="63374" y="0"/>
                    <a:pt x="61385" y="0"/>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sp>
          <p:nvSpPr>
            <p:cNvPr id="252" name="Freeform: Shape 251">
              <a:extLst>
                <a:ext uri="{FF2B5EF4-FFF2-40B4-BE49-F238E27FC236}">
                  <a16:creationId xmlns:a16="http://schemas.microsoft.com/office/drawing/2014/main" id="{B41B8254-A4F8-4B20-BAE2-44EB41452872}"/>
                </a:ext>
              </a:extLst>
            </p:cNvPr>
            <p:cNvSpPr/>
            <p:nvPr/>
          </p:nvSpPr>
          <p:spPr>
            <a:xfrm>
              <a:off x="1576712" y="3172424"/>
              <a:ext cx="73532" cy="74787"/>
            </a:xfrm>
            <a:custGeom>
              <a:avLst/>
              <a:gdLst>
                <a:gd name="connsiteX0" fmla="*/ 70567 w 73532"/>
                <a:gd name="connsiteY0" fmla="*/ 1057 h 74787"/>
                <a:gd name="connsiteX1" fmla="*/ 54894 w 73532"/>
                <a:gd name="connsiteY1" fmla="*/ 14572 h 74787"/>
                <a:gd name="connsiteX2" fmla="*/ 34739 w 73532"/>
                <a:gd name="connsiteY2" fmla="*/ 34660 h 74787"/>
                <a:gd name="connsiteX3" fmla="*/ 191 w 73532"/>
                <a:gd name="connsiteY3" fmla="*/ 71870 h 74787"/>
                <a:gd name="connsiteX4" fmla="*/ 1101 w 73532"/>
                <a:gd name="connsiteY4" fmla="*/ 74061 h 74787"/>
                <a:gd name="connsiteX5" fmla="*/ 3730 w 73532"/>
                <a:gd name="connsiteY5" fmla="*/ 74735 h 74787"/>
                <a:gd name="connsiteX6" fmla="*/ 4539 w 73532"/>
                <a:gd name="connsiteY6" fmla="*/ 71837 h 74787"/>
                <a:gd name="connsiteX7" fmla="*/ 3865 w 73532"/>
                <a:gd name="connsiteY7" fmla="*/ 71668 h 74787"/>
                <a:gd name="connsiteX8" fmla="*/ 20077 w 73532"/>
                <a:gd name="connsiteY8" fmla="*/ 53434 h 74787"/>
                <a:gd name="connsiteX9" fmla="*/ 40772 w 73532"/>
                <a:gd name="connsiteY9" fmla="*/ 32604 h 74787"/>
                <a:gd name="connsiteX10" fmla="*/ 61231 w 73532"/>
                <a:gd name="connsiteY10" fmla="*/ 13561 h 74787"/>
                <a:gd name="connsiteX11" fmla="*/ 73466 w 73532"/>
                <a:gd name="connsiteY11" fmla="*/ 1764 h 74787"/>
                <a:gd name="connsiteX12" fmla="*/ 70567 w 73532"/>
                <a:gd name="connsiteY12" fmla="*/ 1057 h 74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532" h="74787">
                  <a:moveTo>
                    <a:pt x="70567" y="1057"/>
                  </a:moveTo>
                  <a:cubicBezTo>
                    <a:pt x="68680" y="7326"/>
                    <a:pt x="59613" y="10629"/>
                    <a:pt x="54894" y="14572"/>
                  </a:cubicBezTo>
                  <a:cubicBezTo>
                    <a:pt x="47614" y="20639"/>
                    <a:pt x="41345" y="27885"/>
                    <a:pt x="34739" y="34660"/>
                  </a:cubicBezTo>
                  <a:cubicBezTo>
                    <a:pt x="23245" y="46558"/>
                    <a:pt x="8584" y="57411"/>
                    <a:pt x="191" y="71870"/>
                  </a:cubicBezTo>
                  <a:cubicBezTo>
                    <a:pt x="-281" y="72679"/>
                    <a:pt x="158" y="73825"/>
                    <a:pt x="1101" y="74061"/>
                  </a:cubicBezTo>
                  <a:cubicBezTo>
                    <a:pt x="1978" y="74297"/>
                    <a:pt x="2854" y="74533"/>
                    <a:pt x="3730" y="74735"/>
                  </a:cubicBezTo>
                  <a:cubicBezTo>
                    <a:pt x="5584" y="75207"/>
                    <a:pt x="6393" y="72342"/>
                    <a:pt x="4539" y="71837"/>
                  </a:cubicBezTo>
                  <a:cubicBezTo>
                    <a:pt x="4303" y="71769"/>
                    <a:pt x="4101" y="71736"/>
                    <a:pt x="3865" y="71668"/>
                  </a:cubicBezTo>
                  <a:cubicBezTo>
                    <a:pt x="8247" y="64792"/>
                    <a:pt x="14246" y="59096"/>
                    <a:pt x="20077" y="53434"/>
                  </a:cubicBezTo>
                  <a:cubicBezTo>
                    <a:pt x="27088" y="46625"/>
                    <a:pt x="34098" y="39750"/>
                    <a:pt x="40772" y="32604"/>
                  </a:cubicBezTo>
                  <a:cubicBezTo>
                    <a:pt x="47075" y="25863"/>
                    <a:pt x="53580" y="18819"/>
                    <a:pt x="61231" y="13561"/>
                  </a:cubicBezTo>
                  <a:cubicBezTo>
                    <a:pt x="65680" y="10528"/>
                    <a:pt x="71814" y="7292"/>
                    <a:pt x="73466" y="1764"/>
                  </a:cubicBezTo>
                  <a:cubicBezTo>
                    <a:pt x="74005" y="12"/>
                    <a:pt x="71140" y="-797"/>
                    <a:pt x="70567" y="1057"/>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sp>
          <p:nvSpPr>
            <p:cNvPr id="253" name="Freeform: Shape 252">
              <a:extLst>
                <a:ext uri="{FF2B5EF4-FFF2-40B4-BE49-F238E27FC236}">
                  <a16:creationId xmlns:a16="http://schemas.microsoft.com/office/drawing/2014/main" id="{B857BF77-E9B1-427D-9A11-4CABBBE91EEC}"/>
                </a:ext>
              </a:extLst>
            </p:cNvPr>
            <p:cNvSpPr/>
            <p:nvPr/>
          </p:nvSpPr>
          <p:spPr>
            <a:xfrm>
              <a:off x="1775021" y="2864954"/>
              <a:ext cx="10949" cy="50823"/>
            </a:xfrm>
            <a:custGeom>
              <a:avLst/>
              <a:gdLst>
                <a:gd name="connsiteX0" fmla="*/ 9876 w 10949"/>
                <a:gd name="connsiteY0" fmla="*/ 47920 h 50823"/>
                <a:gd name="connsiteX1" fmla="*/ 6235 w 10949"/>
                <a:gd name="connsiteY1" fmla="*/ 36932 h 50823"/>
                <a:gd name="connsiteX2" fmla="*/ 5292 w 10949"/>
                <a:gd name="connsiteY2" fmla="*/ 26551 h 50823"/>
                <a:gd name="connsiteX3" fmla="*/ 3000 w 10949"/>
                <a:gd name="connsiteY3" fmla="*/ 1441 h 50823"/>
                <a:gd name="connsiteX4" fmla="*/ 0 w 10949"/>
                <a:gd name="connsiteY4" fmla="*/ 1441 h 50823"/>
                <a:gd name="connsiteX5" fmla="*/ 1854 w 10949"/>
                <a:gd name="connsiteY5" fmla="*/ 24967 h 50823"/>
                <a:gd name="connsiteX6" fmla="*/ 4719 w 10949"/>
                <a:gd name="connsiteY6" fmla="*/ 49066 h 50823"/>
                <a:gd name="connsiteX7" fmla="*/ 5764 w 10949"/>
                <a:gd name="connsiteY7" fmla="*/ 50111 h 50823"/>
                <a:gd name="connsiteX8" fmla="*/ 9067 w 10949"/>
                <a:gd name="connsiteY8" fmla="*/ 50785 h 50823"/>
                <a:gd name="connsiteX9" fmla="*/ 9876 w 10949"/>
                <a:gd name="connsiteY9" fmla="*/ 47920 h 50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949" h="50823">
                  <a:moveTo>
                    <a:pt x="9876" y="47920"/>
                  </a:moveTo>
                  <a:cubicBezTo>
                    <a:pt x="5325" y="46976"/>
                    <a:pt x="6404" y="40808"/>
                    <a:pt x="6235" y="36932"/>
                  </a:cubicBezTo>
                  <a:cubicBezTo>
                    <a:pt x="6067" y="33460"/>
                    <a:pt x="5966" y="29989"/>
                    <a:pt x="5292" y="26551"/>
                  </a:cubicBezTo>
                  <a:cubicBezTo>
                    <a:pt x="3640" y="18091"/>
                    <a:pt x="3000" y="10069"/>
                    <a:pt x="3000" y="1441"/>
                  </a:cubicBezTo>
                  <a:cubicBezTo>
                    <a:pt x="3000" y="-480"/>
                    <a:pt x="0" y="-480"/>
                    <a:pt x="0" y="1441"/>
                  </a:cubicBezTo>
                  <a:cubicBezTo>
                    <a:pt x="0" y="9362"/>
                    <a:pt x="67" y="17215"/>
                    <a:pt x="1854" y="24967"/>
                  </a:cubicBezTo>
                  <a:cubicBezTo>
                    <a:pt x="3674" y="32921"/>
                    <a:pt x="2696" y="41145"/>
                    <a:pt x="4719" y="49066"/>
                  </a:cubicBezTo>
                  <a:cubicBezTo>
                    <a:pt x="4854" y="49538"/>
                    <a:pt x="5258" y="50010"/>
                    <a:pt x="5764" y="50111"/>
                  </a:cubicBezTo>
                  <a:cubicBezTo>
                    <a:pt x="6876" y="50347"/>
                    <a:pt x="7988" y="50549"/>
                    <a:pt x="9067" y="50785"/>
                  </a:cubicBezTo>
                  <a:cubicBezTo>
                    <a:pt x="10954" y="51189"/>
                    <a:pt x="11763" y="48291"/>
                    <a:pt x="9876" y="47920"/>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sp>
          <p:nvSpPr>
            <p:cNvPr id="254" name="Freeform: Shape 253">
              <a:extLst>
                <a:ext uri="{FF2B5EF4-FFF2-40B4-BE49-F238E27FC236}">
                  <a16:creationId xmlns:a16="http://schemas.microsoft.com/office/drawing/2014/main" id="{3829C8FF-AF9F-4B96-87F3-B6F9C774996B}"/>
                </a:ext>
              </a:extLst>
            </p:cNvPr>
            <p:cNvSpPr/>
            <p:nvPr/>
          </p:nvSpPr>
          <p:spPr>
            <a:xfrm>
              <a:off x="2002695" y="3138793"/>
              <a:ext cx="30185" cy="49898"/>
            </a:xfrm>
            <a:custGeom>
              <a:avLst/>
              <a:gdLst>
                <a:gd name="connsiteX0" fmla="*/ 29460 w 30185"/>
                <a:gd name="connsiteY0" fmla="*/ 3779 h 49898"/>
                <a:gd name="connsiteX1" fmla="*/ 16990 w 30185"/>
                <a:gd name="connsiteY1" fmla="*/ 2364 h 49898"/>
                <a:gd name="connsiteX2" fmla="*/ 12878 w 30185"/>
                <a:gd name="connsiteY2" fmla="*/ 5903 h 49898"/>
                <a:gd name="connsiteX3" fmla="*/ 12608 w 30185"/>
                <a:gd name="connsiteY3" fmla="*/ 6240 h 49898"/>
                <a:gd name="connsiteX4" fmla="*/ 2631 w 30185"/>
                <a:gd name="connsiteY4" fmla="*/ 26059 h 49898"/>
                <a:gd name="connsiteX5" fmla="*/ 204 w 30185"/>
                <a:gd name="connsiteY5" fmla="*/ 41731 h 49898"/>
                <a:gd name="connsiteX6" fmla="*/ 5193 w 30185"/>
                <a:gd name="connsiteY6" fmla="*/ 49281 h 49898"/>
                <a:gd name="connsiteX7" fmla="*/ 7080 w 30185"/>
                <a:gd name="connsiteY7" fmla="*/ 49854 h 49898"/>
                <a:gd name="connsiteX8" fmla="*/ 17866 w 30185"/>
                <a:gd name="connsiteY8" fmla="*/ 41125 h 49898"/>
                <a:gd name="connsiteX9" fmla="*/ 20663 w 30185"/>
                <a:gd name="connsiteY9" fmla="*/ 34822 h 49898"/>
                <a:gd name="connsiteX10" fmla="*/ 24371 w 30185"/>
                <a:gd name="connsiteY10" fmla="*/ 30541 h 49898"/>
                <a:gd name="connsiteX11" fmla="*/ 29393 w 30185"/>
                <a:gd name="connsiteY11" fmla="*/ 15745 h 49898"/>
                <a:gd name="connsiteX12" fmla="*/ 29460 w 30185"/>
                <a:gd name="connsiteY12" fmla="*/ 3779 h 49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185" h="49898">
                  <a:moveTo>
                    <a:pt x="29460" y="3779"/>
                  </a:moveTo>
                  <a:cubicBezTo>
                    <a:pt x="26798" y="-1647"/>
                    <a:pt x="21304" y="-400"/>
                    <a:pt x="16990" y="2364"/>
                  </a:cubicBezTo>
                  <a:cubicBezTo>
                    <a:pt x="15304" y="3038"/>
                    <a:pt x="13889" y="4319"/>
                    <a:pt x="12878" y="5903"/>
                  </a:cubicBezTo>
                  <a:cubicBezTo>
                    <a:pt x="12776" y="6004"/>
                    <a:pt x="12675" y="6105"/>
                    <a:pt x="12608" y="6240"/>
                  </a:cubicBezTo>
                  <a:cubicBezTo>
                    <a:pt x="8024" y="11936"/>
                    <a:pt x="4856" y="19149"/>
                    <a:pt x="2631" y="26059"/>
                  </a:cubicBezTo>
                  <a:cubicBezTo>
                    <a:pt x="1148" y="30710"/>
                    <a:pt x="-604" y="36574"/>
                    <a:pt x="204" y="41731"/>
                  </a:cubicBezTo>
                  <a:cubicBezTo>
                    <a:pt x="339" y="44933"/>
                    <a:pt x="1654" y="47798"/>
                    <a:pt x="5193" y="49281"/>
                  </a:cubicBezTo>
                  <a:cubicBezTo>
                    <a:pt x="5800" y="49585"/>
                    <a:pt x="6440" y="49787"/>
                    <a:pt x="7080" y="49854"/>
                  </a:cubicBezTo>
                  <a:cubicBezTo>
                    <a:pt x="11765" y="50461"/>
                    <a:pt x="15877" y="44630"/>
                    <a:pt x="17866" y="41125"/>
                  </a:cubicBezTo>
                  <a:cubicBezTo>
                    <a:pt x="19012" y="39102"/>
                    <a:pt x="19888" y="37013"/>
                    <a:pt x="20663" y="34822"/>
                  </a:cubicBezTo>
                  <a:cubicBezTo>
                    <a:pt x="21843" y="33372"/>
                    <a:pt x="23191" y="31990"/>
                    <a:pt x="24371" y="30541"/>
                  </a:cubicBezTo>
                  <a:cubicBezTo>
                    <a:pt x="28045" y="25991"/>
                    <a:pt x="29595" y="21609"/>
                    <a:pt x="29393" y="15745"/>
                  </a:cubicBezTo>
                  <a:cubicBezTo>
                    <a:pt x="29359" y="12105"/>
                    <a:pt x="31146" y="7217"/>
                    <a:pt x="29460" y="3779"/>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sp>
          <p:nvSpPr>
            <p:cNvPr id="255" name="Freeform: Shape 254">
              <a:extLst>
                <a:ext uri="{FF2B5EF4-FFF2-40B4-BE49-F238E27FC236}">
                  <a16:creationId xmlns:a16="http://schemas.microsoft.com/office/drawing/2014/main" id="{08116ACD-8974-4A6C-8C62-F1ED7BA1A4FC}"/>
                </a:ext>
              </a:extLst>
            </p:cNvPr>
            <p:cNvSpPr/>
            <p:nvPr/>
          </p:nvSpPr>
          <p:spPr>
            <a:xfrm>
              <a:off x="1943051" y="2920781"/>
              <a:ext cx="35852" cy="36805"/>
            </a:xfrm>
            <a:custGeom>
              <a:avLst/>
              <a:gdLst>
                <a:gd name="connsiteX0" fmla="*/ 31705 w 35852"/>
                <a:gd name="connsiteY0" fmla="*/ 19629 h 36805"/>
                <a:gd name="connsiteX1" fmla="*/ 15797 w 35852"/>
                <a:gd name="connsiteY1" fmla="*/ 2541 h 36805"/>
                <a:gd name="connsiteX2" fmla="*/ 11381 w 35852"/>
                <a:gd name="connsiteY2" fmla="*/ 1361 h 36805"/>
                <a:gd name="connsiteX3" fmla="*/ 8820 w 35852"/>
                <a:gd name="connsiteY3" fmla="*/ 249 h 36805"/>
                <a:gd name="connsiteX4" fmla="*/ 2685 w 35852"/>
                <a:gd name="connsiteY4" fmla="*/ 3721 h 36805"/>
                <a:gd name="connsiteX5" fmla="*/ 2483 w 35852"/>
                <a:gd name="connsiteY5" fmla="*/ 5136 h 36805"/>
                <a:gd name="connsiteX6" fmla="*/ 697 w 35852"/>
                <a:gd name="connsiteY6" fmla="*/ 7664 h 36805"/>
                <a:gd name="connsiteX7" fmla="*/ 7640 w 35852"/>
                <a:gd name="connsiteY7" fmla="*/ 25427 h 36805"/>
                <a:gd name="connsiteX8" fmla="*/ 22133 w 35852"/>
                <a:gd name="connsiteY8" fmla="*/ 34796 h 36805"/>
                <a:gd name="connsiteX9" fmla="*/ 24863 w 35852"/>
                <a:gd name="connsiteY9" fmla="*/ 36178 h 36805"/>
                <a:gd name="connsiteX10" fmla="*/ 35851 w 35852"/>
                <a:gd name="connsiteY10" fmla="*/ 28831 h 36805"/>
                <a:gd name="connsiteX11" fmla="*/ 31705 w 35852"/>
                <a:gd name="connsiteY11" fmla="*/ 19629 h 36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852" h="36805">
                  <a:moveTo>
                    <a:pt x="31705" y="19629"/>
                  </a:moveTo>
                  <a:cubicBezTo>
                    <a:pt x="29548" y="12484"/>
                    <a:pt x="20953" y="5170"/>
                    <a:pt x="15797" y="2541"/>
                  </a:cubicBezTo>
                  <a:cubicBezTo>
                    <a:pt x="14415" y="1833"/>
                    <a:pt x="12898" y="1462"/>
                    <a:pt x="11381" y="1361"/>
                  </a:cubicBezTo>
                  <a:cubicBezTo>
                    <a:pt x="10539" y="990"/>
                    <a:pt x="9696" y="620"/>
                    <a:pt x="8820" y="249"/>
                  </a:cubicBezTo>
                  <a:cubicBezTo>
                    <a:pt x="6494" y="-728"/>
                    <a:pt x="3124" y="1327"/>
                    <a:pt x="2685" y="3721"/>
                  </a:cubicBezTo>
                  <a:cubicBezTo>
                    <a:pt x="2584" y="4192"/>
                    <a:pt x="2550" y="4664"/>
                    <a:pt x="2483" y="5136"/>
                  </a:cubicBezTo>
                  <a:cubicBezTo>
                    <a:pt x="1708" y="5810"/>
                    <a:pt x="1067" y="6686"/>
                    <a:pt x="697" y="7664"/>
                  </a:cubicBezTo>
                  <a:cubicBezTo>
                    <a:pt x="-1932" y="14102"/>
                    <a:pt x="3427" y="21112"/>
                    <a:pt x="7640" y="25427"/>
                  </a:cubicBezTo>
                  <a:cubicBezTo>
                    <a:pt x="11415" y="29269"/>
                    <a:pt x="16572" y="33583"/>
                    <a:pt x="22133" y="34796"/>
                  </a:cubicBezTo>
                  <a:cubicBezTo>
                    <a:pt x="23043" y="35336"/>
                    <a:pt x="23953" y="35841"/>
                    <a:pt x="24863" y="36178"/>
                  </a:cubicBezTo>
                  <a:cubicBezTo>
                    <a:pt x="30391" y="38268"/>
                    <a:pt x="35817" y="34965"/>
                    <a:pt x="35851" y="28831"/>
                  </a:cubicBezTo>
                  <a:cubicBezTo>
                    <a:pt x="35918" y="24955"/>
                    <a:pt x="33997" y="22191"/>
                    <a:pt x="31705" y="19629"/>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sp>
          <p:nvSpPr>
            <p:cNvPr id="256" name="Freeform: Shape 255">
              <a:extLst>
                <a:ext uri="{FF2B5EF4-FFF2-40B4-BE49-F238E27FC236}">
                  <a16:creationId xmlns:a16="http://schemas.microsoft.com/office/drawing/2014/main" id="{CE752468-6291-4142-B199-DDBC6AF61D94}"/>
                </a:ext>
              </a:extLst>
            </p:cNvPr>
            <p:cNvSpPr/>
            <p:nvPr/>
          </p:nvSpPr>
          <p:spPr>
            <a:xfrm>
              <a:off x="1756588" y="2848321"/>
              <a:ext cx="42497" cy="17761"/>
            </a:xfrm>
            <a:custGeom>
              <a:avLst/>
              <a:gdLst>
                <a:gd name="connsiteX0" fmla="*/ 39835 w 42497"/>
                <a:gd name="connsiteY0" fmla="*/ 6378 h 17761"/>
                <a:gd name="connsiteX1" fmla="*/ 32521 w 42497"/>
                <a:gd name="connsiteY1" fmla="*/ 3716 h 17761"/>
                <a:gd name="connsiteX2" fmla="*/ 23589 w 42497"/>
                <a:gd name="connsiteY2" fmla="*/ 311 h 17761"/>
                <a:gd name="connsiteX3" fmla="*/ 22005 w 42497"/>
                <a:gd name="connsiteY3" fmla="*/ 8 h 17761"/>
                <a:gd name="connsiteX4" fmla="*/ 1310 w 42497"/>
                <a:gd name="connsiteY4" fmla="*/ 13894 h 17761"/>
                <a:gd name="connsiteX5" fmla="*/ 42498 w 42497"/>
                <a:gd name="connsiteY5" fmla="*/ 10490 h 17761"/>
                <a:gd name="connsiteX6" fmla="*/ 39835 w 42497"/>
                <a:gd name="connsiteY6" fmla="*/ 6378 h 17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497" h="17761">
                  <a:moveTo>
                    <a:pt x="39835" y="6378"/>
                  </a:moveTo>
                  <a:cubicBezTo>
                    <a:pt x="37981" y="4761"/>
                    <a:pt x="35487" y="3951"/>
                    <a:pt x="32521" y="3716"/>
                  </a:cubicBezTo>
                  <a:cubicBezTo>
                    <a:pt x="30229" y="1626"/>
                    <a:pt x="26859" y="716"/>
                    <a:pt x="23589" y="311"/>
                  </a:cubicBezTo>
                  <a:cubicBezTo>
                    <a:pt x="23117" y="143"/>
                    <a:pt x="22578" y="42"/>
                    <a:pt x="22005" y="8"/>
                  </a:cubicBezTo>
                  <a:cubicBezTo>
                    <a:pt x="16376" y="-194"/>
                    <a:pt x="-5532" y="3412"/>
                    <a:pt x="1310" y="13894"/>
                  </a:cubicBezTo>
                  <a:cubicBezTo>
                    <a:pt x="6905" y="22489"/>
                    <a:pt x="37206" y="14670"/>
                    <a:pt x="42498" y="10490"/>
                  </a:cubicBezTo>
                  <a:cubicBezTo>
                    <a:pt x="41925" y="8738"/>
                    <a:pt x="41015" y="7389"/>
                    <a:pt x="39835" y="6378"/>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sp>
          <p:nvSpPr>
            <p:cNvPr id="257" name="Freeform: Shape 256">
              <a:extLst>
                <a:ext uri="{FF2B5EF4-FFF2-40B4-BE49-F238E27FC236}">
                  <a16:creationId xmlns:a16="http://schemas.microsoft.com/office/drawing/2014/main" id="{8EC13DAC-FD08-4C13-A7E4-CE303BF40B16}"/>
                </a:ext>
              </a:extLst>
            </p:cNvPr>
            <p:cNvSpPr/>
            <p:nvPr/>
          </p:nvSpPr>
          <p:spPr>
            <a:xfrm>
              <a:off x="1870979" y="3208345"/>
              <a:ext cx="35787" cy="40016"/>
            </a:xfrm>
            <a:custGeom>
              <a:avLst/>
              <a:gdLst>
                <a:gd name="connsiteX0" fmla="*/ 1887 w 35787"/>
                <a:gd name="connsiteY0" fmla="*/ 4166 h 40016"/>
                <a:gd name="connsiteX1" fmla="*/ 10954 w 35787"/>
                <a:gd name="connsiteY1" fmla="*/ 11378 h 40016"/>
                <a:gd name="connsiteX2" fmla="*/ 17392 w 35787"/>
                <a:gd name="connsiteY2" fmla="*/ 19569 h 40016"/>
                <a:gd name="connsiteX3" fmla="*/ 33031 w 35787"/>
                <a:gd name="connsiteY3" fmla="*/ 39353 h 40016"/>
                <a:gd name="connsiteX4" fmla="*/ 35525 w 35787"/>
                <a:gd name="connsiteY4" fmla="*/ 37702 h 40016"/>
                <a:gd name="connsiteX5" fmla="*/ 21133 w 35787"/>
                <a:gd name="connsiteY5" fmla="*/ 18996 h 40016"/>
                <a:gd name="connsiteX6" fmla="*/ 5561 w 35787"/>
                <a:gd name="connsiteY6" fmla="*/ 391 h 40016"/>
                <a:gd name="connsiteX7" fmla="*/ 4112 w 35787"/>
                <a:gd name="connsiteY7" fmla="*/ 87 h 40016"/>
                <a:gd name="connsiteX8" fmla="*/ 977 w 35787"/>
                <a:gd name="connsiteY8" fmla="*/ 1334 h 40016"/>
                <a:gd name="connsiteX9" fmla="*/ 1887 w 35787"/>
                <a:gd name="connsiteY9" fmla="*/ 4166 h 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787" h="40016">
                  <a:moveTo>
                    <a:pt x="1887" y="4166"/>
                  </a:moveTo>
                  <a:cubicBezTo>
                    <a:pt x="6202" y="2480"/>
                    <a:pt x="8696" y="8244"/>
                    <a:pt x="10954" y="11378"/>
                  </a:cubicBezTo>
                  <a:cubicBezTo>
                    <a:pt x="12976" y="14210"/>
                    <a:pt x="14965" y="17075"/>
                    <a:pt x="17392" y="19569"/>
                  </a:cubicBezTo>
                  <a:cubicBezTo>
                    <a:pt x="23391" y="25770"/>
                    <a:pt x="28312" y="32107"/>
                    <a:pt x="33031" y="39353"/>
                  </a:cubicBezTo>
                  <a:cubicBezTo>
                    <a:pt x="34076" y="40971"/>
                    <a:pt x="36603" y="39320"/>
                    <a:pt x="35525" y="37702"/>
                  </a:cubicBezTo>
                  <a:cubicBezTo>
                    <a:pt x="31211" y="31062"/>
                    <a:pt x="26829" y="24523"/>
                    <a:pt x="21133" y="18996"/>
                  </a:cubicBezTo>
                  <a:cubicBezTo>
                    <a:pt x="15268" y="13333"/>
                    <a:pt x="11594" y="5885"/>
                    <a:pt x="5561" y="391"/>
                  </a:cubicBezTo>
                  <a:cubicBezTo>
                    <a:pt x="5191" y="54"/>
                    <a:pt x="4584" y="-115"/>
                    <a:pt x="4112" y="87"/>
                  </a:cubicBezTo>
                  <a:cubicBezTo>
                    <a:pt x="3067" y="492"/>
                    <a:pt x="2022" y="896"/>
                    <a:pt x="977" y="1334"/>
                  </a:cubicBezTo>
                  <a:cubicBezTo>
                    <a:pt x="-809" y="2009"/>
                    <a:pt x="67" y="4873"/>
                    <a:pt x="1887" y="4166"/>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sp>
          <p:nvSpPr>
            <p:cNvPr id="258" name="Freeform: Shape 257">
              <a:extLst>
                <a:ext uri="{FF2B5EF4-FFF2-40B4-BE49-F238E27FC236}">
                  <a16:creationId xmlns:a16="http://schemas.microsoft.com/office/drawing/2014/main" id="{E7A84A0C-4C2B-43D8-A1C8-6B948CCD0881}"/>
                </a:ext>
              </a:extLst>
            </p:cNvPr>
            <p:cNvSpPr/>
            <p:nvPr/>
          </p:nvSpPr>
          <p:spPr>
            <a:xfrm>
              <a:off x="1891288" y="3239257"/>
              <a:ext cx="38278" cy="35458"/>
            </a:xfrm>
            <a:custGeom>
              <a:avLst/>
              <a:gdLst>
                <a:gd name="connsiteX0" fmla="*/ 9014 w 38278"/>
                <a:gd name="connsiteY0" fmla="*/ 35439 h 35458"/>
                <a:gd name="connsiteX1" fmla="*/ 31866 w 38278"/>
                <a:gd name="connsiteY1" fmla="*/ 925 h 35458"/>
                <a:gd name="connsiteX2" fmla="*/ 14 w 38278"/>
                <a:gd name="connsiteY2" fmla="*/ 26811 h 35458"/>
                <a:gd name="connsiteX3" fmla="*/ 9014 w 38278"/>
                <a:gd name="connsiteY3" fmla="*/ 35439 h 35458"/>
              </a:gdLst>
              <a:ahLst/>
              <a:cxnLst>
                <a:cxn ang="0">
                  <a:pos x="connsiteX0" y="connsiteY0"/>
                </a:cxn>
                <a:cxn ang="0">
                  <a:pos x="connsiteX1" y="connsiteY1"/>
                </a:cxn>
                <a:cxn ang="0">
                  <a:pos x="connsiteX2" y="connsiteY2"/>
                </a:cxn>
                <a:cxn ang="0">
                  <a:pos x="connsiteX3" y="connsiteY3"/>
                </a:cxn>
              </a:cxnLst>
              <a:rect l="l" t="t" r="r" b="b"/>
              <a:pathLst>
                <a:path w="38278" h="35458">
                  <a:moveTo>
                    <a:pt x="9014" y="35439"/>
                  </a:moveTo>
                  <a:cubicBezTo>
                    <a:pt x="20945" y="33114"/>
                    <a:pt x="51482" y="9621"/>
                    <a:pt x="31866" y="925"/>
                  </a:cubicBezTo>
                  <a:cubicBezTo>
                    <a:pt x="18856" y="-4804"/>
                    <a:pt x="4025" y="17576"/>
                    <a:pt x="14" y="26811"/>
                  </a:cubicBezTo>
                  <a:cubicBezTo>
                    <a:pt x="-356" y="27687"/>
                    <a:pt x="6486" y="35911"/>
                    <a:pt x="9014" y="35439"/>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sp>
          <p:nvSpPr>
            <p:cNvPr id="259" name="Freeform: Shape 258">
              <a:extLst>
                <a:ext uri="{FF2B5EF4-FFF2-40B4-BE49-F238E27FC236}">
                  <a16:creationId xmlns:a16="http://schemas.microsoft.com/office/drawing/2014/main" id="{5EECF5D8-E9D7-4F47-8E74-897AE8D08DD4}"/>
                </a:ext>
              </a:extLst>
            </p:cNvPr>
            <p:cNvSpPr/>
            <p:nvPr/>
          </p:nvSpPr>
          <p:spPr>
            <a:xfrm>
              <a:off x="1587526" y="2867650"/>
              <a:ext cx="59912" cy="44456"/>
            </a:xfrm>
            <a:custGeom>
              <a:avLst/>
              <a:gdLst>
                <a:gd name="connsiteX0" fmla="*/ 57899 w 59912"/>
                <a:gd name="connsiteY0" fmla="*/ 13743 h 44456"/>
                <a:gd name="connsiteX1" fmla="*/ 59011 w 59912"/>
                <a:gd name="connsiteY1" fmla="*/ 6530 h 44456"/>
                <a:gd name="connsiteX2" fmla="*/ 1645 w 59912"/>
                <a:gd name="connsiteY2" fmla="*/ 29146 h 44456"/>
                <a:gd name="connsiteX3" fmla="*/ 836 w 59912"/>
                <a:gd name="connsiteY3" fmla="*/ 38718 h 44456"/>
                <a:gd name="connsiteX4" fmla="*/ 6499 w 59912"/>
                <a:gd name="connsiteY4" fmla="*/ 42392 h 44456"/>
                <a:gd name="connsiteX5" fmla="*/ 11285 w 59912"/>
                <a:gd name="connsiteY5" fmla="*/ 44448 h 44456"/>
                <a:gd name="connsiteX6" fmla="*/ 54360 w 59912"/>
                <a:gd name="connsiteY6" fmla="*/ 21967 h 44456"/>
                <a:gd name="connsiteX7" fmla="*/ 57899 w 59912"/>
                <a:gd name="connsiteY7" fmla="*/ 13743 h 44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912" h="44456">
                  <a:moveTo>
                    <a:pt x="57899" y="13743"/>
                  </a:moveTo>
                  <a:cubicBezTo>
                    <a:pt x="59786" y="11620"/>
                    <a:pt x="60730" y="9260"/>
                    <a:pt x="59011" y="6530"/>
                  </a:cubicBezTo>
                  <a:cubicBezTo>
                    <a:pt x="46473" y="-13187"/>
                    <a:pt x="9263" y="16878"/>
                    <a:pt x="1645" y="29146"/>
                  </a:cubicBezTo>
                  <a:cubicBezTo>
                    <a:pt x="-74" y="31910"/>
                    <a:pt x="-613" y="35045"/>
                    <a:pt x="836" y="38718"/>
                  </a:cubicBezTo>
                  <a:cubicBezTo>
                    <a:pt x="1679" y="40808"/>
                    <a:pt x="3803" y="42325"/>
                    <a:pt x="6499" y="42392"/>
                  </a:cubicBezTo>
                  <a:cubicBezTo>
                    <a:pt x="7611" y="43673"/>
                    <a:pt x="9364" y="44549"/>
                    <a:pt x="11285" y="44448"/>
                  </a:cubicBezTo>
                  <a:cubicBezTo>
                    <a:pt x="25508" y="43841"/>
                    <a:pt x="44653" y="32382"/>
                    <a:pt x="54360" y="21967"/>
                  </a:cubicBezTo>
                  <a:cubicBezTo>
                    <a:pt x="56787" y="19372"/>
                    <a:pt x="58404" y="16541"/>
                    <a:pt x="57899" y="13743"/>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sp>
          <p:nvSpPr>
            <p:cNvPr id="260" name="Freeform: Shape 259">
              <a:extLst>
                <a:ext uri="{FF2B5EF4-FFF2-40B4-BE49-F238E27FC236}">
                  <a16:creationId xmlns:a16="http://schemas.microsoft.com/office/drawing/2014/main" id="{831712D3-B900-4386-9886-D37C9D91D620}"/>
                </a:ext>
              </a:extLst>
            </p:cNvPr>
            <p:cNvSpPr/>
            <p:nvPr/>
          </p:nvSpPr>
          <p:spPr>
            <a:xfrm>
              <a:off x="1528262" y="3041781"/>
              <a:ext cx="28380" cy="53958"/>
            </a:xfrm>
            <a:custGeom>
              <a:avLst/>
              <a:gdLst>
                <a:gd name="connsiteX0" fmla="*/ 27002 w 28380"/>
                <a:gd name="connsiteY0" fmla="*/ 12687 h 53958"/>
                <a:gd name="connsiteX1" fmla="*/ 16284 w 28380"/>
                <a:gd name="connsiteY1" fmla="*/ 81 h 53958"/>
                <a:gd name="connsiteX2" fmla="*/ 13453 w 28380"/>
                <a:gd name="connsiteY2" fmla="*/ 182 h 53958"/>
                <a:gd name="connsiteX3" fmla="*/ 4589 w 28380"/>
                <a:gd name="connsiteY3" fmla="*/ 4901 h 53958"/>
                <a:gd name="connsiteX4" fmla="*/ 2196 w 28380"/>
                <a:gd name="connsiteY4" fmla="*/ 12619 h 53958"/>
                <a:gd name="connsiteX5" fmla="*/ 1589 w 28380"/>
                <a:gd name="connsiteY5" fmla="*/ 18551 h 53958"/>
                <a:gd name="connsiteX6" fmla="*/ 1420 w 28380"/>
                <a:gd name="connsiteY6" fmla="*/ 19798 h 53958"/>
                <a:gd name="connsiteX7" fmla="*/ 72 w 28380"/>
                <a:gd name="connsiteY7" fmla="*/ 36347 h 53958"/>
                <a:gd name="connsiteX8" fmla="*/ 5903 w 28380"/>
                <a:gd name="connsiteY8" fmla="*/ 50773 h 53958"/>
                <a:gd name="connsiteX9" fmla="*/ 21913 w 28380"/>
                <a:gd name="connsiteY9" fmla="*/ 51144 h 53958"/>
                <a:gd name="connsiteX10" fmla="*/ 27508 w 28380"/>
                <a:gd name="connsiteY10" fmla="*/ 35235 h 53958"/>
                <a:gd name="connsiteX11" fmla="*/ 27002 w 28380"/>
                <a:gd name="connsiteY11" fmla="*/ 12687 h 53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380" h="53958">
                  <a:moveTo>
                    <a:pt x="27002" y="12687"/>
                  </a:moveTo>
                  <a:cubicBezTo>
                    <a:pt x="25553" y="7462"/>
                    <a:pt x="22216" y="991"/>
                    <a:pt x="16284" y="81"/>
                  </a:cubicBezTo>
                  <a:cubicBezTo>
                    <a:pt x="15273" y="-54"/>
                    <a:pt x="14329" y="-20"/>
                    <a:pt x="13453" y="182"/>
                  </a:cubicBezTo>
                  <a:cubicBezTo>
                    <a:pt x="9981" y="148"/>
                    <a:pt x="6510" y="1733"/>
                    <a:pt x="4589" y="4901"/>
                  </a:cubicBezTo>
                  <a:cubicBezTo>
                    <a:pt x="3139" y="7260"/>
                    <a:pt x="2533" y="9923"/>
                    <a:pt x="2196" y="12619"/>
                  </a:cubicBezTo>
                  <a:cubicBezTo>
                    <a:pt x="1656" y="14540"/>
                    <a:pt x="1555" y="16529"/>
                    <a:pt x="1589" y="18551"/>
                  </a:cubicBezTo>
                  <a:cubicBezTo>
                    <a:pt x="1555" y="18956"/>
                    <a:pt x="1488" y="19360"/>
                    <a:pt x="1420" y="19798"/>
                  </a:cubicBezTo>
                  <a:cubicBezTo>
                    <a:pt x="645" y="25258"/>
                    <a:pt x="-265" y="30786"/>
                    <a:pt x="72" y="36347"/>
                  </a:cubicBezTo>
                  <a:cubicBezTo>
                    <a:pt x="409" y="41639"/>
                    <a:pt x="1690" y="47167"/>
                    <a:pt x="5903" y="50773"/>
                  </a:cubicBezTo>
                  <a:cubicBezTo>
                    <a:pt x="10251" y="54514"/>
                    <a:pt x="17565" y="55357"/>
                    <a:pt x="21913" y="51144"/>
                  </a:cubicBezTo>
                  <a:cubicBezTo>
                    <a:pt x="26126" y="47065"/>
                    <a:pt x="26665" y="40695"/>
                    <a:pt x="27508" y="35235"/>
                  </a:cubicBezTo>
                  <a:cubicBezTo>
                    <a:pt x="28553" y="28123"/>
                    <a:pt x="28957" y="19697"/>
                    <a:pt x="27002" y="12687"/>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sp>
          <p:nvSpPr>
            <p:cNvPr id="261" name="Freeform: Shape 260">
              <a:extLst>
                <a:ext uri="{FF2B5EF4-FFF2-40B4-BE49-F238E27FC236}">
                  <a16:creationId xmlns:a16="http://schemas.microsoft.com/office/drawing/2014/main" id="{B551EDC0-161A-4A13-9B38-3224C9EC3AD7}"/>
                </a:ext>
              </a:extLst>
            </p:cNvPr>
            <p:cNvSpPr/>
            <p:nvPr/>
          </p:nvSpPr>
          <p:spPr>
            <a:xfrm>
              <a:off x="1552574" y="3212892"/>
              <a:ext cx="45582" cy="47749"/>
            </a:xfrm>
            <a:custGeom>
              <a:avLst/>
              <a:gdLst>
                <a:gd name="connsiteX0" fmla="*/ 45395 w 45582"/>
                <a:gd name="connsiteY0" fmla="*/ 37267 h 47749"/>
                <a:gd name="connsiteX1" fmla="*/ 45226 w 45582"/>
                <a:gd name="connsiteY1" fmla="*/ 36120 h 47749"/>
                <a:gd name="connsiteX2" fmla="*/ 36058 w 45582"/>
                <a:gd name="connsiteY2" fmla="*/ 20481 h 47749"/>
                <a:gd name="connsiteX3" fmla="*/ 16678 w 45582"/>
                <a:gd name="connsiteY3" fmla="*/ 3730 h 47749"/>
                <a:gd name="connsiteX4" fmla="*/ 3061 w 45582"/>
                <a:gd name="connsiteY4" fmla="*/ 1607 h 47749"/>
                <a:gd name="connsiteX5" fmla="*/ 6567 w 45582"/>
                <a:gd name="connsiteY5" fmla="*/ 20852 h 47749"/>
                <a:gd name="connsiteX6" fmla="*/ 27632 w 45582"/>
                <a:gd name="connsiteY6" fmla="*/ 44109 h 47749"/>
                <a:gd name="connsiteX7" fmla="*/ 42698 w 45582"/>
                <a:gd name="connsiteY7" fmla="*/ 45794 h 47749"/>
                <a:gd name="connsiteX8" fmla="*/ 45395 w 45582"/>
                <a:gd name="connsiteY8" fmla="*/ 37267 h 47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582" h="47749">
                  <a:moveTo>
                    <a:pt x="45395" y="37267"/>
                  </a:moveTo>
                  <a:cubicBezTo>
                    <a:pt x="45361" y="36896"/>
                    <a:pt x="45294" y="36491"/>
                    <a:pt x="45226" y="36120"/>
                  </a:cubicBezTo>
                  <a:cubicBezTo>
                    <a:pt x="45833" y="30087"/>
                    <a:pt x="40979" y="24762"/>
                    <a:pt x="36058" y="20481"/>
                  </a:cubicBezTo>
                  <a:cubicBezTo>
                    <a:pt x="31070" y="12999"/>
                    <a:pt x="25273" y="5955"/>
                    <a:pt x="16678" y="3730"/>
                  </a:cubicBezTo>
                  <a:cubicBezTo>
                    <a:pt x="12836" y="832"/>
                    <a:pt x="7443" y="-1798"/>
                    <a:pt x="3061" y="1607"/>
                  </a:cubicBezTo>
                  <a:cubicBezTo>
                    <a:pt x="-3646" y="6865"/>
                    <a:pt x="2118" y="15459"/>
                    <a:pt x="6567" y="20852"/>
                  </a:cubicBezTo>
                  <a:cubicBezTo>
                    <a:pt x="10342" y="30795"/>
                    <a:pt x="19375" y="37940"/>
                    <a:pt x="27632" y="44109"/>
                  </a:cubicBezTo>
                  <a:cubicBezTo>
                    <a:pt x="31913" y="47311"/>
                    <a:pt x="38013" y="49535"/>
                    <a:pt x="42698" y="45794"/>
                  </a:cubicBezTo>
                  <a:cubicBezTo>
                    <a:pt x="45395" y="43637"/>
                    <a:pt x="45934" y="40401"/>
                    <a:pt x="45395" y="37267"/>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sp>
          <p:nvSpPr>
            <p:cNvPr id="262" name="Freeform: Shape 261">
              <a:extLst>
                <a:ext uri="{FF2B5EF4-FFF2-40B4-BE49-F238E27FC236}">
                  <a16:creationId xmlns:a16="http://schemas.microsoft.com/office/drawing/2014/main" id="{7929A886-55BB-4BF8-B36F-6768676917D0}"/>
                </a:ext>
              </a:extLst>
            </p:cNvPr>
            <p:cNvSpPr/>
            <p:nvPr/>
          </p:nvSpPr>
          <p:spPr>
            <a:xfrm>
              <a:off x="1717805" y="3336752"/>
              <a:ext cx="63586" cy="29148"/>
            </a:xfrm>
            <a:custGeom>
              <a:avLst/>
              <a:gdLst>
                <a:gd name="connsiteX0" fmla="*/ 61665 w 63586"/>
                <a:gd name="connsiteY0" fmla="*/ 9297 h 29148"/>
                <a:gd name="connsiteX1" fmla="*/ 48351 w 63586"/>
                <a:gd name="connsiteY1" fmla="*/ 2219 h 29148"/>
                <a:gd name="connsiteX2" fmla="*/ 33454 w 63586"/>
                <a:gd name="connsiteY2" fmla="*/ 736 h 29148"/>
                <a:gd name="connsiteX3" fmla="*/ 9726 w 63586"/>
                <a:gd name="connsiteY3" fmla="*/ 1309 h 29148"/>
                <a:gd name="connsiteX4" fmla="*/ 7130 w 63586"/>
                <a:gd name="connsiteY4" fmla="*/ 3096 h 29148"/>
                <a:gd name="connsiteX5" fmla="*/ 1030 w 63586"/>
                <a:gd name="connsiteY5" fmla="*/ 8455 h 29148"/>
                <a:gd name="connsiteX6" fmla="*/ 558 w 63586"/>
                <a:gd name="connsiteY6" fmla="*/ 15229 h 29148"/>
                <a:gd name="connsiteX7" fmla="*/ 1097 w 63586"/>
                <a:gd name="connsiteY7" fmla="*/ 17151 h 29148"/>
                <a:gd name="connsiteX8" fmla="*/ 14073 w 63586"/>
                <a:gd name="connsiteY8" fmla="*/ 26689 h 29148"/>
                <a:gd name="connsiteX9" fmla="*/ 34094 w 63586"/>
                <a:gd name="connsiteY9" fmla="*/ 28914 h 29148"/>
                <a:gd name="connsiteX10" fmla="*/ 42285 w 63586"/>
                <a:gd name="connsiteY10" fmla="*/ 26723 h 29148"/>
                <a:gd name="connsiteX11" fmla="*/ 43970 w 63586"/>
                <a:gd name="connsiteY11" fmla="*/ 26655 h 29148"/>
                <a:gd name="connsiteX12" fmla="*/ 55834 w 63586"/>
                <a:gd name="connsiteY12" fmla="*/ 23319 h 29148"/>
                <a:gd name="connsiteX13" fmla="*/ 61665 w 63586"/>
                <a:gd name="connsiteY13" fmla="*/ 9297 h 29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3586" h="29148">
                  <a:moveTo>
                    <a:pt x="61665" y="9297"/>
                  </a:moveTo>
                  <a:cubicBezTo>
                    <a:pt x="58665" y="5118"/>
                    <a:pt x="53171" y="3298"/>
                    <a:pt x="48351" y="2219"/>
                  </a:cubicBezTo>
                  <a:cubicBezTo>
                    <a:pt x="43430" y="1141"/>
                    <a:pt x="38476" y="871"/>
                    <a:pt x="33454" y="736"/>
                  </a:cubicBezTo>
                  <a:cubicBezTo>
                    <a:pt x="25533" y="534"/>
                    <a:pt x="17444" y="-1117"/>
                    <a:pt x="9726" y="1309"/>
                  </a:cubicBezTo>
                  <a:cubicBezTo>
                    <a:pt x="8681" y="1646"/>
                    <a:pt x="7771" y="2287"/>
                    <a:pt x="7130" y="3096"/>
                  </a:cubicBezTo>
                  <a:cubicBezTo>
                    <a:pt x="4535" y="4309"/>
                    <a:pt x="2277" y="5994"/>
                    <a:pt x="1030" y="8455"/>
                  </a:cubicBezTo>
                  <a:cubicBezTo>
                    <a:pt x="-251" y="10915"/>
                    <a:pt x="-251" y="13173"/>
                    <a:pt x="558" y="15229"/>
                  </a:cubicBezTo>
                  <a:cubicBezTo>
                    <a:pt x="693" y="15870"/>
                    <a:pt x="861" y="16510"/>
                    <a:pt x="1097" y="17151"/>
                  </a:cubicBezTo>
                  <a:cubicBezTo>
                    <a:pt x="3288" y="22779"/>
                    <a:pt x="8512" y="25442"/>
                    <a:pt x="14073" y="26689"/>
                  </a:cubicBezTo>
                  <a:cubicBezTo>
                    <a:pt x="20511" y="28172"/>
                    <a:pt x="27488" y="29756"/>
                    <a:pt x="34094" y="28914"/>
                  </a:cubicBezTo>
                  <a:cubicBezTo>
                    <a:pt x="36925" y="28543"/>
                    <a:pt x="39588" y="27666"/>
                    <a:pt x="42285" y="26723"/>
                  </a:cubicBezTo>
                  <a:cubicBezTo>
                    <a:pt x="42857" y="26689"/>
                    <a:pt x="43430" y="26689"/>
                    <a:pt x="43970" y="26655"/>
                  </a:cubicBezTo>
                  <a:cubicBezTo>
                    <a:pt x="47846" y="26554"/>
                    <a:pt x="52362" y="25577"/>
                    <a:pt x="55834" y="23319"/>
                  </a:cubicBezTo>
                  <a:cubicBezTo>
                    <a:pt x="62440" y="21195"/>
                    <a:pt x="66046" y="15398"/>
                    <a:pt x="61665" y="9297"/>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sp>
          <p:nvSpPr>
            <p:cNvPr id="263" name="Freeform: Shape 262">
              <a:extLst>
                <a:ext uri="{FF2B5EF4-FFF2-40B4-BE49-F238E27FC236}">
                  <a16:creationId xmlns:a16="http://schemas.microsoft.com/office/drawing/2014/main" id="{E6930F29-B560-4F62-AD06-AC59243942E6}"/>
                </a:ext>
              </a:extLst>
            </p:cNvPr>
            <p:cNvSpPr/>
            <p:nvPr/>
          </p:nvSpPr>
          <p:spPr>
            <a:xfrm>
              <a:off x="1685547" y="2952207"/>
              <a:ext cx="40032" cy="37598"/>
            </a:xfrm>
            <a:custGeom>
              <a:avLst/>
              <a:gdLst>
                <a:gd name="connsiteX0" fmla="*/ 33793 w 40032"/>
                <a:gd name="connsiteY0" fmla="*/ 136 h 37598"/>
                <a:gd name="connsiteX1" fmla="*/ 24423 w 40032"/>
                <a:gd name="connsiteY1" fmla="*/ 6337 h 37598"/>
                <a:gd name="connsiteX2" fmla="*/ 15087 w 40032"/>
                <a:gd name="connsiteY2" fmla="*/ 13078 h 37598"/>
                <a:gd name="connsiteX3" fmla="*/ 358 w 40032"/>
                <a:gd name="connsiteY3" fmla="*/ 31582 h 37598"/>
                <a:gd name="connsiteX4" fmla="*/ 9998 w 40032"/>
                <a:gd name="connsiteY4" fmla="*/ 34245 h 37598"/>
                <a:gd name="connsiteX5" fmla="*/ 22637 w 40032"/>
                <a:gd name="connsiteY5" fmla="*/ 20392 h 37598"/>
                <a:gd name="connsiteX6" fmla="*/ 29513 w 40032"/>
                <a:gd name="connsiteY6" fmla="*/ 15505 h 37598"/>
                <a:gd name="connsiteX7" fmla="*/ 36456 w 40032"/>
                <a:gd name="connsiteY7" fmla="*/ 9775 h 37598"/>
                <a:gd name="connsiteX8" fmla="*/ 33793 w 40032"/>
                <a:gd name="connsiteY8" fmla="*/ 136 h 37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032" h="37598">
                  <a:moveTo>
                    <a:pt x="33793" y="136"/>
                  </a:moveTo>
                  <a:cubicBezTo>
                    <a:pt x="29648" y="1046"/>
                    <a:pt x="27187" y="3270"/>
                    <a:pt x="24423" y="6337"/>
                  </a:cubicBezTo>
                  <a:cubicBezTo>
                    <a:pt x="21626" y="9438"/>
                    <a:pt x="18626" y="11022"/>
                    <a:pt x="15087" y="13078"/>
                  </a:cubicBezTo>
                  <a:cubicBezTo>
                    <a:pt x="8279" y="17055"/>
                    <a:pt x="3156" y="24369"/>
                    <a:pt x="358" y="31582"/>
                  </a:cubicBezTo>
                  <a:cubicBezTo>
                    <a:pt x="-1967" y="37582"/>
                    <a:pt x="7706" y="40177"/>
                    <a:pt x="9998" y="34245"/>
                  </a:cubicBezTo>
                  <a:cubicBezTo>
                    <a:pt x="12357" y="28111"/>
                    <a:pt x="17008" y="23459"/>
                    <a:pt x="22637" y="20392"/>
                  </a:cubicBezTo>
                  <a:cubicBezTo>
                    <a:pt x="25131" y="19044"/>
                    <a:pt x="27457" y="17494"/>
                    <a:pt x="29513" y="15505"/>
                  </a:cubicBezTo>
                  <a:cubicBezTo>
                    <a:pt x="31839" y="13314"/>
                    <a:pt x="33187" y="10483"/>
                    <a:pt x="36456" y="9775"/>
                  </a:cubicBezTo>
                  <a:cubicBezTo>
                    <a:pt x="42725" y="8360"/>
                    <a:pt x="40063" y="-1246"/>
                    <a:pt x="33793" y="136"/>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sp>
          <p:nvSpPr>
            <p:cNvPr id="264" name="Freeform: Shape 263">
              <a:extLst>
                <a:ext uri="{FF2B5EF4-FFF2-40B4-BE49-F238E27FC236}">
                  <a16:creationId xmlns:a16="http://schemas.microsoft.com/office/drawing/2014/main" id="{0648A1AD-9476-45BD-B946-39E931DF80CF}"/>
                </a:ext>
              </a:extLst>
            </p:cNvPr>
            <p:cNvSpPr/>
            <p:nvPr/>
          </p:nvSpPr>
          <p:spPr>
            <a:xfrm>
              <a:off x="1641042" y="3010232"/>
              <a:ext cx="32845" cy="119635"/>
            </a:xfrm>
            <a:custGeom>
              <a:avLst/>
              <a:gdLst>
                <a:gd name="connsiteX0" fmla="*/ 24168 w 32845"/>
                <a:gd name="connsiteY0" fmla="*/ 1296 h 119635"/>
                <a:gd name="connsiteX1" fmla="*/ 7923 w 32845"/>
                <a:gd name="connsiteY1" fmla="*/ 28631 h 119635"/>
                <a:gd name="connsiteX2" fmla="*/ 2 w 32845"/>
                <a:gd name="connsiteY2" fmla="*/ 66582 h 119635"/>
                <a:gd name="connsiteX3" fmla="*/ 710 w 32845"/>
                <a:gd name="connsiteY3" fmla="*/ 85861 h 119635"/>
                <a:gd name="connsiteX4" fmla="*/ 2799 w 32845"/>
                <a:gd name="connsiteY4" fmla="*/ 102916 h 119635"/>
                <a:gd name="connsiteX5" fmla="*/ 13686 w 32845"/>
                <a:gd name="connsiteY5" fmla="*/ 119634 h 119635"/>
                <a:gd name="connsiteX6" fmla="*/ 13686 w 32845"/>
                <a:gd name="connsiteY6" fmla="*/ 109657 h 119635"/>
                <a:gd name="connsiteX7" fmla="*/ 13585 w 32845"/>
                <a:gd name="connsiteY7" fmla="*/ 109657 h 119635"/>
                <a:gd name="connsiteX8" fmla="*/ 13180 w 32845"/>
                <a:gd name="connsiteY8" fmla="*/ 108174 h 119635"/>
                <a:gd name="connsiteX9" fmla="*/ 12810 w 32845"/>
                <a:gd name="connsiteY9" fmla="*/ 104197 h 119635"/>
                <a:gd name="connsiteX10" fmla="*/ 11697 w 32845"/>
                <a:gd name="connsiteY10" fmla="*/ 93512 h 119635"/>
                <a:gd name="connsiteX11" fmla="*/ 10147 w 32845"/>
                <a:gd name="connsiteY11" fmla="*/ 61392 h 119635"/>
                <a:gd name="connsiteX12" fmla="*/ 17731 w 32845"/>
                <a:gd name="connsiteY12" fmla="*/ 30922 h 119635"/>
                <a:gd name="connsiteX13" fmla="*/ 31179 w 32845"/>
                <a:gd name="connsiteY13" fmla="*/ 8408 h 119635"/>
                <a:gd name="connsiteX14" fmla="*/ 24168 w 32845"/>
                <a:gd name="connsiteY14" fmla="*/ 1296 h 119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2845" h="119635">
                  <a:moveTo>
                    <a:pt x="24168" y="1296"/>
                  </a:moveTo>
                  <a:cubicBezTo>
                    <a:pt x="16315" y="8138"/>
                    <a:pt x="11866" y="19227"/>
                    <a:pt x="7923" y="28631"/>
                  </a:cubicBezTo>
                  <a:cubicBezTo>
                    <a:pt x="3035" y="40326"/>
                    <a:pt x="103" y="53909"/>
                    <a:pt x="2" y="66582"/>
                  </a:cubicBezTo>
                  <a:cubicBezTo>
                    <a:pt x="-32" y="73020"/>
                    <a:pt x="406" y="79424"/>
                    <a:pt x="710" y="85861"/>
                  </a:cubicBezTo>
                  <a:cubicBezTo>
                    <a:pt x="979" y="91625"/>
                    <a:pt x="2597" y="97152"/>
                    <a:pt x="2799" y="102916"/>
                  </a:cubicBezTo>
                  <a:cubicBezTo>
                    <a:pt x="3069" y="110163"/>
                    <a:pt x="4383" y="119769"/>
                    <a:pt x="13686" y="119634"/>
                  </a:cubicBezTo>
                  <a:cubicBezTo>
                    <a:pt x="20090" y="119533"/>
                    <a:pt x="20124" y="109556"/>
                    <a:pt x="13686" y="109657"/>
                  </a:cubicBezTo>
                  <a:cubicBezTo>
                    <a:pt x="13652" y="109657"/>
                    <a:pt x="13619" y="109657"/>
                    <a:pt x="13585" y="109657"/>
                  </a:cubicBezTo>
                  <a:cubicBezTo>
                    <a:pt x="13349" y="109219"/>
                    <a:pt x="13248" y="108578"/>
                    <a:pt x="13180" y="108174"/>
                  </a:cubicBezTo>
                  <a:cubicBezTo>
                    <a:pt x="12978" y="106859"/>
                    <a:pt x="12843" y="105545"/>
                    <a:pt x="12810" y="104197"/>
                  </a:cubicBezTo>
                  <a:cubicBezTo>
                    <a:pt x="12675" y="100590"/>
                    <a:pt x="12371" y="97085"/>
                    <a:pt x="11697" y="93512"/>
                  </a:cubicBezTo>
                  <a:cubicBezTo>
                    <a:pt x="9776" y="83266"/>
                    <a:pt x="9406" y="71773"/>
                    <a:pt x="10147" y="61392"/>
                  </a:cubicBezTo>
                  <a:cubicBezTo>
                    <a:pt x="10855" y="51348"/>
                    <a:pt x="13484" y="40090"/>
                    <a:pt x="17731" y="30922"/>
                  </a:cubicBezTo>
                  <a:cubicBezTo>
                    <a:pt x="21303" y="23204"/>
                    <a:pt x="24640" y="14104"/>
                    <a:pt x="31179" y="8408"/>
                  </a:cubicBezTo>
                  <a:cubicBezTo>
                    <a:pt x="36100" y="4127"/>
                    <a:pt x="29022" y="-2917"/>
                    <a:pt x="24168" y="1296"/>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grpSp>
      <p:grpSp>
        <p:nvGrpSpPr>
          <p:cNvPr id="265" name="Graphic 6">
            <a:extLst>
              <a:ext uri="{FF2B5EF4-FFF2-40B4-BE49-F238E27FC236}">
                <a16:creationId xmlns:a16="http://schemas.microsoft.com/office/drawing/2014/main" id="{51D6F4BB-E553-4BB1-84E6-37499D523463}"/>
              </a:ext>
            </a:extLst>
          </p:cNvPr>
          <p:cNvGrpSpPr/>
          <p:nvPr/>
        </p:nvGrpSpPr>
        <p:grpSpPr>
          <a:xfrm>
            <a:off x="2888220" y="1210726"/>
            <a:ext cx="513547" cy="537140"/>
            <a:chOff x="2888220" y="1210726"/>
            <a:chExt cx="513547" cy="537140"/>
          </a:xfrm>
          <a:solidFill>
            <a:srgbClr val="DAE3F3"/>
          </a:solidFill>
        </p:grpSpPr>
        <p:sp>
          <p:nvSpPr>
            <p:cNvPr id="266" name="Freeform: Shape 265">
              <a:extLst>
                <a:ext uri="{FF2B5EF4-FFF2-40B4-BE49-F238E27FC236}">
                  <a16:creationId xmlns:a16="http://schemas.microsoft.com/office/drawing/2014/main" id="{582D7365-A7BE-4DA7-95C3-973BF6027245}"/>
                </a:ext>
              </a:extLst>
            </p:cNvPr>
            <p:cNvSpPr/>
            <p:nvPr/>
          </p:nvSpPr>
          <p:spPr>
            <a:xfrm rot="-2700000">
              <a:off x="2963427" y="1285934"/>
              <a:ext cx="363133" cy="363133"/>
            </a:xfrm>
            <a:custGeom>
              <a:avLst/>
              <a:gdLst>
                <a:gd name="connsiteX0" fmla="*/ 363133 w 363133"/>
                <a:gd name="connsiteY0" fmla="*/ 181567 h 363133"/>
                <a:gd name="connsiteX1" fmla="*/ 181566 w 363133"/>
                <a:gd name="connsiteY1" fmla="*/ 363133 h 363133"/>
                <a:gd name="connsiteX2" fmla="*/ 0 w 363133"/>
                <a:gd name="connsiteY2" fmla="*/ 181567 h 363133"/>
                <a:gd name="connsiteX3" fmla="*/ 181566 w 363133"/>
                <a:gd name="connsiteY3" fmla="*/ 0 h 363133"/>
                <a:gd name="connsiteX4" fmla="*/ 363133 w 363133"/>
                <a:gd name="connsiteY4" fmla="*/ 181567 h 363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3133" h="363133">
                  <a:moveTo>
                    <a:pt x="363133" y="181567"/>
                  </a:moveTo>
                  <a:cubicBezTo>
                    <a:pt x="363133" y="281843"/>
                    <a:pt x="281843" y="363133"/>
                    <a:pt x="181566" y="363133"/>
                  </a:cubicBezTo>
                  <a:cubicBezTo>
                    <a:pt x="81290" y="363133"/>
                    <a:pt x="0" y="281843"/>
                    <a:pt x="0" y="181567"/>
                  </a:cubicBezTo>
                  <a:cubicBezTo>
                    <a:pt x="0" y="81290"/>
                    <a:pt x="81290" y="0"/>
                    <a:pt x="181566" y="0"/>
                  </a:cubicBezTo>
                  <a:cubicBezTo>
                    <a:pt x="281843" y="0"/>
                    <a:pt x="363133" y="81290"/>
                    <a:pt x="363133" y="181567"/>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sp>
          <p:nvSpPr>
            <p:cNvPr id="267" name="Freeform: Shape 266">
              <a:extLst>
                <a:ext uri="{FF2B5EF4-FFF2-40B4-BE49-F238E27FC236}">
                  <a16:creationId xmlns:a16="http://schemas.microsoft.com/office/drawing/2014/main" id="{1A7E5F6B-C4E6-445A-BBC0-2B32197E199F}"/>
                </a:ext>
              </a:extLst>
            </p:cNvPr>
            <p:cNvSpPr/>
            <p:nvPr/>
          </p:nvSpPr>
          <p:spPr>
            <a:xfrm>
              <a:off x="3294517" y="1370977"/>
              <a:ext cx="67175" cy="44666"/>
            </a:xfrm>
            <a:custGeom>
              <a:avLst/>
              <a:gdLst>
                <a:gd name="connsiteX0" fmla="*/ 65982 w 67175"/>
                <a:gd name="connsiteY0" fmla="*/ 32 h 44666"/>
                <a:gd name="connsiteX1" fmla="*/ 30727 w 67175"/>
                <a:gd name="connsiteY1" fmla="*/ 20795 h 44666"/>
                <a:gd name="connsiteX2" fmla="*/ 13942 w 67175"/>
                <a:gd name="connsiteY2" fmla="*/ 30839 h 44666"/>
                <a:gd name="connsiteX3" fmla="*/ 156 w 67175"/>
                <a:gd name="connsiteY3" fmla="*/ 43208 h 44666"/>
                <a:gd name="connsiteX4" fmla="*/ 1841 w 67175"/>
                <a:gd name="connsiteY4" fmla="*/ 44085 h 44666"/>
                <a:gd name="connsiteX5" fmla="*/ 16638 w 67175"/>
                <a:gd name="connsiteY5" fmla="*/ 31614 h 44666"/>
                <a:gd name="connsiteX6" fmla="*/ 32547 w 67175"/>
                <a:gd name="connsiteY6" fmla="*/ 21839 h 44666"/>
                <a:gd name="connsiteX7" fmla="*/ 66454 w 67175"/>
                <a:gd name="connsiteY7" fmla="*/ 1987 h 44666"/>
                <a:gd name="connsiteX8" fmla="*/ 65982 w 67175"/>
                <a:gd name="connsiteY8" fmla="*/ 32 h 44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175" h="44666">
                  <a:moveTo>
                    <a:pt x="65982" y="32"/>
                  </a:moveTo>
                  <a:cubicBezTo>
                    <a:pt x="52567" y="3605"/>
                    <a:pt x="41984" y="12200"/>
                    <a:pt x="30727" y="20795"/>
                  </a:cubicBezTo>
                  <a:cubicBezTo>
                    <a:pt x="25401" y="24873"/>
                    <a:pt x="19671" y="27670"/>
                    <a:pt x="13942" y="30839"/>
                  </a:cubicBezTo>
                  <a:cubicBezTo>
                    <a:pt x="8515" y="33838"/>
                    <a:pt x="3324" y="37411"/>
                    <a:pt x="156" y="43208"/>
                  </a:cubicBezTo>
                  <a:cubicBezTo>
                    <a:pt x="-518" y="44422"/>
                    <a:pt x="1167" y="45298"/>
                    <a:pt x="1841" y="44085"/>
                  </a:cubicBezTo>
                  <a:cubicBezTo>
                    <a:pt x="5144" y="38051"/>
                    <a:pt x="11009" y="34614"/>
                    <a:pt x="16638" y="31614"/>
                  </a:cubicBezTo>
                  <a:cubicBezTo>
                    <a:pt x="22199" y="28648"/>
                    <a:pt x="27457" y="25749"/>
                    <a:pt x="32547" y="21839"/>
                  </a:cubicBezTo>
                  <a:cubicBezTo>
                    <a:pt x="43332" y="13548"/>
                    <a:pt x="53578" y="5425"/>
                    <a:pt x="66454" y="1987"/>
                  </a:cubicBezTo>
                  <a:cubicBezTo>
                    <a:pt x="67701" y="1650"/>
                    <a:pt x="67195" y="-271"/>
                    <a:pt x="65982" y="32"/>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sp>
          <p:nvSpPr>
            <p:cNvPr id="268" name="Freeform: Shape 267">
              <a:extLst>
                <a:ext uri="{FF2B5EF4-FFF2-40B4-BE49-F238E27FC236}">
                  <a16:creationId xmlns:a16="http://schemas.microsoft.com/office/drawing/2014/main" id="{7D76D6E6-14E6-4071-9CA1-E46EB6C9B3C6}"/>
                </a:ext>
              </a:extLst>
            </p:cNvPr>
            <p:cNvSpPr/>
            <p:nvPr/>
          </p:nvSpPr>
          <p:spPr>
            <a:xfrm>
              <a:off x="3029984" y="1245508"/>
              <a:ext cx="65454" cy="115498"/>
            </a:xfrm>
            <a:custGeom>
              <a:avLst/>
              <a:gdLst>
                <a:gd name="connsiteX0" fmla="*/ 64280 w 65454"/>
                <a:gd name="connsiteY0" fmla="*/ 112525 h 115498"/>
                <a:gd name="connsiteX1" fmla="*/ 25014 w 65454"/>
                <a:gd name="connsiteY1" fmla="*/ 63687 h 115498"/>
                <a:gd name="connsiteX2" fmla="*/ 13319 w 65454"/>
                <a:gd name="connsiteY2" fmla="*/ 28061 h 115498"/>
                <a:gd name="connsiteX3" fmla="*/ 2735 w 65454"/>
                <a:gd name="connsiteY3" fmla="*/ 726 h 115498"/>
                <a:gd name="connsiteX4" fmla="*/ 208 w 65454"/>
                <a:gd name="connsiteY4" fmla="*/ 2378 h 115498"/>
                <a:gd name="connsiteX5" fmla="*/ 18341 w 65454"/>
                <a:gd name="connsiteY5" fmla="*/ 53710 h 115498"/>
                <a:gd name="connsiteX6" fmla="*/ 42912 w 65454"/>
                <a:gd name="connsiteY6" fmla="*/ 104099 h 115498"/>
                <a:gd name="connsiteX7" fmla="*/ 63640 w 65454"/>
                <a:gd name="connsiteY7" fmla="*/ 115491 h 115498"/>
                <a:gd name="connsiteX8" fmla="*/ 64280 w 65454"/>
                <a:gd name="connsiteY8" fmla="*/ 112525 h 115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454" h="115498">
                  <a:moveTo>
                    <a:pt x="64280" y="112525"/>
                  </a:moveTo>
                  <a:cubicBezTo>
                    <a:pt x="41833" y="110739"/>
                    <a:pt x="31452" y="81416"/>
                    <a:pt x="25014" y="63687"/>
                  </a:cubicBezTo>
                  <a:cubicBezTo>
                    <a:pt x="20734" y="51924"/>
                    <a:pt x="17161" y="39959"/>
                    <a:pt x="13319" y="28061"/>
                  </a:cubicBezTo>
                  <a:cubicBezTo>
                    <a:pt x="10353" y="18792"/>
                    <a:pt x="7420" y="9287"/>
                    <a:pt x="2735" y="726"/>
                  </a:cubicBezTo>
                  <a:cubicBezTo>
                    <a:pt x="1792" y="-993"/>
                    <a:pt x="-736" y="659"/>
                    <a:pt x="208" y="2378"/>
                  </a:cubicBezTo>
                  <a:cubicBezTo>
                    <a:pt x="8836" y="18185"/>
                    <a:pt x="12712" y="36757"/>
                    <a:pt x="18341" y="53710"/>
                  </a:cubicBezTo>
                  <a:cubicBezTo>
                    <a:pt x="24138" y="71102"/>
                    <a:pt x="30474" y="90179"/>
                    <a:pt x="42912" y="104099"/>
                  </a:cubicBezTo>
                  <a:cubicBezTo>
                    <a:pt x="48372" y="110200"/>
                    <a:pt x="55349" y="114817"/>
                    <a:pt x="63640" y="115491"/>
                  </a:cubicBezTo>
                  <a:cubicBezTo>
                    <a:pt x="65561" y="115660"/>
                    <a:pt x="66235" y="112694"/>
                    <a:pt x="64280" y="112525"/>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sp>
          <p:nvSpPr>
            <p:cNvPr id="269" name="Freeform: Shape 268">
              <a:extLst>
                <a:ext uri="{FF2B5EF4-FFF2-40B4-BE49-F238E27FC236}">
                  <a16:creationId xmlns:a16="http://schemas.microsoft.com/office/drawing/2014/main" id="{80A5B5F2-8AE1-4B0A-8569-48C5DD34B965}"/>
                </a:ext>
              </a:extLst>
            </p:cNvPr>
            <p:cNvSpPr/>
            <p:nvPr/>
          </p:nvSpPr>
          <p:spPr>
            <a:xfrm>
              <a:off x="2921243" y="1405828"/>
              <a:ext cx="150024" cy="14097"/>
            </a:xfrm>
            <a:custGeom>
              <a:avLst/>
              <a:gdLst>
                <a:gd name="connsiteX0" fmla="*/ 148484 w 150024"/>
                <a:gd name="connsiteY0" fmla="*/ 6841 h 14097"/>
                <a:gd name="connsiteX1" fmla="*/ 75244 w 150024"/>
                <a:gd name="connsiteY1" fmla="*/ 10481 h 14097"/>
                <a:gd name="connsiteX2" fmla="*/ 1800 w 150024"/>
                <a:gd name="connsiteY2" fmla="*/ 32 h 14097"/>
                <a:gd name="connsiteX3" fmla="*/ 1160 w 150024"/>
                <a:gd name="connsiteY3" fmla="*/ 2998 h 14097"/>
                <a:gd name="connsiteX4" fmla="*/ 73693 w 150024"/>
                <a:gd name="connsiteY4" fmla="*/ 13413 h 14097"/>
                <a:gd name="connsiteX5" fmla="*/ 148653 w 150024"/>
                <a:gd name="connsiteY5" fmla="*/ 9874 h 14097"/>
                <a:gd name="connsiteX6" fmla="*/ 148484 w 150024"/>
                <a:gd name="connsiteY6" fmla="*/ 6841 h 14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0024" h="14097">
                  <a:moveTo>
                    <a:pt x="148484" y="6841"/>
                  </a:moveTo>
                  <a:cubicBezTo>
                    <a:pt x="124250" y="10616"/>
                    <a:pt x="99747" y="11964"/>
                    <a:pt x="75244" y="10481"/>
                  </a:cubicBezTo>
                  <a:cubicBezTo>
                    <a:pt x="50538" y="8998"/>
                    <a:pt x="26068" y="4852"/>
                    <a:pt x="1800" y="32"/>
                  </a:cubicBezTo>
                  <a:cubicBezTo>
                    <a:pt x="-121" y="-338"/>
                    <a:pt x="-761" y="2594"/>
                    <a:pt x="1160" y="2998"/>
                  </a:cubicBezTo>
                  <a:cubicBezTo>
                    <a:pt x="25124" y="7751"/>
                    <a:pt x="49291" y="11829"/>
                    <a:pt x="73693" y="13413"/>
                  </a:cubicBezTo>
                  <a:cubicBezTo>
                    <a:pt x="98769" y="15031"/>
                    <a:pt x="123812" y="13750"/>
                    <a:pt x="148653" y="9874"/>
                  </a:cubicBezTo>
                  <a:cubicBezTo>
                    <a:pt x="150574" y="9571"/>
                    <a:pt x="150439" y="6537"/>
                    <a:pt x="148484" y="6841"/>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sp>
          <p:nvSpPr>
            <p:cNvPr id="270" name="Freeform: Shape 269">
              <a:extLst>
                <a:ext uri="{FF2B5EF4-FFF2-40B4-BE49-F238E27FC236}">
                  <a16:creationId xmlns:a16="http://schemas.microsoft.com/office/drawing/2014/main" id="{FCFC4F61-C03C-42B6-B102-438F35989E65}"/>
                </a:ext>
              </a:extLst>
            </p:cNvPr>
            <p:cNvSpPr/>
            <p:nvPr/>
          </p:nvSpPr>
          <p:spPr>
            <a:xfrm>
              <a:off x="3177611" y="1646604"/>
              <a:ext cx="3009" cy="3048"/>
            </a:xfrm>
            <a:custGeom>
              <a:avLst/>
              <a:gdLst>
                <a:gd name="connsiteX0" fmla="*/ 1825 w 3009"/>
                <a:gd name="connsiteY0" fmla="*/ 44 h 3048"/>
                <a:gd name="connsiteX1" fmla="*/ 1185 w 3009"/>
                <a:gd name="connsiteY1" fmla="*/ 3010 h 3048"/>
                <a:gd name="connsiteX2" fmla="*/ 1825 w 3009"/>
                <a:gd name="connsiteY2" fmla="*/ 44 h 3048"/>
              </a:gdLst>
              <a:ahLst/>
              <a:cxnLst>
                <a:cxn ang="0">
                  <a:pos x="connsiteX0" y="connsiteY0"/>
                </a:cxn>
                <a:cxn ang="0">
                  <a:pos x="connsiteX1" y="connsiteY1"/>
                </a:cxn>
                <a:cxn ang="0">
                  <a:pos x="connsiteX2" y="connsiteY2"/>
                </a:cxn>
              </a:cxnLst>
              <a:rect l="l" t="t" r="r" b="b"/>
              <a:pathLst>
                <a:path w="3009" h="3048">
                  <a:moveTo>
                    <a:pt x="1825" y="44"/>
                  </a:moveTo>
                  <a:cubicBezTo>
                    <a:pt x="-130" y="-394"/>
                    <a:pt x="-770" y="2572"/>
                    <a:pt x="1185" y="3010"/>
                  </a:cubicBezTo>
                  <a:cubicBezTo>
                    <a:pt x="3140" y="3415"/>
                    <a:pt x="3780" y="482"/>
                    <a:pt x="1825" y="44"/>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sp>
          <p:nvSpPr>
            <p:cNvPr id="271" name="Freeform: Shape 270">
              <a:extLst>
                <a:ext uri="{FF2B5EF4-FFF2-40B4-BE49-F238E27FC236}">
                  <a16:creationId xmlns:a16="http://schemas.microsoft.com/office/drawing/2014/main" id="{44AA33D7-41D1-4320-8F37-AC0D51FE987E}"/>
                </a:ext>
              </a:extLst>
            </p:cNvPr>
            <p:cNvSpPr/>
            <p:nvPr/>
          </p:nvSpPr>
          <p:spPr>
            <a:xfrm>
              <a:off x="3062448" y="1589576"/>
              <a:ext cx="59706" cy="150282"/>
            </a:xfrm>
            <a:custGeom>
              <a:avLst/>
              <a:gdLst>
                <a:gd name="connsiteX0" fmla="*/ 58949 w 59706"/>
                <a:gd name="connsiteY0" fmla="*/ 2875 h 150282"/>
                <a:gd name="connsiteX1" fmla="*/ 57500 w 59706"/>
                <a:gd name="connsiteY1" fmla="*/ 212 h 150282"/>
                <a:gd name="connsiteX2" fmla="*/ 26323 w 59706"/>
                <a:gd name="connsiteY2" fmla="*/ 46186 h 150282"/>
                <a:gd name="connsiteX3" fmla="*/ 8021 w 59706"/>
                <a:gd name="connsiteY3" fmla="*/ 115584 h 150282"/>
                <a:gd name="connsiteX4" fmla="*/ 67 w 59706"/>
                <a:gd name="connsiteY4" fmla="*/ 148379 h 150282"/>
                <a:gd name="connsiteX5" fmla="*/ 2965 w 59706"/>
                <a:gd name="connsiteY5" fmla="*/ 149255 h 150282"/>
                <a:gd name="connsiteX6" fmla="*/ 38827 w 59706"/>
                <a:gd name="connsiteY6" fmla="*/ 25390 h 150282"/>
                <a:gd name="connsiteX7" fmla="*/ 58949 w 59706"/>
                <a:gd name="connsiteY7" fmla="*/ 2875 h 150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706" h="150282">
                  <a:moveTo>
                    <a:pt x="58949" y="2875"/>
                  </a:moveTo>
                  <a:cubicBezTo>
                    <a:pt x="60634" y="1897"/>
                    <a:pt x="59219" y="-765"/>
                    <a:pt x="57500" y="212"/>
                  </a:cubicBezTo>
                  <a:cubicBezTo>
                    <a:pt x="41052" y="9649"/>
                    <a:pt x="32524" y="29165"/>
                    <a:pt x="26323" y="46186"/>
                  </a:cubicBezTo>
                  <a:cubicBezTo>
                    <a:pt x="18132" y="68701"/>
                    <a:pt x="13178" y="92260"/>
                    <a:pt x="8021" y="115584"/>
                  </a:cubicBezTo>
                  <a:cubicBezTo>
                    <a:pt x="5594" y="126572"/>
                    <a:pt x="3269" y="137593"/>
                    <a:pt x="67" y="148379"/>
                  </a:cubicBezTo>
                  <a:cubicBezTo>
                    <a:pt x="-473" y="150233"/>
                    <a:pt x="2426" y="151109"/>
                    <a:pt x="2965" y="149255"/>
                  </a:cubicBezTo>
                  <a:cubicBezTo>
                    <a:pt x="15099" y="108304"/>
                    <a:pt x="17795" y="63308"/>
                    <a:pt x="38827" y="25390"/>
                  </a:cubicBezTo>
                  <a:cubicBezTo>
                    <a:pt x="43782" y="16525"/>
                    <a:pt x="50017" y="7998"/>
                    <a:pt x="58949" y="2875"/>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sp>
          <p:nvSpPr>
            <p:cNvPr id="272" name="Freeform: Shape 271">
              <a:extLst>
                <a:ext uri="{FF2B5EF4-FFF2-40B4-BE49-F238E27FC236}">
                  <a16:creationId xmlns:a16="http://schemas.microsoft.com/office/drawing/2014/main" id="{E665D12D-BD60-4335-90EB-284811D02E4F}"/>
                </a:ext>
              </a:extLst>
            </p:cNvPr>
            <p:cNvSpPr/>
            <p:nvPr/>
          </p:nvSpPr>
          <p:spPr>
            <a:xfrm>
              <a:off x="3210128" y="1506262"/>
              <a:ext cx="160701" cy="106362"/>
            </a:xfrm>
            <a:custGeom>
              <a:avLst/>
              <a:gdLst>
                <a:gd name="connsiteX0" fmla="*/ 160079 w 160701"/>
                <a:gd name="connsiteY0" fmla="*/ 103513 h 106362"/>
                <a:gd name="connsiteX1" fmla="*/ 36853 w 160701"/>
                <a:gd name="connsiteY1" fmla="*/ 6105 h 106362"/>
                <a:gd name="connsiteX2" fmla="*/ 1160 w 160701"/>
                <a:gd name="connsiteY2" fmla="*/ 612 h 106362"/>
                <a:gd name="connsiteX3" fmla="*/ 1800 w 160701"/>
                <a:gd name="connsiteY3" fmla="*/ 3578 h 106362"/>
                <a:gd name="connsiteX4" fmla="*/ 68132 w 160701"/>
                <a:gd name="connsiteY4" fmla="*/ 27946 h 106362"/>
                <a:gd name="connsiteX5" fmla="*/ 130216 w 160701"/>
                <a:gd name="connsiteY5" fmla="*/ 82009 h 106362"/>
                <a:gd name="connsiteX6" fmla="*/ 158461 w 160701"/>
                <a:gd name="connsiteY6" fmla="*/ 106074 h 106362"/>
                <a:gd name="connsiteX7" fmla="*/ 160079 w 160701"/>
                <a:gd name="connsiteY7" fmla="*/ 103513 h 106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0701" h="106362">
                  <a:moveTo>
                    <a:pt x="160079" y="103513"/>
                  </a:moveTo>
                  <a:cubicBezTo>
                    <a:pt x="117914" y="72875"/>
                    <a:pt x="86096" y="26699"/>
                    <a:pt x="36853" y="6105"/>
                  </a:cubicBezTo>
                  <a:cubicBezTo>
                    <a:pt x="25562" y="1387"/>
                    <a:pt x="13361" y="-1276"/>
                    <a:pt x="1160" y="612"/>
                  </a:cubicBezTo>
                  <a:cubicBezTo>
                    <a:pt x="-761" y="915"/>
                    <a:pt x="-121" y="3881"/>
                    <a:pt x="1800" y="3578"/>
                  </a:cubicBezTo>
                  <a:cubicBezTo>
                    <a:pt x="25967" y="-164"/>
                    <a:pt x="49459" y="14330"/>
                    <a:pt x="68132" y="27946"/>
                  </a:cubicBezTo>
                  <a:cubicBezTo>
                    <a:pt x="90343" y="44125"/>
                    <a:pt x="110061" y="63438"/>
                    <a:pt x="130216" y="82009"/>
                  </a:cubicBezTo>
                  <a:cubicBezTo>
                    <a:pt x="139283" y="90368"/>
                    <a:pt x="148450" y="98794"/>
                    <a:pt x="158461" y="106074"/>
                  </a:cubicBezTo>
                  <a:cubicBezTo>
                    <a:pt x="159977" y="107220"/>
                    <a:pt x="161629" y="104659"/>
                    <a:pt x="160079" y="103513"/>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sp>
          <p:nvSpPr>
            <p:cNvPr id="273" name="Freeform: Shape 272">
              <a:extLst>
                <a:ext uri="{FF2B5EF4-FFF2-40B4-BE49-F238E27FC236}">
                  <a16:creationId xmlns:a16="http://schemas.microsoft.com/office/drawing/2014/main" id="{B19EA04C-8B90-46DA-B45F-61131436041A}"/>
                </a:ext>
              </a:extLst>
            </p:cNvPr>
            <p:cNvSpPr/>
            <p:nvPr/>
          </p:nvSpPr>
          <p:spPr>
            <a:xfrm>
              <a:off x="3236730" y="1486472"/>
              <a:ext cx="62186" cy="15754"/>
            </a:xfrm>
            <a:custGeom>
              <a:avLst/>
              <a:gdLst>
                <a:gd name="connsiteX0" fmla="*/ 60977 w 62186"/>
                <a:gd name="connsiteY0" fmla="*/ 12751 h 15754"/>
                <a:gd name="connsiteX1" fmla="*/ 1825 w 62186"/>
                <a:gd name="connsiteY1" fmla="*/ 44 h 15754"/>
                <a:gd name="connsiteX2" fmla="*/ 1185 w 62186"/>
                <a:gd name="connsiteY2" fmla="*/ 3010 h 15754"/>
                <a:gd name="connsiteX3" fmla="*/ 60337 w 62186"/>
                <a:gd name="connsiteY3" fmla="*/ 15717 h 15754"/>
                <a:gd name="connsiteX4" fmla="*/ 60977 w 62186"/>
                <a:gd name="connsiteY4" fmla="*/ 12751 h 157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186" h="15754">
                  <a:moveTo>
                    <a:pt x="60977" y="12751"/>
                  </a:moveTo>
                  <a:lnTo>
                    <a:pt x="1825" y="44"/>
                  </a:lnTo>
                  <a:cubicBezTo>
                    <a:pt x="-130" y="-394"/>
                    <a:pt x="-770" y="2572"/>
                    <a:pt x="1185" y="3010"/>
                  </a:cubicBezTo>
                  <a:lnTo>
                    <a:pt x="60337" y="15717"/>
                  </a:lnTo>
                  <a:cubicBezTo>
                    <a:pt x="62325" y="16121"/>
                    <a:pt x="62966" y="13155"/>
                    <a:pt x="60977" y="12751"/>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sp>
          <p:nvSpPr>
            <p:cNvPr id="274" name="Freeform: Shape 273">
              <a:extLst>
                <a:ext uri="{FF2B5EF4-FFF2-40B4-BE49-F238E27FC236}">
                  <a16:creationId xmlns:a16="http://schemas.microsoft.com/office/drawing/2014/main" id="{D852998D-1C66-4E8F-B80B-7AA6F3992782}"/>
                </a:ext>
              </a:extLst>
            </p:cNvPr>
            <p:cNvSpPr/>
            <p:nvPr/>
          </p:nvSpPr>
          <p:spPr>
            <a:xfrm>
              <a:off x="2917870" y="1534709"/>
              <a:ext cx="87757" cy="59565"/>
            </a:xfrm>
            <a:custGeom>
              <a:avLst/>
              <a:gdLst>
                <a:gd name="connsiteX0" fmla="*/ 84885 w 87757"/>
                <a:gd name="connsiteY0" fmla="*/ 780 h 59565"/>
                <a:gd name="connsiteX1" fmla="*/ 66550 w 87757"/>
                <a:gd name="connsiteY1" fmla="*/ 10790 h 59565"/>
                <a:gd name="connsiteX2" fmla="*/ 42383 w 87757"/>
                <a:gd name="connsiteY2" fmla="*/ 26362 h 59565"/>
                <a:gd name="connsiteX3" fmla="*/ 387 w 87757"/>
                <a:gd name="connsiteY3" fmla="*/ 55786 h 59565"/>
                <a:gd name="connsiteX4" fmla="*/ 791 w 87757"/>
                <a:gd name="connsiteY4" fmla="*/ 58146 h 59565"/>
                <a:gd name="connsiteX5" fmla="*/ 3252 w 87757"/>
                <a:gd name="connsiteY5" fmla="*/ 59393 h 59565"/>
                <a:gd name="connsiteX6" fmla="*/ 4634 w 87757"/>
                <a:gd name="connsiteY6" fmla="*/ 56696 h 59565"/>
                <a:gd name="connsiteX7" fmla="*/ 3993 w 87757"/>
                <a:gd name="connsiteY7" fmla="*/ 56393 h 59565"/>
                <a:gd name="connsiteX8" fmla="*/ 23879 w 87757"/>
                <a:gd name="connsiteY8" fmla="*/ 41833 h 59565"/>
                <a:gd name="connsiteX9" fmla="*/ 48753 w 87757"/>
                <a:gd name="connsiteY9" fmla="*/ 25688 h 59565"/>
                <a:gd name="connsiteX10" fmla="*/ 72987 w 87757"/>
                <a:gd name="connsiteY10" fmla="*/ 11229 h 59565"/>
                <a:gd name="connsiteX11" fmla="*/ 87548 w 87757"/>
                <a:gd name="connsiteY11" fmla="*/ 2196 h 59565"/>
                <a:gd name="connsiteX12" fmla="*/ 84885 w 87757"/>
                <a:gd name="connsiteY12" fmla="*/ 780 h 59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7757" h="59565">
                  <a:moveTo>
                    <a:pt x="84885" y="780"/>
                  </a:moveTo>
                  <a:cubicBezTo>
                    <a:pt x="81683" y="6577"/>
                    <a:pt x="72043" y="7925"/>
                    <a:pt x="66550" y="10790"/>
                  </a:cubicBezTo>
                  <a:cubicBezTo>
                    <a:pt x="58090" y="15239"/>
                    <a:pt x="50337" y="21070"/>
                    <a:pt x="42383" y="26362"/>
                  </a:cubicBezTo>
                  <a:cubicBezTo>
                    <a:pt x="28497" y="35665"/>
                    <a:pt x="11745" y="43282"/>
                    <a:pt x="387" y="55786"/>
                  </a:cubicBezTo>
                  <a:cubicBezTo>
                    <a:pt x="-254" y="56494"/>
                    <a:pt x="-85" y="57708"/>
                    <a:pt x="791" y="58146"/>
                  </a:cubicBezTo>
                  <a:cubicBezTo>
                    <a:pt x="1600" y="58550"/>
                    <a:pt x="2409" y="58955"/>
                    <a:pt x="3252" y="59393"/>
                  </a:cubicBezTo>
                  <a:cubicBezTo>
                    <a:pt x="5004" y="60269"/>
                    <a:pt x="6386" y="57573"/>
                    <a:pt x="4634" y="56696"/>
                  </a:cubicBezTo>
                  <a:cubicBezTo>
                    <a:pt x="4431" y="56595"/>
                    <a:pt x="4229" y="56494"/>
                    <a:pt x="3993" y="56393"/>
                  </a:cubicBezTo>
                  <a:cubicBezTo>
                    <a:pt x="9790" y="50528"/>
                    <a:pt x="16936" y="46181"/>
                    <a:pt x="23879" y="41833"/>
                  </a:cubicBezTo>
                  <a:cubicBezTo>
                    <a:pt x="32238" y="36575"/>
                    <a:pt x="40630" y="31317"/>
                    <a:pt x="48753" y="25688"/>
                  </a:cubicBezTo>
                  <a:cubicBezTo>
                    <a:pt x="56404" y="20363"/>
                    <a:pt x="64325" y="14768"/>
                    <a:pt x="72987" y="11229"/>
                  </a:cubicBezTo>
                  <a:cubicBezTo>
                    <a:pt x="78009" y="9173"/>
                    <a:pt x="84750" y="7285"/>
                    <a:pt x="87548" y="2196"/>
                  </a:cubicBezTo>
                  <a:cubicBezTo>
                    <a:pt x="88525" y="477"/>
                    <a:pt x="85829" y="-939"/>
                    <a:pt x="84885" y="780"/>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sp>
          <p:nvSpPr>
            <p:cNvPr id="275" name="Freeform: Shape 274">
              <a:extLst>
                <a:ext uri="{FF2B5EF4-FFF2-40B4-BE49-F238E27FC236}">
                  <a16:creationId xmlns:a16="http://schemas.microsoft.com/office/drawing/2014/main" id="{BCD14404-035F-4086-AD0C-6684C440F669}"/>
                </a:ext>
              </a:extLst>
            </p:cNvPr>
            <p:cNvSpPr/>
            <p:nvPr/>
          </p:nvSpPr>
          <p:spPr>
            <a:xfrm>
              <a:off x="3188575" y="1258210"/>
              <a:ext cx="8459" cy="51943"/>
            </a:xfrm>
            <a:custGeom>
              <a:avLst/>
              <a:gdLst>
                <a:gd name="connsiteX0" fmla="*/ 5354 w 8459"/>
                <a:gd name="connsiteY0" fmla="*/ 49131 h 51943"/>
                <a:gd name="connsiteX1" fmla="*/ 4074 w 8459"/>
                <a:gd name="connsiteY1" fmla="*/ 37503 h 51943"/>
                <a:gd name="connsiteX2" fmla="*/ 5354 w 8459"/>
                <a:gd name="connsiteY2" fmla="*/ 27054 h 51943"/>
                <a:gd name="connsiteX3" fmla="*/ 8422 w 8459"/>
                <a:gd name="connsiteY3" fmla="*/ 1776 h 51943"/>
                <a:gd name="connsiteX4" fmla="*/ 5456 w 8459"/>
                <a:gd name="connsiteY4" fmla="*/ 1135 h 51943"/>
                <a:gd name="connsiteX5" fmla="*/ 2287 w 8459"/>
                <a:gd name="connsiteY5" fmla="*/ 24763 h 51943"/>
                <a:gd name="connsiteX6" fmla="*/ 29 w 8459"/>
                <a:gd name="connsiteY6" fmla="*/ 49165 h 51943"/>
                <a:gd name="connsiteX7" fmla="*/ 838 w 8459"/>
                <a:gd name="connsiteY7" fmla="*/ 50412 h 51943"/>
                <a:gd name="connsiteX8" fmla="*/ 3973 w 8459"/>
                <a:gd name="connsiteY8" fmla="*/ 51794 h 51943"/>
                <a:gd name="connsiteX9" fmla="*/ 5354 w 8459"/>
                <a:gd name="connsiteY9" fmla="*/ 49131 h 51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59" h="51943">
                  <a:moveTo>
                    <a:pt x="5354" y="49131"/>
                  </a:moveTo>
                  <a:cubicBezTo>
                    <a:pt x="1074" y="47244"/>
                    <a:pt x="3433" y="41345"/>
                    <a:pt x="4074" y="37503"/>
                  </a:cubicBezTo>
                  <a:cubicBezTo>
                    <a:pt x="4647" y="34031"/>
                    <a:pt x="5287" y="30560"/>
                    <a:pt x="5354" y="27054"/>
                  </a:cubicBezTo>
                  <a:cubicBezTo>
                    <a:pt x="5523" y="18325"/>
                    <a:pt x="6568" y="10303"/>
                    <a:pt x="8422" y="1776"/>
                  </a:cubicBezTo>
                  <a:cubicBezTo>
                    <a:pt x="8826" y="-112"/>
                    <a:pt x="5860" y="-752"/>
                    <a:pt x="5456" y="1135"/>
                  </a:cubicBezTo>
                  <a:cubicBezTo>
                    <a:pt x="3770" y="8955"/>
                    <a:pt x="2186" y="16741"/>
                    <a:pt x="2287" y="24763"/>
                  </a:cubicBezTo>
                  <a:cubicBezTo>
                    <a:pt x="2388" y="32987"/>
                    <a:pt x="-308" y="40907"/>
                    <a:pt x="29" y="49165"/>
                  </a:cubicBezTo>
                  <a:cubicBezTo>
                    <a:pt x="63" y="49670"/>
                    <a:pt x="366" y="50210"/>
                    <a:pt x="838" y="50412"/>
                  </a:cubicBezTo>
                  <a:cubicBezTo>
                    <a:pt x="1883" y="50884"/>
                    <a:pt x="2928" y="51322"/>
                    <a:pt x="3973" y="51794"/>
                  </a:cubicBezTo>
                  <a:cubicBezTo>
                    <a:pt x="5725" y="52603"/>
                    <a:pt x="7141" y="49906"/>
                    <a:pt x="5354" y="49131"/>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sp>
          <p:nvSpPr>
            <p:cNvPr id="276" name="Freeform: Shape 275">
              <a:extLst>
                <a:ext uri="{FF2B5EF4-FFF2-40B4-BE49-F238E27FC236}">
                  <a16:creationId xmlns:a16="http://schemas.microsoft.com/office/drawing/2014/main" id="{D0FBFEFF-1B76-4464-A9E8-943886FD3AFF}"/>
                </a:ext>
              </a:extLst>
            </p:cNvPr>
            <p:cNvSpPr/>
            <p:nvPr/>
          </p:nvSpPr>
          <p:spPr>
            <a:xfrm>
              <a:off x="3352310" y="1581489"/>
              <a:ext cx="37233" cy="46221"/>
            </a:xfrm>
            <a:custGeom>
              <a:avLst/>
              <a:gdLst>
                <a:gd name="connsiteX0" fmla="*/ 37041 w 37233"/>
                <a:gd name="connsiteY0" fmla="*/ 5131 h 46221"/>
                <a:gd name="connsiteX1" fmla="*/ 25042 w 37233"/>
                <a:gd name="connsiteY1" fmla="*/ 1086 h 46221"/>
                <a:gd name="connsiteX2" fmla="*/ 20255 w 37233"/>
                <a:gd name="connsiteY2" fmla="*/ 3715 h 46221"/>
                <a:gd name="connsiteX3" fmla="*/ 19919 w 37233"/>
                <a:gd name="connsiteY3" fmla="*/ 3985 h 46221"/>
                <a:gd name="connsiteX4" fmla="*/ 5864 w 37233"/>
                <a:gd name="connsiteY4" fmla="*/ 21444 h 46221"/>
                <a:gd name="connsiteX5" fmla="*/ 167 w 37233"/>
                <a:gd name="connsiteY5" fmla="*/ 36409 h 46221"/>
                <a:gd name="connsiteX6" fmla="*/ 3504 w 37233"/>
                <a:gd name="connsiteY6" fmla="*/ 44936 h 46221"/>
                <a:gd name="connsiteX7" fmla="*/ 5257 w 37233"/>
                <a:gd name="connsiteY7" fmla="*/ 45914 h 46221"/>
                <a:gd name="connsiteX8" fmla="*/ 17761 w 37233"/>
                <a:gd name="connsiteY8" fmla="*/ 39577 h 46221"/>
                <a:gd name="connsiteX9" fmla="*/ 21873 w 37233"/>
                <a:gd name="connsiteY9" fmla="*/ 33948 h 46221"/>
                <a:gd name="connsiteX10" fmla="*/ 26424 w 37233"/>
                <a:gd name="connsiteY10" fmla="*/ 30510 h 46221"/>
                <a:gd name="connsiteX11" fmla="*/ 34546 w 37233"/>
                <a:gd name="connsiteY11" fmla="*/ 16961 h 46221"/>
                <a:gd name="connsiteX12" fmla="*/ 37041 w 37233"/>
                <a:gd name="connsiteY12" fmla="*/ 5131 h 46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233" h="46221">
                  <a:moveTo>
                    <a:pt x="37041" y="5131"/>
                  </a:moveTo>
                  <a:cubicBezTo>
                    <a:pt x="35558" y="-801"/>
                    <a:pt x="29862" y="-734"/>
                    <a:pt x="25042" y="1086"/>
                  </a:cubicBezTo>
                  <a:cubicBezTo>
                    <a:pt x="23222" y="1389"/>
                    <a:pt x="21570" y="2367"/>
                    <a:pt x="20255" y="3715"/>
                  </a:cubicBezTo>
                  <a:cubicBezTo>
                    <a:pt x="20154" y="3816"/>
                    <a:pt x="20020" y="3884"/>
                    <a:pt x="19919" y="3985"/>
                  </a:cubicBezTo>
                  <a:cubicBezTo>
                    <a:pt x="14189" y="8636"/>
                    <a:pt x="9504" y="15107"/>
                    <a:pt x="5864" y="21444"/>
                  </a:cubicBezTo>
                  <a:cubicBezTo>
                    <a:pt x="3437" y="25724"/>
                    <a:pt x="437" y="31117"/>
                    <a:pt x="167" y="36409"/>
                  </a:cubicBezTo>
                  <a:cubicBezTo>
                    <a:pt x="-372" y="39577"/>
                    <a:pt x="302" y="42712"/>
                    <a:pt x="3504" y="44936"/>
                  </a:cubicBezTo>
                  <a:cubicBezTo>
                    <a:pt x="4043" y="45341"/>
                    <a:pt x="4616" y="45678"/>
                    <a:pt x="5257" y="45914"/>
                  </a:cubicBezTo>
                  <a:cubicBezTo>
                    <a:pt x="9773" y="47498"/>
                    <a:pt x="15065" y="42611"/>
                    <a:pt x="17761" y="39577"/>
                  </a:cubicBezTo>
                  <a:cubicBezTo>
                    <a:pt x="19312" y="37824"/>
                    <a:pt x="20660" y="35937"/>
                    <a:pt x="21873" y="33948"/>
                  </a:cubicBezTo>
                  <a:cubicBezTo>
                    <a:pt x="23356" y="32769"/>
                    <a:pt x="24974" y="31690"/>
                    <a:pt x="26424" y="30510"/>
                  </a:cubicBezTo>
                  <a:cubicBezTo>
                    <a:pt x="31007" y="26803"/>
                    <a:pt x="33468" y="22792"/>
                    <a:pt x="34546" y="16961"/>
                  </a:cubicBezTo>
                  <a:cubicBezTo>
                    <a:pt x="35187" y="13321"/>
                    <a:pt x="37984" y="8872"/>
                    <a:pt x="37041" y="5131"/>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sp>
          <p:nvSpPr>
            <p:cNvPr id="277" name="Freeform: Shape 276">
              <a:extLst>
                <a:ext uri="{FF2B5EF4-FFF2-40B4-BE49-F238E27FC236}">
                  <a16:creationId xmlns:a16="http://schemas.microsoft.com/office/drawing/2014/main" id="{5EE82451-32F3-4036-8EBA-6F0B262B9960}"/>
                </a:ext>
              </a:extLst>
            </p:cNvPr>
            <p:cNvSpPr/>
            <p:nvPr/>
          </p:nvSpPr>
          <p:spPr>
            <a:xfrm>
              <a:off x="3345734" y="1350241"/>
              <a:ext cx="32253" cy="41057"/>
            </a:xfrm>
            <a:custGeom>
              <a:avLst/>
              <a:gdLst>
                <a:gd name="connsiteX0" fmla="*/ 29797 w 32253"/>
                <a:gd name="connsiteY0" fmla="*/ 24577 h 41057"/>
                <a:gd name="connsiteX1" fmla="*/ 17698 w 32253"/>
                <a:gd name="connsiteY1" fmla="*/ 4354 h 41057"/>
                <a:gd name="connsiteX2" fmla="*/ 13585 w 32253"/>
                <a:gd name="connsiteY2" fmla="*/ 2265 h 41057"/>
                <a:gd name="connsiteX3" fmla="*/ 11294 w 32253"/>
                <a:gd name="connsiteY3" fmla="*/ 613 h 41057"/>
                <a:gd name="connsiteX4" fmla="*/ 4485 w 32253"/>
                <a:gd name="connsiteY4" fmla="*/ 2770 h 41057"/>
                <a:gd name="connsiteX5" fmla="*/ 3980 w 32253"/>
                <a:gd name="connsiteY5" fmla="*/ 4119 h 41057"/>
                <a:gd name="connsiteX6" fmla="*/ 1688 w 32253"/>
                <a:gd name="connsiteY6" fmla="*/ 6242 h 41057"/>
                <a:gd name="connsiteX7" fmla="*/ 4788 w 32253"/>
                <a:gd name="connsiteY7" fmla="*/ 25252 h 41057"/>
                <a:gd name="connsiteX8" fmla="*/ 17124 w 32253"/>
                <a:gd name="connsiteY8" fmla="*/ 37587 h 41057"/>
                <a:gd name="connsiteX9" fmla="*/ 19551 w 32253"/>
                <a:gd name="connsiteY9" fmla="*/ 39542 h 41057"/>
                <a:gd name="connsiteX10" fmla="*/ 31988 w 32253"/>
                <a:gd name="connsiteY10" fmla="*/ 34621 h 41057"/>
                <a:gd name="connsiteX11" fmla="*/ 29797 w 32253"/>
                <a:gd name="connsiteY11" fmla="*/ 24577 h 41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253" h="41057">
                  <a:moveTo>
                    <a:pt x="29797" y="24577"/>
                  </a:moveTo>
                  <a:cubicBezTo>
                    <a:pt x="29191" y="17061"/>
                    <a:pt x="22248" y="7995"/>
                    <a:pt x="17698" y="4354"/>
                  </a:cubicBezTo>
                  <a:cubicBezTo>
                    <a:pt x="16484" y="3377"/>
                    <a:pt x="15068" y="2669"/>
                    <a:pt x="13585" y="2265"/>
                  </a:cubicBezTo>
                  <a:cubicBezTo>
                    <a:pt x="12844" y="1692"/>
                    <a:pt x="12069" y="1153"/>
                    <a:pt x="11294" y="613"/>
                  </a:cubicBezTo>
                  <a:cubicBezTo>
                    <a:pt x="9204" y="-836"/>
                    <a:pt x="5429" y="445"/>
                    <a:pt x="4485" y="2770"/>
                  </a:cubicBezTo>
                  <a:cubicBezTo>
                    <a:pt x="4317" y="3209"/>
                    <a:pt x="4148" y="3680"/>
                    <a:pt x="3980" y="4119"/>
                  </a:cubicBezTo>
                  <a:cubicBezTo>
                    <a:pt x="3070" y="4624"/>
                    <a:pt x="2261" y="5366"/>
                    <a:pt x="1688" y="6242"/>
                  </a:cubicBezTo>
                  <a:cubicBezTo>
                    <a:pt x="-2256" y="12039"/>
                    <a:pt x="1519" y="20095"/>
                    <a:pt x="4788" y="25252"/>
                  </a:cubicBezTo>
                  <a:cubicBezTo>
                    <a:pt x="7687" y="29835"/>
                    <a:pt x="11900" y="35228"/>
                    <a:pt x="17124" y="37587"/>
                  </a:cubicBezTo>
                  <a:cubicBezTo>
                    <a:pt x="17900" y="38329"/>
                    <a:pt x="18675" y="39003"/>
                    <a:pt x="19551" y="39542"/>
                  </a:cubicBezTo>
                  <a:cubicBezTo>
                    <a:pt x="24573" y="42778"/>
                    <a:pt x="30640" y="40688"/>
                    <a:pt x="31988" y="34621"/>
                  </a:cubicBezTo>
                  <a:cubicBezTo>
                    <a:pt x="32831" y="30712"/>
                    <a:pt x="31550" y="27577"/>
                    <a:pt x="29797" y="24577"/>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sp>
          <p:nvSpPr>
            <p:cNvPr id="278" name="Freeform: Shape 277">
              <a:extLst>
                <a:ext uri="{FF2B5EF4-FFF2-40B4-BE49-F238E27FC236}">
                  <a16:creationId xmlns:a16="http://schemas.microsoft.com/office/drawing/2014/main" id="{F64A1F51-A6FF-4748-AB24-1FF36B13E79F}"/>
                </a:ext>
              </a:extLst>
            </p:cNvPr>
            <p:cNvSpPr/>
            <p:nvPr/>
          </p:nvSpPr>
          <p:spPr>
            <a:xfrm>
              <a:off x="3177389" y="1241426"/>
              <a:ext cx="41987" cy="17712"/>
            </a:xfrm>
            <a:custGeom>
              <a:avLst/>
              <a:gdLst>
                <a:gd name="connsiteX0" fmla="*/ 40269 w 41987"/>
                <a:gd name="connsiteY0" fmla="*/ 10909 h 17712"/>
                <a:gd name="connsiteX1" fmla="*/ 33595 w 41987"/>
                <a:gd name="connsiteY1" fmla="*/ 6729 h 17712"/>
                <a:gd name="connsiteX2" fmla="*/ 25506 w 41987"/>
                <a:gd name="connsiteY2" fmla="*/ 1471 h 17712"/>
                <a:gd name="connsiteX3" fmla="*/ 23989 w 41987"/>
                <a:gd name="connsiteY3" fmla="*/ 831 h 17712"/>
                <a:gd name="connsiteX4" fmla="*/ 598 w 41987"/>
                <a:gd name="connsiteY4" fmla="*/ 10133 h 17712"/>
                <a:gd name="connsiteX5" fmla="*/ 41987 w 41987"/>
                <a:gd name="connsiteY5" fmla="*/ 15526 h 17712"/>
                <a:gd name="connsiteX6" fmla="*/ 40269 w 41987"/>
                <a:gd name="connsiteY6" fmla="*/ 10909 h 17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87" h="17712">
                  <a:moveTo>
                    <a:pt x="40269" y="10909"/>
                  </a:moveTo>
                  <a:cubicBezTo>
                    <a:pt x="38786" y="8920"/>
                    <a:pt x="36494" y="7606"/>
                    <a:pt x="33595" y="6729"/>
                  </a:cubicBezTo>
                  <a:cubicBezTo>
                    <a:pt x="31775" y="4201"/>
                    <a:pt x="28640" y="2584"/>
                    <a:pt x="25506" y="1471"/>
                  </a:cubicBezTo>
                  <a:cubicBezTo>
                    <a:pt x="25068" y="1202"/>
                    <a:pt x="24562" y="999"/>
                    <a:pt x="23989" y="831"/>
                  </a:cubicBezTo>
                  <a:cubicBezTo>
                    <a:pt x="18461" y="-551"/>
                    <a:pt x="-3919" y="-1663"/>
                    <a:pt x="598" y="10133"/>
                  </a:cubicBezTo>
                  <a:cubicBezTo>
                    <a:pt x="4305" y="19807"/>
                    <a:pt x="35887" y="18526"/>
                    <a:pt x="41987" y="15526"/>
                  </a:cubicBezTo>
                  <a:cubicBezTo>
                    <a:pt x="41819" y="13706"/>
                    <a:pt x="41212" y="12189"/>
                    <a:pt x="40269" y="10909"/>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sp>
          <p:nvSpPr>
            <p:cNvPr id="279" name="Freeform: Shape 278">
              <a:extLst>
                <a:ext uri="{FF2B5EF4-FFF2-40B4-BE49-F238E27FC236}">
                  <a16:creationId xmlns:a16="http://schemas.microsoft.com/office/drawing/2014/main" id="{8E842842-61B5-42B9-828C-369481BC8546}"/>
                </a:ext>
              </a:extLst>
            </p:cNvPr>
            <p:cNvSpPr/>
            <p:nvPr/>
          </p:nvSpPr>
          <p:spPr>
            <a:xfrm>
              <a:off x="3215637" y="1618316"/>
              <a:ext cx="27808" cy="45853"/>
            </a:xfrm>
            <a:custGeom>
              <a:avLst/>
              <a:gdLst>
                <a:gd name="connsiteX0" fmla="*/ 1583 w 27808"/>
                <a:gd name="connsiteY0" fmla="*/ 3559 h 45853"/>
                <a:gd name="connsiteX1" fmla="*/ 8998 w 27808"/>
                <a:gd name="connsiteY1" fmla="*/ 12592 h 45853"/>
                <a:gd name="connsiteX2" fmla="*/ 13616 w 27808"/>
                <a:gd name="connsiteY2" fmla="*/ 22063 h 45853"/>
                <a:gd name="connsiteX3" fmla="*/ 24873 w 27808"/>
                <a:gd name="connsiteY3" fmla="*/ 44915 h 45853"/>
                <a:gd name="connsiteX4" fmla="*/ 27704 w 27808"/>
                <a:gd name="connsiteY4" fmla="*/ 43836 h 45853"/>
                <a:gd name="connsiteX5" fmla="*/ 17458 w 27808"/>
                <a:gd name="connsiteY5" fmla="*/ 22299 h 45853"/>
                <a:gd name="connsiteX6" fmla="*/ 6032 w 27808"/>
                <a:gd name="connsiteY6" fmla="*/ 626 h 45853"/>
                <a:gd name="connsiteX7" fmla="*/ 4684 w 27808"/>
                <a:gd name="connsiteY7" fmla="*/ 20 h 45853"/>
                <a:gd name="connsiteX8" fmla="*/ 1313 w 27808"/>
                <a:gd name="connsiteY8" fmla="*/ 559 h 45853"/>
                <a:gd name="connsiteX9" fmla="*/ 1583 w 27808"/>
                <a:gd name="connsiteY9" fmla="*/ 3559 h 45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808" h="45853">
                  <a:moveTo>
                    <a:pt x="1583" y="3559"/>
                  </a:moveTo>
                  <a:cubicBezTo>
                    <a:pt x="6200" y="2783"/>
                    <a:pt x="7447" y="9019"/>
                    <a:pt x="8998" y="12592"/>
                  </a:cubicBezTo>
                  <a:cubicBezTo>
                    <a:pt x="10413" y="15827"/>
                    <a:pt x="11762" y="19063"/>
                    <a:pt x="13616" y="22063"/>
                  </a:cubicBezTo>
                  <a:cubicBezTo>
                    <a:pt x="18233" y="29444"/>
                    <a:pt x="21738" y="36758"/>
                    <a:pt x="24873" y="44915"/>
                  </a:cubicBezTo>
                  <a:cubicBezTo>
                    <a:pt x="25581" y="46735"/>
                    <a:pt x="28378" y="45656"/>
                    <a:pt x="27704" y="43836"/>
                  </a:cubicBezTo>
                  <a:cubicBezTo>
                    <a:pt x="24839" y="36353"/>
                    <a:pt x="21941" y="28972"/>
                    <a:pt x="17458" y="22299"/>
                  </a:cubicBezTo>
                  <a:cubicBezTo>
                    <a:pt x="12874" y="15456"/>
                    <a:pt x="10818" y="7334"/>
                    <a:pt x="6032" y="626"/>
                  </a:cubicBezTo>
                  <a:cubicBezTo>
                    <a:pt x="5728" y="222"/>
                    <a:pt x="5156" y="-82"/>
                    <a:pt x="4684" y="20"/>
                  </a:cubicBezTo>
                  <a:cubicBezTo>
                    <a:pt x="3571" y="188"/>
                    <a:pt x="2425" y="390"/>
                    <a:pt x="1313" y="559"/>
                  </a:cubicBezTo>
                  <a:cubicBezTo>
                    <a:pt x="-608" y="862"/>
                    <a:pt x="-338" y="3862"/>
                    <a:pt x="1583" y="3559"/>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sp>
          <p:nvSpPr>
            <p:cNvPr id="280" name="Freeform: Shape 279">
              <a:extLst>
                <a:ext uri="{FF2B5EF4-FFF2-40B4-BE49-F238E27FC236}">
                  <a16:creationId xmlns:a16="http://schemas.microsoft.com/office/drawing/2014/main" id="{358C7257-982F-43C0-A858-07569297D0FC}"/>
                </a:ext>
              </a:extLst>
            </p:cNvPr>
            <p:cNvSpPr/>
            <p:nvPr/>
          </p:nvSpPr>
          <p:spPr>
            <a:xfrm>
              <a:off x="3224050" y="1657747"/>
              <a:ext cx="41777" cy="31337"/>
            </a:xfrm>
            <a:custGeom>
              <a:avLst/>
              <a:gdLst>
                <a:gd name="connsiteX0" fmla="*/ 7090 w 41777"/>
                <a:gd name="connsiteY0" fmla="*/ 31335 h 31337"/>
                <a:gd name="connsiteX1" fmla="*/ 36986 w 41777"/>
                <a:gd name="connsiteY1" fmla="*/ 2113 h 31337"/>
                <a:gd name="connsiteX2" fmla="*/ 45 w 41777"/>
                <a:gd name="connsiteY2" fmla="*/ 20920 h 31337"/>
                <a:gd name="connsiteX3" fmla="*/ 7090 w 41777"/>
                <a:gd name="connsiteY3" fmla="*/ 31335 h 31337"/>
              </a:gdLst>
              <a:ahLst/>
              <a:cxnLst>
                <a:cxn ang="0">
                  <a:pos x="connsiteX0" y="connsiteY0"/>
                </a:cxn>
                <a:cxn ang="0">
                  <a:pos x="connsiteX1" y="connsiteY1"/>
                </a:cxn>
                <a:cxn ang="0">
                  <a:pos x="connsiteX2" y="connsiteY2"/>
                </a:cxn>
                <a:cxn ang="0">
                  <a:pos x="connsiteX3" y="connsiteY3"/>
                </a:cxn>
              </a:cxnLst>
              <a:rect l="l" t="t" r="r" b="b"/>
              <a:pathLst>
                <a:path w="41777" h="31337">
                  <a:moveTo>
                    <a:pt x="7090" y="31335"/>
                  </a:moveTo>
                  <a:cubicBezTo>
                    <a:pt x="19358" y="31571"/>
                    <a:pt x="54479" y="14820"/>
                    <a:pt x="36986" y="2113"/>
                  </a:cubicBezTo>
                  <a:cubicBezTo>
                    <a:pt x="25358" y="-6313"/>
                    <a:pt x="5943" y="12629"/>
                    <a:pt x="45" y="20920"/>
                  </a:cubicBezTo>
                  <a:cubicBezTo>
                    <a:pt x="-528" y="21729"/>
                    <a:pt x="4494" y="31301"/>
                    <a:pt x="7090" y="31335"/>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sp>
          <p:nvSpPr>
            <p:cNvPr id="281" name="Freeform: Shape 280">
              <a:extLst>
                <a:ext uri="{FF2B5EF4-FFF2-40B4-BE49-F238E27FC236}">
                  <a16:creationId xmlns:a16="http://schemas.microsoft.com/office/drawing/2014/main" id="{EA45268D-1E63-44AA-9F4E-251048CB8AF1}"/>
                </a:ext>
              </a:extLst>
            </p:cNvPr>
            <p:cNvSpPr/>
            <p:nvPr/>
          </p:nvSpPr>
          <p:spPr>
            <a:xfrm>
              <a:off x="3001066" y="1230260"/>
              <a:ext cx="64834" cy="37344"/>
            </a:xfrm>
            <a:custGeom>
              <a:avLst/>
              <a:gdLst>
                <a:gd name="connsiteX0" fmla="*/ 61819 w 64834"/>
                <a:gd name="connsiteY0" fmla="*/ 16446 h 37344"/>
                <a:gd name="connsiteX1" fmla="*/ 64448 w 64834"/>
                <a:gd name="connsiteY1" fmla="*/ 9570 h 37344"/>
                <a:gd name="connsiteX2" fmla="*/ 3004 w 64834"/>
                <a:gd name="connsiteY2" fmla="*/ 19749 h 37344"/>
                <a:gd name="connsiteX3" fmla="*/ 173 w 64834"/>
                <a:gd name="connsiteY3" fmla="*/ 29018 h 37344"/>
                <a:gd name="connsiteX4" fmla="*/ 4993 w 64834"/>
                <a:gd name="connsiteY4" fmla="*/ 33837 h 37344"/>
                <a:gd name="connsiteX5" fmla="*/ 9273 w 64834"/>
                <a:gd name="connsiteY5" fmla="*/ 36871 h 37344"/>
                <a:gd name="connsiteX6" fmla="*/ 56561 w 64834"/>
                <a:gd name="connsiteY6" fmla="*/ 23793 h 37344"/>
                <a:gd name="connsiteX7" fmla="*/ 61819 w 64834"/>
                <a:gd name="connsiteY7" fmla="*/ 16446 h 37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834" h="37344">
                  <a:moveTo>
                    <a:pt x="61819" y="16446"/>
                  </a:moveTo>
                  <a:cubicBezTo>
                    <a:pt x="64145" y="14760"/>
                    <a:pt x="65561" y="12603"/>
                    <a:pt x="64448" y="9570"/>
                  </a:cubicBezTo>
                  <a:cubicBezTo>
                    <a:pt x="56224" y="-12574"/>
                    <a:pt x="13116" y="9233"/>
                    <a:pt x="3004" y="19749"/>
                  </a:cubicBezTo>
                  <a:cubicBezTo>
                    <a:pt x="712" y="22108"/>
                    <a:pt x="-467" y="25108"/>
                    <a:pt x="173" y="29018"/>
                  </a:cubicBezTo>
                  <a:cubicBezTo>
                    <a:pt x="544" y="31276"/>
                    <a:pt x="2330" y="33197"/>
                    <a:pt x="4993" y="33837"/>
                  </a:cubicBezTo>
                  <a:cubicBezTo>
                    <a:pt x="5802" y="35320"/>
                    <a:pt x="7386" y="36567"/>
                    <a:pt x="9273" y="36871"/>
                  </a:cubicBezTo>
                  <a:cubicBezTo>
                    <a:pt x="23430" y="39298"/>
                    <a:pt x="44765" y="32017"/>
                    <a:pt x="56561" y="23793"/>
                  </a:cubicBezTo>
                  <a:cubicBezTo>
                    <a:pt x="59527" y="21737"/>
                    <a:pt x="61718" y="19277"/>
                    <a:pt x="61819" y="16446"/>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sp>
          <p:nvSpPr>
            <p:cNvPr id="282" name="Freeform: Shape 281">
              <a:extLst>
                <a:ext uri="{FF2B5EF4-FFF2-40B4-BE49-F238E27FC236}">
                  <a16:creationId xmlns:a16="http://schemas.microsoft.com/office/drawing/2014/main" id="{67760DA3-4151-4D32-8B07-92CE0E1CB5D2}"/>
                </a:ext>
              </a:extLst>
            </p:cNvPr>
            <p:cNvSpPr/>
            <p:nvPr/>
          </p:nvSpPr>
          <p:spPr>
            <a:xfrm>
              <a:off x="2905132" y="1382969"/>
              <a:ext cx="32090" cy="53856"/>
            </a:xfrm>
            <a:custGeom>
              <a:avLst/>
              <a:gdLst>
                <a:gd name="connsiteX0" fmla="*/ 32034 w 32090"/>
                <a:gd name="connsiteY0" fmla="*/ 15476 h 53856"/>
                <a:gd name="connsiteX1" fmla="*/ 24113 w 32090"/>
                <a:gd name="connsiteY1" fmla="*/ 781 h 53856"/>
                <a:gd name="connsiteX2" fmla="*/ 21282 w 32090"/>
                <a:gd name="connsiteY2" fmla="*/ 275 h 53856"/>
                <a:gd name="connsiteX3" fmla="*/ 11508 w 32090"/>
                <a:gd name="connsiteY3" fmla="*/ 3072 h 53856"/>
                <a:gd name="connsiteX4" fmla="*/ 7497 w 32090"/>
                <a:gd name="connsiteY4" fmla="*/ 10184 h 53856"/>
                <a:gd name="connsiteX5" fmla="*/ 5643 w 32090"/>
                <a:gd name="connsiteY5" fmla="*/ 15914 h 53856"/>
                <a:gd name="connsiteX6" fmla="*/ 5238 w 32090"/>
                <a:gd name="connsiteY6" fmla="*/ 17094 h 53856"/>
                <a:gd name="connsiteX7" fmla="*/ 419 w 32090"/>
                <a:gd name="connsiteY7" fmla="*/ 33137 h 53856"/>
                <a:gd name="connsiteX8" fmla="*/ 3115 w 32090"/>
                <a:gd name="connsiteY8" fmla="*/ 48608 h 53856"/>
                <a:gd name="connsiteX9" fmla="*/ 18855 w 32090"/>
                <a:gd name="connsiteY9" fmla="*/ 52383 h 53856"/>
                <a:gd name="connsiteX10" fmla="*/ 27753 w 32090"/>
                <a:gd name="connsiteY10" fmla="*/ 37856 h 53856"/>
                <a:gd name="connsiteX11" fmla="*/ 32034 w 32090"/>
                <a:gd name="connsiteY11" fmla="*/ 15476 h 53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090" h="53856">
                  <a:moveTo>
                    <a:pt x="32034" y="15476"/>
                  </a:moveTo>
                  <a:cubicBezTo>
                    <a:pt x="31731" y="10016"/>
                    <a:pt x="29776" y="2904"/>
                    <a:pt x="24113" y="781"/>
                  </a:cubicBezTo>
                  <a:cubicBezTo>
                    <a:pt x="23170" y="410"/>
                    <a:pt x="22226" y="275"/>
                    <a:pt x="21282" y="275"/>
                  </a:cubicBezTo>
                  <a:cubicBezTo>
                    <a:pt x="17878" y="-500"/>
                    <a:pt x="14103" y="342"/>
                    <a:pt x="11508" y="3072"/>
                  </a:cubicBezTo>
                  <a:cubicBezTo>
                    <a:pt x="9587" y="5095"/>
                    <a:pt x="8440" y="7589"/>
                    <a:pt x="7497" y="10184"/>
                  </a:cubicBezTo>
                  <a:cubicBezTo>
                    <a:pt x="6553" y="11971"/>
                    <a:pt x="6014" y="13892"/>
                    <a:pt x="5643" y="15914"/>
                  </a:cubicBezTo>
                  <a:cubicBezTo>
                    <a:pt x="5508" y="16319"/>
                    <a:pt x="5373" y="16723"/>
                    <a:pt x="5238" y="17094"/>
                  </a:cubicBezTo>
                  <a:cubicBezTo>
                    <a:pt x="3317" y="22318"/>
                    <a:pt x="1261" y="27610"/>
                    <a:pt x="419" y="33137"/>
                  </a:cubicBezTo>
                  <a:cubicBezTo>
                    <a:pt x="-390" y="38463"/>
                    <a:pt x="-289" y="44192"/>
                    <a:pt x="3115" y="48608"/>
                  </a:cubicBezTo>
                  <a:cubicBezTo>
                    <a:pt x="6620" y="53225"/>
                    <a:pt x="13665" y="55585"/>
                    <a:pt x="18855" y="52383"/>
                  </a:cubicBezTo>
                  <a:cubicBezTo>
                    <a:pt x="23911" y="49248"/>
                    <a:pt x="25765" y="43080"/>
                    <a:pt x="27753" y="37856"/>
                  </a:cubicBezTo>
                  <a:cubicBezTo>
                    <a:pt x="30281" y="31048"/>
                    <a:pt x="32472" y="22824"/>
                    <a:pt x="32034" y="15476"/>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sp>
          <p:nvSpPr>
            <p:cNvPr id="283" name="Freeform: Shape 282">
              <a:extLst>
                <a:ext uri="{FF2B5EF4-FFF2-40B4-BE49-F238E27FC236}">
                  <a16:creationId xmlns:a16="http://schemas.microsoft.com/office/drawing/2014/main" id="{3F19871B-7F17-4F4A-8FFD-3B6511086A35}"/>
                </a:ext>
              </a:extLst>
            </p:cNvPr>
            <p:cNvSpPr/>
            <p:nvPr/>
          </p:nvSpPr>
          <p:spPr>
            <a:xfrm>
              <a:off x="2899039" y="1555751"/>
              <a:ext cx="39344" cy="53792"/>
            </a:xfrm>
            <a:custGeom>
              <a:avLst/>
              <a:gdLst>
                <a:gd name="connsiteX0" fmla="*/ 38767 w 39344"/>
                <a:gd name="connsiteY0" fmla="*/ 44991 h 53792"/>
                <a:gd name="connsiteX1" fmla="*/ 38835 w 39344"/>
                <a:gd name="connsiteY1" fmla="*/ 43811 h 53792"/>
                <a:gd name="connsiteX2" fmla="*/ 33105 w 39344"/>
                <a:gd name="connsiteY2" fmla="*/ 26420 h 53792"/>
                <a:gd name="connsiteX3" fmla="*/ 17533 w 39344"/>
                <a:gd name="connsiteY3" fmla="*/ 5759 h 53792"/>
                <a:gd name="connsiteX4" fmla="*/ 4523 w 39344"/>
                <a:gd name="connsiteY4" fmla="*/ 804 h 53792"/>
                <a:gd name="connsiteX5" fmla="*/ 3916 w 39344"/>
                <a:gd name="connsiteY5" fmla="*/ 20555 h 53792"/>
                <a:gd name="connsiteX6" fmla="*/ 19791 w 39344"/>
                <a:gd name="connsiteY6" fmla="*/ 47991 h 53792"/>
                <a:gd name="connsiteX7" fmla="*/ 34284 w 39344"/>
                <a:gd name="connsiteY7" fmla="*/ 52844 h 53792"/>
                <a:gd name="connsiteX8" fmla="*/ 38767 w 39344"/>
                <a:gd name="connsiteY8" fmla="*/ 44991 h 53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4" h="53792">
                  <a:moveTo>
                    <a:pt x="38767" y="44991"/>
                  </a:moveTo>
                  <a:cubicBezTo>
                    <a:pt x="38835" y="44587"/>
                    <a:pt x="38835" y="44216"/>
                    <a:pt x="38835" y="43811"/>
                  </a:cubicBezTo>
                  <a:cubicBezTo>
                    <a:pt x="40722" y="37980"/>
                    <a:pt x="37048" y="31678"/>
                    <a:pt x="33105" y="26420"/>
                  </a:cubicBezTo>
                  <a:cubicBezTo>
                    <a:pt x="29768" y="17994"/>
                    <a:pt x="25555" y="9803"/>
                    <a:pt x="17533" y="5759"/>
                  </a:cubicBezTo>
                  <a:cubicBezTo>
                    <a:pt x="14365" y="2085"/>
                    <a:pt x="9579" y="-1690"/>
                    <a:pt x="4523" y="804"/>
                  </a:cubicBezTo>
                  <a:cubicBezTo>
                    <a:pt x="-3229" y="4579"/>
                    <a:pt x="647" y="14286"/>
                    <a:pt x="3916" y="20555"/>
                  </a:cubicBezTo>
                  <a:cubicBezTo>
                    <a:pt x="5534" y="31172"/>
                    <a:pt x="12915" y="40138"/>
                    <a:pt x="19791" y="47991"/>
                  </a:cubicBezTo>
                  <a:cubicBezTo>
                    <a:pt x="23330" y="52035"/>
                    <a:pt x="28892" y="55541"/>
                    <a:pt x="34284" y="52844"/>
                  </a:cubicBezTo>
                  <a:cubicBezTo>
                    <a:pt x="37419" y="51260"/>
                    <a:pt x="38632" y="48193"/>
                    <a:pt x="38767" y="44991"/>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sp>
          <p:nvSpPr>
            <p:cNvPr id="284" name="Freeform: Shape 283">
              <a:extLst>
                <a:ext uri="{FF2B5EF4-FFF2-40B4-BE49-F238E27FC236}">
                  <a16:creationId xmlns:a16="http://schemas.microsoft.com/office/drawing/2014/main" id="{8F7E6095-A08B-46AE-996E-C568BB56C30C}"/>
                </a:ext>
              </a:extLst>
            </p:cNvPr>
            <p:cNvSpPr/>
            <p:nvPr/>
          </p:nvSpPr>
          <p:spPr>
            <a:xfrm>
              <a:off x="3034994" y="1714921"/>
              <a:ext cx="62608" cy="32945"/>
            </a:xfrm>
            <a:custGeom>
              <a:avLst/>
              <a:gdLst>
                <a:gd name="connsiteX0" fmla="*/ 61663 w 62608"/>
                <a:gd name="connsiteY0" fmla="*/ 18989 h 32945"/>
                <a:gd name="connsiteX1" fmla="*/ 50035 w 62608"/>
                <a:gd name="connsiteY1" fmla="*/ 9180 h 32945"/>
                <a:gd name="connsiteX2" fmla="*/ 35643 w 62608"/>
                <a:gd name="connsiteY2" fmla="*/ 4563 h 32945"/>
                <a:gd name="connsiteX3" fmla="*/ 12083 w 62608"/>
                <a:gd name="connsiteY3" fmla="*/ 114 h 32945"/>
                <a:gd name="connsiteX4" fmla="*/ 9151 w 62608"/>
                <a:gd name="connsiteY4" fmla="*/ 1327 h 32945"/>
                <a:gd name="connsiteX5" fmla="*/ 2005 w 62608"/>
                <a:gd name="connsiteY5" fmla="*/ 5338 h 32945"/>
                <a:gd name="connsiteX6" fmla="*/ 118 w 62608"/>
                <a:gd name="connsiteY6" fmla="*/ 11911 h 32945"/>
                <a:gd name="connsiteX7" fmla="*/ 253 w 62608"/>
                <a:gd name="connsiteY7" fmla="*/ 13899 h 32945"/>
                <a:gd name="connsiteX8" fmla="*/ 11038 w 62608"/>
                <a:gd name="connsiteY8" fmla="*/ 26100 h 32945"/>
                <a:gd name="connsiteX9" fmla="*/ 30351 w 62608"/>
                <a:gd name="connsiteY9" fmla="*/ 32572 h 32945"/>
                <a:gd name="connsiteX10" fmla="*/ 38878 w 62608"/>
                <a:gd name="connsiteY10" fmla="*/ 32167 h 32945"/>
                <a:gd name="connsiteX11" fmla="*/ 40564 w 62608"/>
                <a:gd name="connsiteY11" fmla="*/ 32471 h 32945"/>
                <a:gd name="connsiteX12" fmla="*/ 52967 w 62608"/>
                <a:gd name="connsiteY12" fmla="*/ 31695 h 32945"/>
                <a:gd name="connsiteX13" fmla="*/ 61663 w 62608"/>
                <a:gd name="connsiteY13" fmla="*/ 18989 h 32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608" h="32945">
                  <a:moveTo>
                    <a:pt x="61663" y="18989"/>
                  </a:moveTo>
                  <a:cubicBezTo>
                    <a:pt x="59607" y="14236"/>
                    <a:pt x="54551" y="11236"/>
                    <a:pt x="50035" y="9180"/>
                  </a:cubicBezTo>
                  <a:cubicBezTo>
                    <a:pt x="45417" y="7091"/>
                    <a:pt x="40564" y="5743"/>
                    <a:pt x="35643" y="4563"/>
                  </a:cubicBezTo>
                  <a:cubicBezTo>
                    <a:pt x="27857" y="2709"/>
                    <a:pt x="20240" y="-661"/>
                    <a:pt x="12083" y="114"/>
                  </a:cubicBezTo>
                  <a:cubicBezTo>
                    <a:pt x="10971" y="215"/>
                    <a:pt x="9959" y="653"/>
                    <a:pt x="9151" y="1327"/>
                  </a:cubicBezTo>
                  <a:cubicBezTo>
                    <a:pt x="6320" y="1968"/>
                    <a:pt x="3758" y="3181"/>
                    <a:pt x="2005" y="5338"/>
                  </a:cubicBezTo>
                  <a:cubicBezTo>
                    <a:pt x="219" y="7495"/>
                    <a:pt x="-253" y="9753"/>
                    <a:pt x="118" y="11911"/>
                  </a:cubicBezTo>
                  <a:cubicBezTo>
                    <a:pt x="118" y="12551"/>
                    <a:pt x="151" y="13225"/>
                    <a:pt x="253" y="13899"/>
                  </a:cubicBezTo>
                  <a:cubicBezTo>
                    <a:pt x="1196" y="19932"/>
                    <a:pt x="5814" y="23640"/>
                    <a:pt x="11038" y="26100"/>
                  </a:cubicBezTo>
                  <a:cubicBezTo>
                    <a:pt x="17071" y="28932"/>
                    <a:pt x="23644" y="31965"/>
                    <a:pt x="30351" y="32572"/>
                  </a:cubicBezTo>
                  <a:cubicBezTo>
                    <a:pt x="33216" y="32808"/>
                    <a:pt x="36047" y="32504"/>
                    <a:pt x="38878" y="32167"/>
                  </a:cubicBezTo>
                  <a:cubicBezTo>
                    <a:pt x="39451" y="32268"/>
                    <a:pt x="40024" y="32369"/>
                    <a:pt x="40564" y="32471"/>
                  </a:cubicBezTo>
                  <a:cubicBezTo>
                    <a:pt x="44406" y="33212"/>
                    <a:pt x="49057" y="33178"/>
                    <a:pt x="52967" y="31695"/>
                  </a:cubicBezTo>
                  <a:cubicBezTo>
                    <a:pt x="59944" y="30886"/>
                    <a:pt x="64730" y="25966"/>
                    <a:pt x="61663" y="18989"/>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sp>
          <p:nvSpPr>
            <p:cNvPr id="285" name="Freeform: Shape 284">
              <a:extLst>
                <a:ext uri="{FF2B5EF4-FFF2-40B4-BE49-F238E27FC236}">
                  <a16:creationId xmlns:a16="http://schemas.microsoft.com/office/drawing/2014/main" id="{679840D0-FA8B-4245-B645-D6C912690CF0}"/>
                </a:ext>
              </a:extLst>
            </p:cNvPr>
            <p:cNvSpPr/>
            <p:nvPr/>
          </p:nvSpPr>
          <p:spPr>
            <a:xfrm>
              <a:off x="3080341" y="1332383"/>
              <a:ext cx="45657" cy="31019"/>
            </a:xfrm>
            <a:custGeom>
              <a:avLst/>
              <a:gdLst>
                <a:gd name="connsiteX0" fmla="*/ 40483 w 45657"/>
                <a:gd name="connsiteY0" fmla="*/ 0 h 31019"/>
                <a:gd name="connsiteX1" fmla="*/ 29933 w 45657"/>
                <a:gd name="connsiteY1" fmla="*/ 4146 h 31019"/>
                <a:gd name="connsiteX2" fmla="*/ 19282 w 45657"/>
                <a:gd name="connsiteY2" fmla="*/ 8797 h 31019"/>
                <a:gd name="connsiteX3" fmla="*/ 812 w 45657"/>
                <a:gd name="connsiteY3" fmla="*/ 23964 h 31019"/>
                <a:gd name="connsiteX4" fmla="*/ 9744 w 45657"/>
                <a:gd name="connsiteY4" fmla="*/ 28616 h 31019"/>
                <a:gd name="connsiteX5" fmla="*/ 25181 w 45657"/>
                <a:gd name="connsiteY5" fmla="*/ 17628 h 31019"/>
                <a:gd name="connsiteX6" fmla="*/ 33000 w 45657"/>
                <a:gd name="connsiteY6" fmla="*/ 14291 h 31019"/>
                <a:gd name="connsiteX7" fmla="*/ 41056 w 45657"/>
                <a:gd name="connsiteY7" fmla="*/ 10112 h 31019"/>
                <a:gd name="connsiteX8" fmla="*/ 40483 w 45657"/>
                <a:gd name="connsiteY8" fmla="*/ 0 h 31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657" h="31019">
                  <a:moveTo>
                    <a:pt x="40483" y="0"/>
                  </a:moveTo>
                  <a:cubicBezTo>
                    <a:pt x="36202" y="34"/>
                    <a:pt x="33303" y="1719"/>
                    <a:pt x="29933" y="4146"/>
                  </a:cubicBezTo>
                  <a:cubicBezTo>
                    <a:pt x="26529" y="6606"/>
                    <a:pt x="23192" y="7516"/>
                    <a:pt x="19282" y="8797"/>
                  </a:cubicBezTo>
                  <a:cubicBezTo>
                    <a:pt x="11732" y="11258"/>
                    <a:pt x="5092" y="17392"/>
                    <a:pt x="812" y="23964"/>
                  </a:cubicBezTo>
                  <a:cubicBezTo>
                    <a:pt x="-2727" y="29391"/>
                    <a:pt x="6238" y="34008"/>
                    <a:pt x="9744" y="28616"/>
                  </a:cubicBezTo>
                  <a:cubicBezTo>
                    <a:pt x="13384" y="23054"/>
                    <a:pt x="18945" y="19482"/>
                    <a:pt x="25181" y="17628"/>
                  </a:cubicBezTo>
                  <a:cubicBezTo>
                    <a:pt x="27911" y="16819"/>
                    <a:pt x="30540" y="15774"/>
                    <a:pt x="33000" y="14291"/>
                  </a:cubicBezTo>
                  <a:cubicBezTo>
                    <a:pt x="35730" y="12606"/>
                    <a:pt x="37685" y="10112"/>
                    <a:pt x="41056" y="10112"/>
                  </a:cubicBezTo>
                  <a:cubicBezTo>
                    <a:pt x="47561" y="10044"/>
                    <a:pt x="46988" y="-34"/>
                    <a:pt x="40483" y="0"/>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sp>
          <p:nvSpPr>
            <p:cNvPr id="286" name="Freeform: Shape 285">
              <a:extLst>
                <a:ext uri="{FF2B5EF4-FFF2-40B4-BE49-F238E27FC236}">
                  <a16:creationId xmlns:a16="http://schemas.microsoft.com/office/drawing/2014/main" id="{D467D8C5-0EC7-40EE-AB80-0CD6485C093B}"/>
                </a:ext>
              </a:extLst>
            </p:cNvPr>
            <p:cNvSpPr/>
            <p:nvPr/>
          </p:nvSpPr>
          <p:spPr>
            <a:xfrm>
              <a:off x="3011404" y="1378683"/>
              <a:ext cx="51291" cy="115429"/>
            </a:xfrm>
            <a:custGeom>
              <a:avLst/>
              <a:gdLst>
                <a:gd name="connsiteX0" fmla="*/ 43425 w 51291"/>
                <a:gd name="connsiteY0" fmla="*/ 685 h 115429"/>
                <a:gd name="connsiteX1" fmla="*/ 21584 w 51291"/>
                <a:gd name="connsiteY1" fmla="*/ 24245 h 115429"/>
                <a:gd name="connsiteX2" fmla="*/ 5710 w 51291"/>
                <a:gd name="connsiteY2" fmla="*/ 60039 h 115429"/>
                <a:gd name="connsiteX3" fmla="*/ 2305 w 51291"/>
                <a:gd name="connsiteY3" fmla="*/ 79217 h 115429"/>
                <a:gd name="connsiteX4" fmla="*/ 755 w 51291"/>
                <a:gd name="connsiteY4" fmla="*/ 96474 h 115429"/>
                <a:gd name="connsiteX5" fmla="*/ 7968 w 51291"/>
                <a:gd name="connsiteY5" fmla="*/ 115315 h 115429"/>
                <a:gd name="connsiteX6" fmla="*/ 10091 w 51291"/>
                <a:gd name="connsiteY6" fmla="*/ 105474 h 115429"/>
                <a:gd name="connsiteX7" fmla="*/ 9990 w 51291"/>
                <a:gd name="connsiteY7" fmla="*/ 105440 h 115429"/>
                <a:gd name="connsiteX8" fmla="*/ 9923 w 51291"/>
                <a:gd name="connsiteY8" fmla="*/ 103889 h 115429"/>
                <a:gd name="connsiteX9" fmla="*/ 10394 w 51291"/>
                <a:gd name="connsiteY9" fmla="*/ 99879 h 115429"/>
                <a:gd name="connsiteX10" fmla="*/ 11540 w 51291"/>
                <a:gd name="connsiteY10" fmla="*/ 89093 h 115429"/>
                <a:gd name="connsiteX11" fmla="*/ 16832 w 51291"/>
                <a:gd name="connsiteY11" fmla="*/ 57040 h 115429"/>
                <a:gd name="connsiteX12" fmla="*/ 30786 w 51291"/>
                <a:gd name="connsiteY12" fmla="*/ 28559 h 115429"/>
                <a:gd name="connsiteX13" fmla="*/ 48852 w 51291"/>
                <a:gd name="connsiteY13" fmla="*/ 9179 h 115429"/>
                <a:gd name="connsiteX14" fmla="*/ 43425 w 51291"/>
                <a:gd name="connsiteY14" fmla="*/ 685 h 115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1291" h="115429">
                  <a:moveTo>
                    <a:pt x="43425" y="685"/>
                  </a:moveTo>
                  <a:cubicBezTo>
                    <a:pt x="34224" y="5774"/>
                    <a:pt x="27483" y="15785"/>
                    <a:pt x="21584" y="24245"/>
                  </a:cubicBezTo>
                  <a:cubicBezTo>
                    <a:pt x="14271" y="34761"/>
                    <a:pt x="8507" y="47535"/>
                    <a:pt x="5710" y="60039"/>
                  </a:cubicBezTo>
                  <a:cubicBezTo>
                    <a:pt x="4294" y="66376"/>
                    <a:pt x="3384" y="72813"/>
                    <a:pt x="2305" y="79217"/>
                  </a:cubicBezTo>
                  <a:cubicBezTo>
                    <a:pt x="1328" y="84947"/>
                    <a:pt x="1800" y="90778"/>
                    <a:pt x="755" y="96474"/>
                  </a:cubicBezTo>
                  <a:cubicBezTo>
                    <a:pt x="-526" y="103687"/>
                    <a:pt x="-1267" y="113462"/>
                    <a:pt x="7968" y="115315"/>
                  </a:cubicBezTo>
                  <a:cubicBezTo>
                    <a:pt x="14338" y="116596"/>
                    <a:pt x="16461" y="106721"/>
                    <a:pt x="10091" y="105474"/>
                  </a:cubicBezTo>
                  <a:cubicBezTo>
                    <a:pt x="10057" y="105474"/>
                    <a:pt x="10024" y="105474"/>
                    <a:pt x="9990" y="105440"/>
                  </a:cubicBezTo>
                  <a:cubicBezTo>
                    <a:pt x="9855" y="104934"/>
                    <a:pt x="9889" y="104294"/>
                    <a:pt x="9923" y="103889"/>
                  </a:cubicBezTo>
                  <a:cubicBezTo>
                    <a:pt x="9990" y="102541"/>
                    <a:pt x="10158" y="101227"/>
                    <a:pt x="10394" y="99879"/>
                  </a:cubicBezTo>
                  <a:cubicBezTo>
                    <a:pt x="11035" y="96272"/>
                    <a:pt x="11473" y="92767"/>
                    <a:pt x="11540" y="89093"/>
                  </a:cubicBezTo>
                  <a:cubicBezTo>
                    <a:pt x="11810" y="78577"/>
                    <a:pt x="13900" y="67151"/>
                    <a:pt x="16832" y="57040"/>
                  </a:cubicBezTo>
                  <a:cubicBezTo>
                    <a:pt x="19663" y="47265"/>
                    <a:pt x="24652" y="36716"/>
                    <a:pt x="30786" y="28559"/>
                  </a:cubicBezTo>
                  <a:cubicBezTo>
                    <a:pt x="35943" y="21683"/>
                    <a:pt x="41167" y="13392"/>
                    <a:pt x="48852" y="9179"/>
                  </a:cubicBezTo>
                  <a:cubicBezTo>
                    <a:pt x="54615" y="6010"/>
                    <a:pt x="49088" y="-2450"/>
                    <a:pt x="43425" y="685"/>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grpSp>
      <p:grpSp>
        <p:nvGrpSpPr>
          <p:cNvPr id="287" name="Graphic 6">
            <a:extLst>
              <a:ext uri="{FF2B5EF4-FFF2-40B4-BE49-F238E27FC236}">
                <a16:creationId xmlns:a16="http://schemas.microsoft.com/office/drawing/2014/main" id="{51D6F4BB-E553-4BB1-84E6-37499D523463}"/>
              </a:ext>
            </a:extLst>
          </p:cNvPr>
          <p:cNvGrpSpPr/>
          <p:nvPr/>
        </p:nvGrpSpPr>
        <p:grpSpPr>
          <a:xfrm>
            <a:off x="8792089" y="977743"/>
            <a:ext cx="654217" cy="654981"/>
            <a:chOff x="8792089" y="977743"/>
            <a:chExt cx="654217" cy="654981"/>
          </a:xfrm>
          <a:solidFill>
            <a:srgbClr val="DAE3F3"/>
          </a:solidFill>
        </p:grpSpPr>
        <p:sp>
          <p:nvSpPr>
            <p:cNvPr id="288" name="Freeform: Shape 287">
              <a:extLst>
                <a:ext uri="{FF2B5EF4-FFF2-40B4-BE49-F238E27FC236}">
                  <a16:creationId xmlns:a16="http://schemas.microsoft.com/office/drawing/2014/main" id="{FFC99FB0-9F70-4659-97D0-D4ECFB103309}"/>
                </a:ext>
              </a:extLst>
            </p:cNvPr>
            <p:cNvSpPr/>
            <p:nvPr/>
          </p:nvSpPr>
          <p:spPr>
            <a:xfrm>
              <a:off x="8899225" y="1078181"/>
              <a:ext cx="464251" cy="464251"/>
            </a:xfrm>
            <a:custGeom>
              <a:avLst/>
              <a:gdLst>
                <a:gd name="connsiteX0" fmla="*/ 464252 w 464251"/>
                <a:gd name="connsiteY0" fmla="*/ 232126 h 464251"/>
                <a:gd name="connsiteX1" fmla="*/ 232125 w 464251"/>
                <a:gd name="connsiteY1" fmla="*/ 464251 h 464251"/>
                <a:gd name="connsiteX2" fmla="*/ -1 w 464251"/>
                <a:gd name="connsiteY2" fmla="*/ 232126 h 464251"/>
                <a:gd name="connsiteX3" fmla="*/ 232125 w 464251"/>
                <a:gd name="connsiteY3" fmla="*/ 0 h 464251"/>
                <a:gd name="connsiteX4" fmla="*/ 464252 w 464251"/>
                <a:gd name="connsiteY4" fmla="*/ 232126 h 464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251" h="464251">
                  <a:moveTo>
                    <a:pt x="464252" y="232126"/>
                  </a:moveTo>
                  <a:cubicBezTo>
                    <a:pt x="464252" y="360325"/>
                    <a:pt x="360325" y="464251"/>
                    <a:pt x="232125" y="464251"/>
                  </a:cubicBezTo>
                  <a:cubicBezTo>
                    <a:pt x="103926" y="464251"/>
                    <a:pt x="-1" y="360325"/>
                    <a:pt x="-1" y="232126"/>
                  </a:cubicBezTo>
                  <a:cubicBezTo>
                    <a:pt x="-1" y="103926"/>
                    <a:pt x="103926" y="0"/>
                    <a:pt x="232125" y="0"/>
                  </a:cubicBezTo>
                  <a:cubicBezTo>
                    <a:pt x="360325" y="0"/>
                    <a:pt x="464252" y="103926"/>
                    <a:pt x="464252" y="232126"/>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sp>
          <p:nvSpPr>
            <p:cNvPr id="289" name="Freeform: Shape 288">
              <a:extLst>
                <a:ext uri="{FF2B5EF4-FFF2-40B4-BE49-F238E27FC236}">
                  <a16:creationId xmlns:a16="http://schemas.microsoft.com/office/drawing/2014/main" id="{6151C227-255D-4B9A-8CBB-5054B0D14076}"/>
                </a:ext>
              </a:extLst>
            </p:cNvPr>
            <p:cNvSpPr/>
            <p:nvPr/>
          </p:nvSpPr>
          <p:spPr>
            <a:xfrm>
              <a:off x="9328311" y="1352576"/>
              <a:ext cx="102187" cy="6651"/>
            </a:xfrm>
            <a:custGeom>
              <a:avLst/>
              <a:gdLst>
                <a:gd name="connsiteX0" fmla="*/ 101362 w 102187"/>
                <a:gd name="connsiteY0" fmla="*/ 3671 h 6651"/>
                <a:gd name="connsiteX1" fmla="*/ 49119 w 102187"/>
                <a:gd name="connsiteY1" fmla="*/ 1514 h 6651"/>
                <a:gd name="connsiteX2" fmla="*/ 24111 w 102187"/>
                <a:gd name="connsiteY2" fmla="*/ 637 h 6651"/>
                <a:gd name="connsiteX3" fmla="*/ 720 w 102187"/>
                <a:gd name="connsiteY3" fmla="*/ 4345 h 6651"/>
                <a:gd name="connsiteX4" fmla="*/ 1933 w 102187"/>
                <a:gd name="connsiteY4" fmla="*/ 6468 h 6651"/>
                <a:gd name="connsiteX5" fmla="*/ 26470 w 102187"/>
                <a:gd name="connsiteY5" fmla="*/ 3368 h 6651"/>
                <a:gd name="connsiteX6" fmla="*/ 50367 w 102187"/>
                <a:gd name="connsiteY6" fmla="*/ 3907 h 6651"/>
                <a:gd name="connsiteX7" fmla="*/ 100553 w 102187"/>
                <a:gd name="connsiteY7" fmla="*/ 6131 h 6651"/>
                <a:gd name="connsiteX8" fmla="*/ 101362 w 102187"/>
                <a:gd name="connsiteY8" fmla="*/ 3671 h 6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2187" h="6651">
                  <a:moveTo>
                    <a:pt x="101362" y="3671"/>
                  </a:moveTo>
                  <a:cubicBezTo>
                    <a:pt x="84476" y="-1789"/>
                    <a:pt x="67186" y="64"/>
                    <a:pt x="49119" y="1514"/>
                  </a:cubicBezTo>
                  <a:cubicBezTo>
                    <a:pt x="40558" y="2188"/>
                    <a:pt x="32503" y="1210"/>
                    <a:pt x="24111" y="637"/>
                  </a:cubicBezTo>
                  <a:cubicBezTo>
                    <a:pt x="16223" y="98"/>
                    <a:pt x="8135" y="334"/>
                    <a:pt x="720" y="4345"/>
                  </a:cubicBezTo>
                  <a:cubicBezTo>
                    <a:pt x="-831" y="5188"/>
                    <a:pt x="382" y="7277"/>
                    <a:pt x="1933" y="6468"/>
                  </a:cubicBezTo>
                  <a:cubicBezTo>
                    <a:pt x="9685" y="2289"/>
                    <a:pt x="18347" y="2660"/>
                    <a:pt x="26470" y="3368"/>
                  </a:cubicBezTo>
                  <a:cubicBezTo>
                    <a:pt x="34492" y="4042"/>
                    <a:pt x="42176" y="4581"/>
                    <a:pt x="50367" y="3907"/>
                  </a:cubicBezTo>
                  <a:cubicBezTo>
                    <a:pt x="67725" y="2491"/>
                    <a:pt x="84341" y="873"/>
                    <a:pt x="100553" y="6131"/>
                  </a:cubicBezTo>
                  <a:cubicBezTo>
                    <a:pt x="102070" y="6603"/>
                    <a:pt x="102912" y="4176"/>
                    <a:pt x="101362" y="3671"/>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sp>
          <p:nvSpPr>
            <p:cNvPr id="290" name="Freeform: Shape 289">
              <a:extLst>
                <a:ext uri="{FF2B5EF4-FFF2-40B4-BE49-F238E27FC236}">
                  <a16:creationId xmlns:a16="http://schemas.microsoft.com/office/drawing/2014/main" id="{8A6306E7-B171-43FB-928C-BF1FB9BDDFA5}"/>
                </a:ext>
              </a:extLst>
            </p:cNvPr>
            <p:cNvSpPr/>
            <p:nvPr/>
          </p:nvSpPr>
          <p:spPr>
            <a:xfrm>
              <a:off x="9134618" y="992903"/>
              <a:ext cx="29701" cy="167793"/>
            </a:xfrm>
            <a:custGeom>
              <a:avLst/>
              <a:gdLst>
                <a:gd name="connsiteX0" fmla="*/ 18203 w 29701"/>
                <a:gd name="connsiteY0" fmla="*/ 164653 h 167793"/>
                <a:gd name="connsiteX1" fmla="*/ 9912 w 29701"/>
                <a:gd name="connsiteY1" fmla="*/ 84941 h 167793"/>
                <a:gd name="connsiteX2" fmla="*/ 22079 w 29701"/>
                <a:gd name="connsiteY2" fmla="*/ 38563 h 167793"/>
                <a:gd name="connsiteX3" fmla="*/ 29696 w 29701"/>
                <a:gd name="connsiteY3" fmla="*/ 1858 h 167793"/>
                <a:gd name="connsiteX4" fmla="*/ 25820 w 29701"/>
                <a:gd name="connsiteY4" fmla="*/ 1858 h 167793"/>
                <a:gd name="connsiteX5" fmla="*/ 9675 w 29701"/>
                <a:gd name="connsiteY5" fmla="*/ 69605 h 167793"/>
                <a:gd name="connsiteX6" fmla="*/ 1080 w 29701"/>
                <a:gd name="connsiteY6" fmla="*/ 140756 h 167793"/>
                <a:gd name="connsiteX7" fmla="*/ 15439 w 29701"/>
                <a:gd name="connsiteY7" fmla="*/ 167349 h 167793"/>
                <a:gd name="connsiteX8" fmla="*/ 18203 w 29701"/>
                <a:gd name="connsiteY8" fmla="*/ 164653 h 167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701" h="167793">
                  <a:moveTo>
                    <a:pt x="18203" y="164653"/>
                  </a:moveTo>
                  <a:cubicBezTo>
                    <a:pt x="-4683" y="147160"/>
                    <a:pt x="4552" y="108467"/>
                    <a:pt x="9912" y="84941"/>
                  </a:cubicBezTo>
                  <a:cubicBezTo>
                    <a:pt x="13484" y="69335"/>
                    <a:pt x="17933" y="53999"/>
                    <a:pt x="22079" y="38563"/>
                  </a:cubicBezTo>
                  <a:cubicBezTo>
                    <a:pt x="25314" y="26564"/>
                    <a:pt x="28752" y="14329"/>
                    <a:pt x="29696" y="1858"/>
                  </a:cubicBezTo>
                  <a:cubicBezTo>
                    <a:pt x="29865" y="-636"/>
                    <a:pt x="26022" y="-602"/>
                    <a:pt x="25820" y="1858"/>
                  </a:cubicBezTo>
                  <a:cubicBezTo>
                    <a:pt x="24101" y="24811"/>
                    <a:pt x="15371" y="47461"/>
                    <a:pt x="9675" y="69605"/>
                  </a:cubicBezTo>
                  <a:cubicBezTo>
                    <a:pt x="3811" y="92288"/>
                    <a:pt x="-2594" y="117196"/>
                    <a:pt x="1080" y="140756"/>
                  </a:cubicBezTo>
                  <a:cubicBezTo>
                    <a:pt x="2698" y="151070"/>
                    <a:pt x="6979" y="160878"/>
                    <a:pt x="15439" y="167349"/>
                  </a:cubicBezTo>
                  <a:cubicBezTo>
                    <a:pt x="17394" y="168866"/>
                    <a:pt x="20157" y="166136"/>
                    <a:pt x="18203" y="164653"/>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sp>
          <p:nvSpPr>
            <p:cNvPr id="291" name="Freeform: Shape 290">
              <a:extLst>
                <a:ext uri="{FF2B5EF4-FFF2-40B4-BE49-F238E27FC236}">
                  <a16:creationId xmlns:a16="http://schemas.microsoft.com/office/drawing/2014/main" id="{81DC75D0-F242-4E82-8C1E-9D580F443CFD}"/>
                </a:ext>
              </a:extLst>
            </p:cNvPr>
            <p:cNvSpPr/>
            <p:nvPr/>
          </p:nvSpPr>
          <p:spPr>
            <a:xfrm>
              <a:off x="8932449" y="1089532"/>
              <a:ext cx="157121" cy="113207"/>
            </a:xfrm>
            <a:custGeom>
              <a:avLst/>
              <a:gdLst>
                <a:gd name="connsiteX0" fmla="*/ 156096 w 157121"/>
                <a:gd name="connsiteY0" fmla="*/ 109650 h 113207"/>
                <a:gd name="connsiteX1" fmla="*/ 74901 w 157121"/>
                <a:gd name="connsiteY1" fmla="*/ 62732 h 113207"/>
                <a:gd name="connsiteX2" fmla="*/ 3312 w 157121"/>
                <a:gd name="connsiteY2" fmla="*/ 547 h 113207"/>
                <a:gd name="connsiteX3" fmla="*/ 582 w 157121"/>
                <a:gd name="connsiteY3" fmla="*/ 3277 h 113207"/>
                <a:gd name="connsiteX4" fmla="*/ 71261 w 157121"/>
                <a:gd name="connsiteY4" fmla="*/ 64788 h 113207"/>
                <a:gd name="connsiteX5" fmla="*/ 154175 w 157121"/>
                <a:gd name="connsiteY5" fmla="*/ 113020 h 113207"/>
                <a:gd name="connsiteX6" fmla="*/ 156096 w 157121"/>
                <a:gd name="connsiteY6" fmla="*/ 109650 h 113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7121" h="113207">
                  <a:moveTo>
                    <a:pt x="156096" y="109650"/>
                  </a:moveTo>
                  <a:cubicBezTo>
                    <a:pt x="127414" y="96875"/>
                    <a:pt x="100213" y="81304"/>
                    <a:pt x="74901" y="62732"/>
                  </a:cubicBezTo>
                  <a:cubicBezTo>
                    <a:pt x="49387" y="43992"/>
                    <a:pt x="25995" y="22556"/>
                    <a:pt x="3312" y="547"/>
                  </a:cubicBezTo>
                  <a:cubicBezTo>
                    <a:pt x="1525" y="-1172"/>
                    <a:pt x="-1204" y="1558"/>
                    <a:pt x="582" y="3277"/>
                  </a:cubicBezTo>
                  <a:cubicBezTo>
                    <a:pt x="23030" y="25017"/>
                    <a:pt x="46151" y="46150"/>
                    <a:pt x="71261" y="64788"/>
                  </a:cubicBezTo>
                  <a:cubicBezTo>
                    <a:pt x="97045" y="83933"/>
                    <a:pt x="124852" y="99943"/>
                    <a:pt x="154175" y="113020"/>
                  </a:cubicBezTo>
                  <a:cubicBezTo>
                    <a:pt x="156434" y="114031"/>
                    <a:pt x="158388" y="110661"/>
                    <a:pt x="156096" y="109650"/>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sp>
          <p:nvSpPr>
            <p:cNvPr id="292" name="Freeform: Shape 291">
              <a:extLst>
                <a:ext uri="{FF2B5EF4-FFF2-40B4-BE49-F238E27FC236}">
                  <a16:creationId xmlns:a16="http://schemas.microsoft.com/office/drawing/2014/main" id="{9C2E3831-187E-48F7-ADAF-F25E4555912D}"/>
                </a:ext>
              </a:extLst>
            </p:cNvPr>
            <p:cNvSpPr/>
            <p:nvPr/>
          </p:nvSpPr>
          <p:spPr>
            <a:xfrm>
              <a:off x="9040624" y="1525923"/>
              <a:ext cx="3930" cy="3948"/>
            </a:xfrm>
            <a:custGeom>
              <a:avLst/>
              <a:gdLst>
                <a:gd name="connsiteX0" fmla="*/ 3331 w 3930"/>
                <a:gd name="connsiteY0" fmla="*/ 600 h 3948"/>
                <a:gd name="connsiteX1" fmla="*/ 600 w 3930"/>
                <a:gd name="connsiteY1" fmla="*/ 3330 h 3948"/>
                <a:gd name="connsiteX2" fmla="*/ 3331 w 3930"/>
                <a:gd name="connsiteY2" fmla="*/ 600 h 3948"/>
              </a:gdLst>
              <a:ahLst/>
              <a:cxnLst>
                <a:cxn ang="0">
                  <a:pos x="connsiteX0" y="connsiteY0"/>
                </a:cxn>
                <a:cxn ang="0">
                  <a:pos x="connsiteX1" y="connsiteY1"/>
                </a:cxn>
                <a:cxn ang="0">
                  <a:pos x="connsiteX2" y="connsiteY2"/>
                </a:cxn>
              </a:cxnLst>
              <a:rect l="l" t="t" r="r" b="b"/>
              <a:pathLst>
                <a:path w="3930" h="3948">
                  <a:moveTo>
                    <a:pt x="3331" y="600"/>
                  </a:moveTo>
                  <a:cubicBezTo>
                    <a:pt x="1510" y="-1220"/>
                    <a:pt x="-1220" y="1510"/>
                    <a:pt x="600" y="3330"/>
                  </a:cubicBezTo>
                  <a:cubicBezTo>
                    <a:pt x="2420" y="5184"/>
                    <a:pt x="5151" y="2454"/>
                    <a:pt x="3331" y="600"/>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sp>
          <p:nvSpPr>
            <p:cNvPr id="293" name="Freeform: Shape 292">
              <a:extLst>
                <a:ext uri="{FF2B5EF4-FFF2-40B4-BE49-F238E27FC236}">
                  <a16:creationId xmlns:a16="http://schemas.microsoft.com/office/drawing/2014/main" id="{A02A5520-AB05-4524-B473-2BEE0FF95C40}"/>
                </a:ext>
              </a:extLst>
            </p:cNvPr>
            <p:cNvSpPr/>
            <p:nvPr/>
          </p:nvSpPr>
          <p:spPr>
            <a:xfrm>
              <a:off x="8854400" y="1424153"/>
              <a:ext cx="166877" cy="122728"/>
            </a:xfrm>
            <a:custGeom>
              <a:avLst/>
              <a:gdLst>
                <a:gd name="connsiteX0" fmla="*/ 164849 w 166877"/>
                <a:gd name="connsiteY0" fmla="*/ 3919 h 122728"/>
                <a:gd name="connsiteX1" fmla="*/ 165152 w 166877"/>
                <a:gd name="connsiteY1" fmla="*/ 77 h 122728"/>
                <a:gd name="connsiteX2" fmla="*/ 99798 w 166877"/>
                <a:gd name="connsiteY2" fmla="*/ 27782 h 122728"/>
                <a:gd name="connsiteX3" fmla="*/ 31984 w 166877"/>
                <a:gd name="connsiteY3" fmla="*/ 89630 h 122728"/>
                <a:gd name="connsiteX4" fmla="*/ 672 w 166877"/>
                <a:gd name="connsiteY4" fmla="*/ 119324 h 122728"/>
                <a:gd name="connsiteX5" fmla="*/ 3166 w 166877"/>
                <a:gd name="connsiteY5" fmla="*/ 122257 h 122728"/>
                <a:gd name="connsiteX6" fmla="*/ 127638 w 166877"/>
                <a:gd name="connsiteY6" fmla="*/ 14165 h 122728"/>
                <a:gd name="connsiteX7" fmla="*/ 164849 w 166877"/>
                <a:gd name="connsiteY7" fmla="*/ 3919 h 12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6877" h="122728">
                  <a:moveTo>
                    <a:pt x="164849" y="3919"/>
                  </a:moveTo>
                  <a:cubicBezTo>
                    <a:pt x="167343" y="4054"/>
                    <a:pt x="167646" y="211"/>
                    <a:pt x="165152" y="77"/>
                  </a:cubicBezTo>
                  <a:cubicBezTo>
                    <a:pt x="140952" y="-1204"/>
                    <a:pt x="118235" y="13828"/>
                    <a:pt x="99798" y="27782"/>
                  </a:cubicBezTo>
                  <a:cubicBezTo>
                    <a:pt x="75362" y="46252"/>
                    <a:pt x="53690" y="68127"/>
                    <a:pt x="31984" y="89630"/>
                  </a:cubicBezTo>
                  <a:cubicBezTo>
                    <a:pt x="21771" y="99742"/>
                    <a:pt x="11592" y="109955"/>
                    <a:pt x="672" y="119324"/>
                  </a:cubicBezTo>
                  <a:cubicBezTo>
                    <a:pt x="-1216" y="120942"/>
                    <a:pt x="1279" y="123875"/>
                    <a:pt x="3166" y="122257"/>
                  </a:cubicBezTo>
                  <a:cubicBezTo>
                    <a:pt x="44590" y="86698"/>
                    <a:pt x="78732" y="40253"/>
                    <a:pt x="127638" y="14165"/>
                  </a:cubicBezTo>
                  <a:cubicBezTo>
                    <a:pt x="139065" y="8065"/>
                    <a:pt x="151704" y="3211"/>
                    <a:pt x="164849" y="3919"/>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sp>
          <p:nvSpPr>
            <p:cNvPr id="294" name="Freeform: Shape 293">
              <a:extLst>
                <a:ext uri="{FF2B5EF4-FFF2-40B4-BE49-F238E27FC236}">
                  <a16:creationId xmlns:a16="http://schemas.microsoft.com/office/drawing/2014/main" id="{78697200-7750-41C8-8CBE-B57636FC71F1}"/>
                </a:ext>
              </a:extLst>
            </p:cNvPr>
            <p:cNvSpPr/>
            <p:nvPr/>
          </p:nvSpPr>
          <p:spPr>
            <a:xfrm>
              <a:off x="9172633" y="1398335"/>
              <a:ext cx="101899" cy="223736"/>
            </a:xfrm>
            <a:custGeom>
              <a:avLst/>
              <a:gdLst>
                <a:gd name="connsiteX0" fmla="*/ 101761 w 101899"/>
                <a:gd name="connsiteY0" fmla="*/ 221012 h 223736"/>
                <a:gd name="connsiteX1" fmla="*/ 37048 w 101899"/>
                <a:gd name="connsiteY1" fmla="*/ 30882 h 223736"/>
                <a:gd name="connsiteX2" fmla="*/ 2534 w 101899"/>
                <a:gd name="connsiteY2" fmla="*/ 177 h 223736"/>
                <a:gd name="connsiteX3" fmla="*/ 1152 w 101899"/>
                <a:gd name="connsiteY3" fmla="*/ 3783 h 223736"/>
                <a:gd name="connsiteX4" fmla="*/ 55484 w 101899"/>
                <a:gd name="connsiteY4" fmla="*/ 75979 h 223736"/>
                <a:gd name="connsiteX5" fmla="*/ 84640 w 101899"/>
                <a:gd name="connsiteY5" fmla="*/ 177161 h 223736"/>
                <a:gd name="connsiteX6" fmla="*/ 98256 w 101899"/>
                <a:gd name="connsiteY6" fmla="*/ 222596 h 223736"/>
                <a:gd name="connsiteX7" fmla="*/ 101761 w 101899"/>
                <a:gd name="connsiteY7" fmla="*/ 221012 h 223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899" h="223736">
                  <a:moveTo>
                    <a:pt x="101761" y="221012"/>
                  </a:moveTo>
                  <a:cubicBezTo>
                    <a:pt x="77730" y="158860"/>
                    <a:pt x="75640" y="87203"/>
                    <a:pt x="37048" y="30882"/>
                  </a:cubicBezTo>
                  <a:cubicBezTo>
                    <a:pt x="28218" y="17973"/>
                    <a:pt x="16960" y="6648"/>
                    <a:pt x="2534" y="177"/>
                  </a:cubicBezTo>
                  <a:cubicBezTo>
                    <a:pt x="276" y="-834"/>
                    <a:pt x="-1106" y="2772"/>
                    <a:pt x="1152" y="3783"/>
                  </a:cubicBezTo>
                  <a:cubicBezTo>
                    <a:pt x="29700" y="16558"/>
                    <a:pt x="44868" y="48409"/>
                    <a:pt x="55484" y="75979"/>
                  </a:cubicBezTo>
                  <a:cubicBezTo>
                    <a:pt x="68124" y="108774"/>
                    <a:pt x="75910" y="143187"/>
                    <a:pt x="84640" y="177161"/>
                  </a:cubicBezTo>
                  <a:cubicBezTo>
                    <a:pt x="88583" y="192463"/>
                    <a:pt x="92560" y="207833"/>
                    <a:pt x="98256" y="222596"/>
                  </a:cubicBezTo>
                  <a:cubicBezTo>
                    <a:pt x="99099" y="224921"/>
                    <a:pt x="102637" y="223337"/>
                    <a:pt x="101761" y="221012"/>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sp>
          <p:nvSpPr>
            <p:cNvPr id="295" name="Freeform: Shape 294">
              <a:extLst>
                <a:ext uri="{FF2B5EF4-FFF2-40B4-BE49-F238E27FC236}">
                  <a16:creationId xmlns:a16="http://schemas.microsoft.com/office/drawing/2014/main" id="{3D6E2B5D-076C-4CAB-8A13-ABBD4C3BD0CD}"/>
                </a:ext>
              </a:extLst>
            </p:cNvPr>
            <p:cNvSpPr/>
            <p:nvPr/>
          </p:nvSpPr>
          <p:spPr>
            <a:xfrm>
              <a:off x="9215249" y="1395014"/>
              <a:ext cx="58633" cy="58651"/>
            </a:xfrm>
            <a:custGeom>
              <a:avLst/>
              <a:gdLst>
                <a:gd name="connsiteX0" fmla="*/ 58034 w 58633"/>
                <a:gd name="connsiteY0" fmla="*/ 55303 h 58651"/>
                <a:gd name="connsiteX1" fmla="*/ 3331 w 58633"/>
                <a:gd name="connsiteY1" fmla="*/ 600 h 58651"/>
                <a:gd name="connsiteX2" fmla="*/ 600 w 58633"/>
                <a:gd name="connsiteY2" fmla="*/ 3330 h 58651"/>
                <a:gd name="connsiteX3" fmla="*/ 55303 w 58633"/>
                <a:gd name="connsiteY3" fmla="*/ 58033 h 58651"/>
                <a:gd name="connsiteX4" fmla="*/ 58034 w 58633"/>
                <a:gd name="connsiteY4" fmla="*/ 55303 h 586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633" h="58651">
                  <a:moveTo>
                    <a:pt x="58034" y="55303"/>
                  </a:moveTo>
                  <a:lnTo>
                    <a:pt x="3331" y="600"/>
                  </a:lnTo>
                  <a:cubicBezTo>
                    <a:pt x="1510" y="-1220"/>
                    <a:pt x="-1220" y="1510"/>
                    <a:pt x="600" y="3330"/>
                  </a:cubicBezTo>
                  <a:lnTo>
                    <a:pt x="55303" y="58033"/>
                  </a:lnTo>
                  <a:cubicBezTo>
                    <a:pt x="57123" y="59887"/>
                    <a:pt x="59854" y="57157"/>
                    <a:pt x="58034" y="55303"/>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sp>
          <p:nvSpPr>
            <p:cNvPr id="296" name="Freeform: Shape 295">
              <a:extLst>
                <a:ext uri="{FF2B5EF4-FFF2-40B4-BE49-F238E27FC236}">
                  <a16:creationId xmlns:a16="http://schemas.microsoft.com/office/drawing/2014/main" id="{D03FE0E5-4A78-4D7C-A94C-43BE517DFA12}"/>
                </a:ext>
              </a:extLst>
            </p:cNvPr>
            <p:cNvSpPr/>
            <p:nvPr/>
          </p:nvSpPr>
          <p:spPr>
            <a:xfrm>
              <a:off x="8801060" y="1281831"/>
              <a:ext cx="133252" cy="9972"/>
            </a:xfrm>
            <a:custGeom>
              <a:avLst/>
              <a:gdLst>
                <a:gd name="connsiteX0" fmla="*/ 130354 w 133252"/>
                <a:gd name="connsiteY0" fmla="*/ 2725 h 9972"/>
                <a:gd name="connsiteX1" fmla="*/ 103693 w 133252"/>
                <a:gd name="connsiteY1" fmla="*/ 770 h 9972"/>
                <a:gd name="connsiteX2" fmla="*/ 66955 w 133252"/>
                <a:gd name="connsiteY2" fmla="*/ 737 h 9972"/>
                <a:gd name="connsiteX3" fmla="*/ 1432 w 133252"/>
                <a:gd name="connsiteY3" fmla="*/ 3163 h 9972"/>
                <a:gd name="connsiteX4" fmla="*/ 253 w 133252"/>
                <a:gd name="connsiteY4" fmla="*/ 5995 h 9972"/>
                <a:gd name="connsiteX5" fmla="*/ 2040 w 133252"/>
                <a:gd name="connsiteY5" fmla="*/ 9028 h 9972"/>
                <a:gd name="connsiteX6" fmla="*/ 5410 w 133252"/>
                <a:gd name="connsiteY6" fmla="*/ 7107 h 9972"/>
                <a:gd name="connsiteX7" fmla="*/ 4971 w 133252"/>
                <a:gd name="connsiteY7" fmla="*/ 6332 h 9972"/>
                <a:gd name="connsiteX8" fmla="*/ 36418 w 133252"/>
                <a:gd name="connsiteY8" fmla="*/ 4478 h 9972"/>
                <a:gd name="connsiteX9" fmla="*/ 74336 w 133252"/>
                <a:gd name="connsiteY9" fmla="*/ 4377 h 9972"/>
                <a:gd name="connsiteX10" fmla="*/ 110401 w 133252"/>
                <a:gd name="connsiteY10" fmla="*/ 5658 h 9972"/>
                <a:gd name="connsiteX11" fmla="*/ 132309 w 133252"/>
                <a:gd name="connsiteY11" fmla="*/ 6062 h 9972"/>
                <a:gd name="connsiteX12" fmla="*/ 130354 w 133252"/>
                <a:gd name="connsiteY12" fmla="*/ 2725 h 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3252" h="9972">
                  <a:moveTo>
                    <a:pt x="130354" y="2725"/>
                  </a:moveTo>
                  <a:cubicBezTo>
                    <a:pt x="122905" y="6736"/>
                    <a:pt x="111614" y="1444"/>
                    <a:pt x="103693" y="770"/>
                  </a:cubicBezTo>
                  <a:cubicBezTo>
                    <a:pt x="91493" y="-308"/>
                    <a:pt x="79156" y="534"/>
                    <a:pt x="66955" y="737"/>
                  </a:cubicBezTo>
                  <a:cubicBezTo>
                    <a:pt x="45586" y="1074"/>
                    <a:pt x="22296" y="-2330"/>
                    <a:pt x="1432" y="3163"/>
                  </a:cubicBezTo>
                  <a:cubicBezTo>
                    <a:pt x="253" y="3467"/>
                    <a:pt x="-387" y="4916"/>
                    <a:pt x="253" y="5995"/>
                  </a:cubicBezTo>
                  <a:cubicBezTo>
                    <a:pt x="860" y="7006"/>
                    <a:pt x="1432" y="8017"/>
                    <a:pt x="2040" y="9028"/>
                  </a:cubicBezTo>
                  <a:cubicBezTo>
                    <a:pt x="3286" y="11185"/>
                    <a:pt x="6657" y="9264"/>
                    <a:pt x="5410" y="7107"/>
                  </a:cubicBezTo>
                  <a:cubicBezTo>
                    <a:pt x="5275" y="6837"/>
                    <a:pt x="5106" y="6601"/>
                    <a:pt x="4971" y="6332"/>
                  </a:cubicBezTo>
                  <a:cubicBezTo>
                    <a:pt x="15252" y="4073"/>
                    <a:pt x="25936" y="4343"/>
                    <a:pt x="36418" y="4478"/>
                  </a:cubicBezTo>
                  <a:cubicBezTo>
                    <a:pt x="49058" y="4646"/>
                    <a:pt x="61697" y="4815"/>
                    <a:pt x="74336" y="4377"/>
                  </a:cubicBezTo>
                  <a:cubicBezTo>
                    <a:pt x="86234" y="3972"/>
                    <a:pt x="98638" y="3467"/>
                    <a:pt x="110401" y="5658"/>
                  </a:cubicBezTo>
                  <a:cubicBezTo>
                    <a:pt x="117243" y="6938"/>
                    <a:pt x="125770" y="9601"/>
                    <a:pt x="132309" y="6062"/>
                  </a:cubicBezTo>
                  <a:cubicBezTo>
                    <a:pt x="134466" y="4916"/>
                    <a:pt x="132545" y="1579"/>
                    <a:pt x="130354" y="2725"/>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sp>
          <p:nvSpPr>
            <p:cNvPr id="297" name="Freeform: Shape 296">
              <a:extLst>
                <a:ext uri="{FF2B5EF4-FFF2-40B4-BE49-F238E27FC236}">
                  <a16:creationId xmlns:a16="http://schemas.microsoft.com/office/drawing/2014/main" id="{7777CE1F-4BA0-48E0-A2A3-4B040DB13BBC}"/>
                </a:ext>
              </a:extLst>
            </p:cNvPr>
            <p:cNvSpPr/>
            <p:nvPr/>
          </p:nvSpPr>
          <p:spPr>
            <a:xfrm>
              <a:off x="9288959" y="1120253"/>
              <a:ext cx="42758" cy="54833"/>
            </a:xfrm>
            <a:custGeom>
              <a:avLst/>
              <a:gdLst>
                <a:gd name="connsiteX0" fmla="*/ 6063 w 42758"/>
                <a:gd name="connsiteY0" fmla="*/ 52032 h 54833"/>
                <a:gd name="connsiteX1" fmla="*/ 12736 w 42758"/>
                <a:gd name="connsiteY1" fmla="*/ 38685 h 54833"/>
                <a:gd name="connsiteX2" fmla="*/ 21365 w 42758"/>
                <a:gd name="connsiteY2" fmla="*/ 28337 h 54833"/>
                <a:gd name="connsiteX3" fmla="*/ 42195 w 42758"/>
                <a:gd name="connsiteY3" fmla="*/ 3295 h 54833"/>
                <a:gd name="connsiteX4" fmla="*/ 39464 w 42758"/>
                <a:gd name="connsiteY4" fmla="*/ 564 h 54833"/>
                <a:gd name="connsiteX5" fmla="*/ 19646 w 42758"/>
                <a:gd name="connsiteY5" fmla="*/ 23753 h 54833"/>
                <a:gd name="connsiteX6" fmla="*/ 266 w 42758"/>
                <a:gd name="connsiteY6" fmla="*/ 48392 h 54833"/>
                <a:gd name="connsiteX7" fmla="*/ 266 w 42758"/>
                <a:gd name="connsiteY7" fmla="*/ 50313 h 54833"/>
                <a:gd name="connsiteX8" fmla="*/ 2659 w 42758"/>
                <a:gd name="connsiteY8" fmla="*/ 53953 h 54833"/>
                <a:gd name="connsiteX9" fmla="*/ 6063 w 42758"/>
                <a:gd name="connsiteY9" fmla="*/ 52032 h 54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758" h="54833">
                  <a:moveTo>
                    <a:pt x="6063" y="52032"/>
                  </a:moveTo>
                  <a:cubicBezTo>
                    <a:pt x="2760" y="47044"/>
                    <a:pt x="9400" y="42359"/>
                    <a:pt x="12736" y="38685"/>
                  </a:cubicBezTo>
                  <a:cubicBezTo>
                    <a:pt x="15770" y="35382"/>
                    <a:pt x="18837" y="32079"/>
                    <a:pt x="21365" y="28337"/>
                  </a:cubicBezTo>
                  <a:cubicBezTo>
                    <a:pt x="27600" y="19102"/>
                    <a:pt x="34307" y="11181"/>
                    <a:pt x="42195" y="3295"/>
                  </a:cubicBezTo>
                  <a:cubicBezTo>
                    <a:pt x="43947" y="1542"/>
                    <a:pt x="41217" y="-1188"/>
                    <a:pt x="39464" y="564"/>
                  </a:cubicBezTo>
                  <a:cubicBezTo>
                    <a:pt x="32218" y="7777"/>
                    <a:pt x="25140" y="15058"/>
                    <a:pt x="19646" y="23753"/>
                  </a:cubicBezTo>
                  <a:cubicBezTo>
                    <a:pt x="14051" y="32685"/>
                    <a:pt x="5658" y="39291"/>
                    <a:pt x="266" y="48392"/>
                  </a:cubicBezTo>
                  <a:cubicBezTo>
                    <a:pt x="-72" y="48931"/>
                    <a:pt x="-105" y="49774"/>
                    <a:pt x="266" y="50313"/>
                  </a:cubicBezTo>
                  <a:cubicBezTo>
                    <a:pt x="1075" y="51526"/>
                    <a:pt x="1850" y="52740"/>
                    <a:pt x="2659" y="53953"/>
                  </a:cubicBezTo>
                  <a:cubicBezTo>
                    <a:pt x="4040" y="56009"/>
                    <a:pt x="7411" y="54088"/>
                    <a:pt x="6063" y="52032"/>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sp>
          <p:nvSpPr>
            <p:cNvPr id="298" name="Freeform: Shape 297">
              <a:extLst>
                <a:ext uri="{FF2B5EF4-FFF2-40B4-BE49-F238E27FC236}">
                  <a16:creationId xmlns:a16="http://schemas.microsoft.com/office/drawing/2014/main" id="{6B3A8372-B4F1-451A-9FC3-219FEC448B8A}"/>
                </a:ext>
              </a:extLst>
            </p:cNvPr>
            <p:cNvSpPr/>
            <p:nvPr/>
          </p:nvSpPr>
          <p:spPr>
            <a:xfrm>
              <a:off x="9246521" y="1594305"/>
              <a:ext cx="65090" cy="38419"/>
            </a:xfrm>
            <a:custGeom>
              <a:avLst/>
              <a:gdLst>
                <a:gd name="connsiteX0" fmla="*/ 64510 w 65090"/>
                <a:gd name="connsiteY0" fmla="*/ 13481 h 38419"/>
                <a:gd name="connsiteX1" fmla="*/ 54433 w 65090"/>
                <a:gd name="connsiteY1" fmla="*/ 808 h 38419"/>
                <a:gd name="connsiteX2" fmla="*/ 47455 w 65090"/>
                <a:gd name="connsiteY2" fmla="*/ 303 h 38419"/>
                <a:gd name="connsiteX3" fmla="*/ 46916 w 65090"/>
                <a:gd name="connsiteY3" fmla="*/ 336 h 38419"/>
                <a:gd name="connsiteX4" fmla="*/ 19716 w 65090"/>
                <a:gd name="connsiteY4" fmla="*/ 9336 h 38419"/>
                <a:gd name="connsiteX5" fmla="*/ 3201 w 65090"/>
                <a:gd name="connsiteY5" fmla="*/ 21436 h 38419"/>
                <a:gd name="connsiteX6" fmla="*/ 875 w 65090"/>
                <a:gd name="connsiteY6" fmla="*/ 32895 h 38419"/>
                <a:gd name="connsiteX7" fmla="*/ 2089 w 65090"/>
                <a:gd name="connsiteY7" fmla="*/ 35154 h 38419"/>
                <a:gd name="connsiteX8" fmla="*/ 19919 w 65090"/>
                <a:gd name="connsiteY8" fmla="*/ 37007 h 38419"/>
                <a:gd name="connsiteX9" fmla="*/ 28244 w 65090"/>
                <a:gd name="connsiteY9" fmla="*/ 33839 h 38419"/>
                <a:gd name="connsiteX10" fmla="*/ 35524 w 65090"/>
                <a:gd name="connsiteY10" fmla="*/ 33300 h 38419"/>
                <a:gd name="connsiteX11" fmla="*/ 53657 w 65090"/>
                <a:gd name="connsiteY11" fmla="*/ 24368 h 38419"/>
                <a:gd name="connsiteX12" fmla="*/ 64510 w 65090"/>
                <a:gd name="connsiteY12" fmla="*/ 13481 h 38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090" h="38419">
                  <a:moveTo>
                    <a:pt x="64510" y="13481"/>
                  </a:moveTo>
                  <a:cubicBezTo>
                    <a:pt x="67038" y="6100"/>
                    <a:pt x="60870" y="2190"/>
                    <a:pt x="54433" y="808"/>
                  </a:cubicBezTo>
                  <a:cubicBezTo>
                    <a:pt x="52275" y="-102"/>
                    <a:pt x="49815" y="-203"/>
                    <a:pt x="47455" y="303"/>
                  </a:cubicBezTo>
                  <a:cubicBezTo>
                    <a:pt x="47287" y="303"/>
                    <a:pt x="47085" y="336"/>
                    <a:pt x="46916" y="336"/>
                  </a:cubicBezTo>
                  <a:cubicBezTo>
                    <a:pt x="37546" y="1348"/>
                    <a:pt x="28041" y="5055"/>
                    <a:pt x="19716" y="9336"/>
                  </a:cubicBezTo>
                  <a:cubicBezTo>
                    <a:pt x="14122" y="12234"/>
                    <a:pt x="7145" y="15975"/>
                    <a:pt x="3201" y="21436"/>
                  </a:cubicBezTo>
                  <a:cubicBezTo>
                    <a:pt x="404" y="24469"/>
                    <a:pt x="-1046" y="28311"/>
                    <a:pt x="875" y="32895"/>
                  </a:cubicBezTo>
                  <a:cubicBezTo>
                    <a:pt x="1145" y="33704"/>
                    <a:pt x="1550" y="34479"/>
                    <a:pt x="2089" y="35154"/>
                  </a:cubicBezTo>
                  <a:cubicBezTo>
                    <a:pt x="5830" y="40007"/>
                    <a:pt x="14897" y="38389"/>
                    <a:pt x="19919" y="37007"/>
                  </a:cubicBezTo>
                  <a:cubicBezTo>
                    <a:pt x="22783" y="36198"/>
                    <a:pt x="25547" y="35086"/>
                    <a:pt x="28244" y="33839"/>
                  </a:cubicBezTo>
                  <a:cubicBezTo>
                    <a:pt x="30670" y="33603"/>
                    <a:pt x="33131" y="33569"/>
                    <a:pt x="35524" y="33300"/>
                  </a:cubicBezTo>
                  <a:cubicBezTo>
                    <a:pt x="43006" y="32491"/>
                    <a:pt x="48433" y="29896"/>
                    <a:pt x="53657" y="24368"/>
                  </a:cubicBezTo>
                  <a:cubicBezTo>
                    <a:pt x="56826" y="20998"/>
                    <a:pt x="62893" y="18133"/>
                    <a:pt x="64510" y="13481"/>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sp>
          <p:nvSpPr>
            <p:cNvPr id="299" name="Freeform: Shape 298">
              <a:extLst>
                <a:ext uri="{FF2B5EF4-FFF2-40B4-BE49-F238E27FC236}">
                  <a16:creationId xmlns:a16="http://schemas.microsoft.com/office/drawing/2014/main" id="{C95F3182-990E-4EE2-83C0-577EB133CDF7}"/>
                </a:ext>
              </a:extLst>
            </p:cNvPr>
            <p:cNvSpPr/>
            <p:nvPr/>
          </p:nvSpPr>
          <p:spPr>
            <a:xfrm>
              <a:off x="9415917" y="1328899"/>
              <a:ext cx="30389" cy="57336"/>
            </a:xfrm>
            <a:custGeom>
              <a:avLst/>
              <a:gdLst>
                <a:gd name="connsiteX0" fmla="*/ 27271 w 30389"/>
                <a:gd name="connsiteY0" fmla="*/ 41874 h 57336"/>
                <a:gd name="connsiteX1" fmla="*/ 28350 w 30389"/>
                <a:gd name="connsiteY1" fmla="*/ 11742 h 57336"/>
                <a:gd name="connsiteX2" fmla="*/ 25417 w 30389"/>
                <a:gd name="connsiteY2" fmla="*/ 6652 h 57336"/>
                <a:gd name="connsiteX3" fmla="*/ 24103 w 30389"/>
                <a:gd name="connsiteY3" fmla="*/ 3282 h 57336"/>
                <a:gd name="connsiteX4" fmla="*/ 15306 w 30389"/>
                <a:gd name="connsiteY4" fmla="*/ 855 h 57336"/>
                <a:gd name="connsiteX5" fmla="*/ 13823 w 30389"/>
                <a:gd name="connsiteY5" fmla="*/ 1967 h 57336"/>
                <a:gd name="connsiteX6" fmla="*/ 9880 w 30389"/>
                <a:gd name="connsiteY6" fmla="*/ 2642 h 57336"/>
                <a:gd name="connsiteX7" fmla="*/ 4 w 30389"/>
                <a:gd name="connsiteY7" fmla="*/ 25190 h 57336"/>
                <a:gd name="connsiteX8" fmla="*/ 4689 w 30389"/>
                <a:gd name="connsiteY8" fmla="*/ 46997 h 57336"/>
                <a:gd name="connsiteX9" fmla="*/ 5936 w 30389"/>
                <a:gd name="connsiteY9" fmla="*/ 50772 h 57336"/>
                <a:gd name="connsiteX10" fmla="*/ 22688 w 30389"/>
                <a:gd name="connsiteY10" fmla="*/ 54109 h 57336"/>
                <a:gd name="connsiteX11" fmla="*/ 27271 w 30389"/>
                <a:gd name="connsiteY11" fmla="*/ 41874 h 57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389" h="57336">
                  <a:moveTo>
                    <a:pt x="27271" y="41874"/>
                  </a:moveTo>
                  <a:cubicBezTo>
                    <a:pt x="31822" y="33380"/>
                    <a:pt x="30676" y="18854"/>
                    <a:pt x="28350" y="11742"/>
                  </a:cubicBezTo>
                  <a:cubicBezTo>
                    <a:pt x="27710" y="9854"/>
                    <a:pt x="26699" y="8102"/>
                    <a:pt x="25417" y="6652"/>
                  </a:cubicBezTo>
                  <a:cubicBezTo>
                    <a:pt x="25013" y="5540"/>
                    <a:pt x="24575" y="4428"/>
                    <a:pt x="24103" y="3282"/>
                  </a:cubicBezTo>
                  <a:cubicBezTo>
                    <a:pt x="22856" y="248"/>
                    <a:pt x="17901" y="-965"/>
                    <a:pt x="15306" y="855"/>
                  </a:cubicBezTo>
                  <a:cubicBezTo>
                    <a:pt x="14801" y="1226"/>
                    <a:pt x="14295" y="1597"/>
                    <a:pt x="13823" y="1967"/>
                  </a:cubicBezTo>
                  <a:cubicBezTo>
                    <a:pt x="12509" y="1866"/>
                    <a:pt x="11127" y="2136"/>
                    <a:pt x="9880" y="2642"/>
                  </a:cubicBezTo>
                  <a:cubicBezTo>
                    <a:pt x="1622" y="6113"/>
                    <a:pt x="105" y="17404"/>
                    <a:pt x="4" y="25190"/>
                  </a:cubicBezTo>
                  <a:cubicBezTo>
                    <a:pt x="-63" y="32133"/>
                    <a:pt x="712" y="40829"/>
                    <a:pt x="4689" y="46997"/>
                  </a:cubicBezTo>
                  <a:cubicBezTo>
                    <a:pt x="4993" y="48312"/>
                    <a:pt x="5397" y="49592"/>
                    <a:pt x="5936" y="50772"/>
                  </a:cubicBezTo>
                  <a:cubicBezTo>
                    <a:pt x="9071" y="57715"/>
                    <a:pt x="17025" y="59670"/>
                    <a:pt x="22688" y="54109"/>
                  </a:cubicBezTo>
                  <a:cubicBezTo>
                    <a:pt x="26260" y="50570"/>
                    <a:pt x="27035" y="46289"/>
                    <a:pt x="27271" y="41874"/>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sp>
          <p:nvSpPr>
            <p:cNvPr id="300" name="Freeform: Shape 299">
              <a:extLst>
                <a:ext uri="{FF2B5EF4-FFF2-40B4-BE49-F238E27FC236}">
                  <a16:creationId xmlns:a16="http://schemas.microsoft.com/office/drawing/2014/main" id="{4ADDC6FC-7DBD-4E26-A400-01A08ACA188E}"/>
                </a:ext>
              </a:extLst>
            </p:cNvPr>
            <p:cNvSpPr/>
            <p:nvPr/>
          </p:nvSpPr>
          <p:spPr>
            <a:xfrm>
              <a:off x="9316474" y="1094703"/>
              <a:ext cx="42207" cy="41146"/>
            </a:xfrm>
            <a:custGeom>
              <a:avLst/>
              <a:gdLst>
                <a:gd name="connsiteX0" fmla="*/ 42182 w 42207"/>
                <a:gd name="connsiteY0" fmla="*/ 34979 h 41146"/>
                <a:gd name="connsiteX1" fmla="*/ 37935 w 42207"/>
                <a:gd name="connsiteY1" fmla="*/ 25845 h 41146"/>
                <a:gd name="connsiteX2" fmla="*/ 32913 w 42207"/>
                <a:gd name="connsiteY2" fmla="*/ 14587 h 41146"/>
                <a:gd name="connsiteX3" fmla="*/ 31734 w 42207"/>
                <a:gd name="connsiteY3" fmla="*/ 12869 h 41146"/>
                <a:gd name="connsiteX4" fmla="*/ 152 w 42207"/>
                <a:gd name="connsiteY4" fmla="*/ 6633 h 41146"/>
                <a:gd name="connsiteX5" fmla="*/ 40868 w 42207"/>
                <a:gd name="connsiteY5" fmla="*/ 41147 h 41146"/>
                <a:gd name="connsiteX6" fmla="*/ 42182 w 42207"/>
                <a:gd name="connsiteY6" fmla="*/ 34979 h 41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207" h="41146">
                  <a:moveTo>
                    <a:pt x="42182" y="34979"/>
                  </a:moveTo>
                  <a:cubicBezTo>
                    <a:pt x="41980" y="31844"/>
                    <a:pt x="40396" y="28811"/>
                    <a:pt x="37935" y="25845"/>
                  </a:cubicBezTo>
                  <a:cubicBezTo>
                    <a:pt x="37734" y="21868"/>
                    <a:pt x="35509" y="17958"/>
                    <a:pt x="32913" y="14587"/>
                  </a:cubicBezTo>
                  <a:cubicBezTo>
                    <a:pt x="32644" y="13981"/>
                    <a:pt x="32239" y="13408"/>
                    <a:pt x="31734" y="12869"/>
                  </a:cubicBezTo>
                  <a:cubicBezTo>
                    <a:pt x="26780" y="7543"/>
                    <a:pt x="3489" y="-9174"/>
                    <a:pt x="152" y="6633"/>
                  </a:cubicBezTo>
                  <a:cubicBezTo>
                    <a:pt x="-2577" y="19576"/>
                    <a:pt x="32206" y="40102"/>
                    <a:pt x="40868" y="41147"/>
                  </a:cubicBezTo>
                  <a:cubicBezTo>
                    <a:pt x="41913" y="39024"/>
                    <a:pt x="42317" y="36968"/>
                    <a:pt x="42182" y="34979"/>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sp>
          <p:nvSpPr>
            <p:cNvPr id="301" name="Freeform: Shape 300">
              <a:extLst>
                <a:ext uri="{FF2B5EF4-FFF2-40B4-BE49-F238E27FC236}">
                  <a16:creationId xmlns:a16="http://schemas.microsoft.com/office/drawing/2014/main" id="{2CC0EBAB-7612-4E42-8098-F24B32DE0DA3}"/>
                </a:ext>
              </a:extLst>
            </p:cNvPr>
            <p:cNvSpPr/>
            <p:nvPr/>
          </p:nvSpPr>
          <p:spPr>
            <a:xfrm>
              <a:off x="9098004" y="1522565"/>
              <a:ext cx="10601" cy="66430"/>
            </a:xfrm>
            <a:custGeom>
              <a:avLst/>
              <a:gdLst>
                <a:gd name="connsiteX0" fmla="*/ 3720 w 10601"/>
                <a:gd name="connsiteY0" fmla="*/ 3588 h 66430"/>
                <a:gd name="connsiteX1" fmla="*/ 5405 w 10601"/>
                <a:gd name="connsiteY1" fmla="*/ 18419 h 66430"/>
                <a:gd name="connsiteX2" fmla="*/ 3821 w 10601"/>
                <a:gd name="connsiteY2" fmla="*/ 31799 h 66430"/>
                <a:gd name="connsiteX3" fmla="*/ 47 w 10601"/>
                <a:gd name="connsiteY3" fmla="*/ 64156 h 66430"/>
                <a:gd name="connsiteX4" fmla="*/ 3821 w 10601"/>
                <a:gd name="connsiteY4" fmla="*/ 64965 h 66430"/>
                <a:gd name="connsiteX5" fmla="*/ 7765 w 10601"/>
                <a:gd name="connsiteY5" fmla="*/ 34732 h 66430"/>
                <a:gd name="connsiteX6" fmla="*/ 10562 w 10601"/>
                <a:gd name="connsiteY6" fmla="*/ 3521 h 66430"/>
                <a:gd name="connsiteX7" fmla="*/ 9517 w 10601"/>
                <a:gd name="connsiteY7" fmla="*/ 1937 h 66430"/>
                <a:gd name="connsiteX8" fmla="*/ 5506 w 10601"/>
                <a:gd name="connsiteY8" fmla="*/ 184 h 66430"/>
                <a:gd name="connsiteX9" fmla="*/ 3720 w 10601"/>
                <a:gd name="connsiteY9" fmla="*/ 3588 h 66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01" h="66430">
                  <a:moveTo>
                    <a:pt x="3720" y="3588"/>
                  </a:moveTo>
                  <a:cubicBezTo>
                    <a:pt x="9214" y="5981"/>
                    <a:pt x="6214" y="13531"/>
                    <a:pt x="5405" y="18419"/>
                  </a:cubicBezTo>
                  <a:cubicBezTo>
                    <a:pt x="4664" y="22868"/>
                    <a:pt x="3889" y="27283"/>
                    <a:pt x="3821" y="31799"/>
                  </a:cubicBezTo>
                  <a:cubicBezTo>
                    <a:pt x="3652" y="42956"/>
                    <a:pt x="2338" y="53236"/>
                    <a:pt x="47" y="64156"/>
                  </a:cubicBezTo>
                  <a:cubicBezTo>
                    <a:pt x="-460" y="66583"/>
                    <a:pt x="3316" y="67392"/>
                    <a:pt x="3821" y="64965"/>
                  </a:cubicBezTo>
                  <a:cubicBezTo>
                    <a:pt x="5945" y="54955"/>
                    <a:pt x="7933" y="45012"/>
                    <a:pt x="7765" y="34732"/>
                  </a:cubicBezTo>
                  <a:cubicBezTo>
                    <a:pt x="7596" y="24216"/>
                    <a:pt x="11001" y="14071"/>
                    <a:pt x="10562" y="3521"/>
                  </a:cubicBezTo>
                  <a:cubicBezTo>
                    <a:pt x="10528" y="2881"/>
                    <a:pt x="10124" y="2173"/>
                    <a:pt x="9517" y="1937"/>
                  </a:cubicBezTo>
                  <a:cubicBezTo>
                    <a:pt x="8169" y="1364"/>
                    <a:pt x="6855" y="757"/>
                    <a:pt x="5506" y="184"/>
                  </a:cubicBezTo>
                  <a:cubicBezTo>
                    <a:pt x="3248" y="-827"/>
                    <a:pt x="1462" y="2611"/>
                    <a:pt x="3720" y="3588"/>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sp>
          <p:nvSpPr>
            <p:cNvPr id="302" name="Freeform: Shape 301">
              <a:extLst>
                <a:ext uri="{FF2B5EF4-FFF2-40B4-BE49-F238E27FC236}">
                  <a16:creationId xmlns:a16="http://schemas.microsoft.com/office/drawing/2014/main" id="{F54D5A89-8D41-464E-AEFB-AF43116EA529}"/>
                </a:ext>
              </a:extLst>
            </p:cNvPr>
            <p:cNvSpPr/>
            <p:nvPr/>
          </p:nvSpPr>
          <p:spPr>
            <a:xfrm>
              <a:off x="9068353" y="1586387"/>
              <a:ext cx="55354" cy="29293"/>
            </a:xfrm>
            <a:custGeom>
              <a:avLst/>
              <a:gdLst>
                <a:gd name="connsiteX0" fmla="*/ 1655 w 55354"/>
                <a:gd name="connsiteY0" fmla="*/ 21601 h 29293"/>
                <a:gd name="connsiteX1" fmla="*/ 54033 w 55354"/>
                <a:gd name="connsiteY1" fmla="*/ 10950 h 29293"/>
                <a:gd name="connsiteX2" fmla="*/ 1318 w 55354"/>
                <a:gd name="connsiteY2" fmla="*/ 5524 h 29293"/>
                <a:gd name="connsiteX3" fmla="*/ 1655 w 55354"/>
                <a:gd name="connsiteY3" fmla="*/ 21601 h 29293"/>
              </a:gdLst>
              <a:ahLst/>
              <a:cxnLst>
                <a:cxn ang="0">
                  <a:pos x="connsiteX0" y="connsiteY0"/>
                </a:cxn>
                <a:cxn ang="0">
                  <a:pos x="connsiteX1" y="connsiteY1"/>
                </a:cxn>
                <a:cxn ang="0">
                  <a:pos x="connsiteX2" y="connsiteY2"/>
                </a:cxn>
                <a:cxn ang="0">
                  <a:pos x="connsiteX3" y="connsiteY3"/>
                </a:cxn>
              </a:cxnLst>
              <a:rect l="l" t="t" r="r" b="b"/>
              <a:pathLst>
                <a:path w="55354" h="29293">
                  <a:moveTo>
                    <a:pt x="1655" y="21601"/>
                  </a:moveTo>
                  <a:cubicBezTo>
                    <a:pt x="14666" y="30364"/>
                    <a:pt x="64009" y="36768"/>
                    <a:pt x="54033" y="10950"/>
                  </a:cubicBezTo>
                  <a:cubicBezTo>
                    <a:pt x="47359" y="-6172"/>
                    <a:pt x="13418" y="704"/>
                    <a:pt x="1318" y="5524"/>
                  </a:cubicBezTo>
                  <a:cubicBezTo>
                    <a:pt x="172" y="5996"/>
                    <a:pt x="-1109" y="19747"/>
                    <a:pt x="1655" y="21601"/>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sp>
          <p:nvSpPr>
            <p:cNvPr id="303" name="Freeform: Shape 302">
              <a:extLst>
                <a:ext uri="{FF2B5EF4-FFF2-40B4-BE49-F238E27FC236}">
                  <a16:creationId xmlns:a16="http://schemas.microsoft.com/office/drawing/2014/main" id="{1798DF9A-9F22-4162-AED4-A9D901366AC4}"/>
                </a:ext>
              </a:extLst>
            </p:cNvPr>
            <p:cNvSpPr/>
            <p:nvPr/>
          </p:nvSpPr>
          <p:spPr>
            <a:xfrm>
              <a:off x="9120906" y="977743"/>
              <a:ext cx="83563" cy="42746"/>
            </a:xfrm>
            <a:custGeom>
              <a:avLst/>
              <a:gdLst>
                <a:gd name="connsiteX0" fmla="*/ 75495 w 83563"/>
                <a:gd name="connsiteY0" fmla="*/ 38455 h 42746"/>
                <a:gd name="connsiteX1" fmla="*/ 83079 w 83563"/>
                <a:gd name="connsiteY1" fmla="*/ 32893 h 42746"/>
                <a:gd name="connsiteX2" fmla="*/ 10041 w 83563"/>
                <a:gd name="connsiteY2" fmla="*/ 1177 h 42746"/>
                <a:gd name="connsiteX3" fmla="*/ 569 w 83563"/>
                <a:gd name="connsiteY3" fmla="*/ 9165 h 42746"/>
                <a:gd name="connsiteX4" fmla="*/ 2390 w 83563"/>
                <a:gd name="connsiteY4" fmla="*/ 17659 h 42746"/>
                <a:gd name="connsiteX5" fmla="*/ 4884 w 83563"/>
                <a:gd name="connsiteY5" fmla="*/ 23928 h 42746"/>
                <a:gd name="connsiteX6" fmla="*/ 64744 w 83563"/>
                <a:gd name="connsiteY6" fmla="*/ 42702 h 42746"/>
                <a:gd name="connsiteX7" fmla="*/ 75495 w 83563"/>
                <a:gd name="connsiteY7" fmla="*/ 38455 h 42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563" h="42746">
                  <a:moveTo>
                    <a:pt x="75495" y="38455"/>
                  </a:moveTo>
                  <a:cubicBezTo>
                    <a:pt x="79136" y="38252"/>
                    <a:pt x="82169" y="36938"/>
                    <a:pt x="83079" y="32893"/>
                  </a:cubicBezTo>
                  <a:cubicBezTo>
                    <a:pt x="89617" y="3435"/>
                    <a:pt x="28173" y="-3070"/>
                    <a:pt x="10041" y="1177"/>
                  </a:cubicBezTo>
                  <a:cubicBezTo>
                    <a:pt x="5962" y="2121"/>
                    <a:pt x="2592" y="4514"/>
                    <a:pt x="569" y="9165"/>
                  </a:cubicBezTo>
                  <a:cubicBezTo>
                    <a:pt x="-577" y="11828"/>
                    <a:pt x="-3" y="15165"/>
                    <a:pt x="2390" y="17659"/>
                  </a:cubicBezTo>
                  <a:cubicBezTo>
                    <a:pt x="2255" y="19816"/>
                    <a:pt x="3063" y="22243"/>
                    <a:pt x="4884" y="23928"/>
                  </a:cubicBezTo>
                  <a:cubicBezTo>
                    <a:pt x="18433" y="36365"/>
                    <a:pt x="46341" y="43376"/>
                    <a:pt x="64744" y="42702"/>
                  </a:cubicBezTo>
                  <a:cubicBezTo>
                    <a:pt x="69327" y="42567"/>
                    <a:pt x="73405" y="41454"/>
                    <a:pt x="75495" y="38455"/>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sp>
          <p:nvSpPr>
            <p:cNvPr id="304" name="Freeform: Shape 303">
              <a:extLst>
                <a:ext uri="{FF2B5EF4-FFF2-40B4-BE49-F238E27FC236}">
                  <a16:creationId xmlns:a16="http://schemas.microsoft.com/office/drawing/2014/main" id="{5B0BF3A5-805E-483E-A82A-0847300B0A61}"/>
                </a:ext>
              </a:extLst>
            </p:cNvPr>
            <p:cNvSpPr/>
            <p:nvPr/>
          </p:nvSpPr>
          <p:spPr>
            <a:xfrm>
              <a:off x="8902000" y="1063973"/>
              <a:ext cx="58181" cy="58398"/>
            </a:xfrm>
            <a:custGeom>
              <a:avLst/>
              <a:gdLst>
                <a:gd name="connsiteX0" fmla="*/ 54085 w 58181"/>
                <a:gd name="connsiteY0" fmla="*/ 27926 h 58398"/>
                <a:gd name="connsiteX1" fmla="*/ 55804 w 58181"/>
                <a:gd name="connsiteY1" fmla="*/ 6625 h 58398"/>
                <a:gd name="connsiteX2" fmla="*/ 53108 w 58181"/>
                <a:gd name="connsiteY2" fmla="*/ 4131 h 58398"/>
                <a:gd name="connsiteX3" fmla="*/ 40705 w 58181"/>
                <a:gd name="connsiteY3" fmla="*/ 356 h 58398"/>
                <a:gd name="connsiteX4" fmla="*/ 31470 w 58181"/>
                <a:gd name="connsiteY4" fmla="*/ 5209 h 58398"/>
                <a:gd name="connsiteX5" fmla="*/ 25504 w 58181"/>
                <a:gd name="connsiteY5" fmla="*/ 10063 h 58398"/>
                <a:gd name="connsiteX6" fmla="*/ 24223 w 58181"/>
                <a:gd name="connsiteY6" fmla="*/ 11040 h 58398"/>
                <a:gd name="connsiteX7" fmla="*/ 7910 w 58181"/>
                <a:gd name="connsiteY7" fmla="*/ 24927 h 58398"/>
                <a:gd name="connsiteX8" fmla="*/ 56 w 58181"/>
                <a:gd name="connsiteY8" fmla="*/ 43431 h 58398"/>
                <a:gd name="connsiteX9" fmla="*/ 14347 w 58181"/>
                <a:gd name="connsiteY9" fmla="*/ 58396 h 58398"/>
                <a:gd name="connsiteX10" fmla="*/ 33964 w 58181"/>
                <a:gd name="connsiteY10" fmla="*/ 48958 h 58398"/>
                <a:gd name="connsiteX11" fmla="*/ 54085 w 58181"/>
                <a:gd name="connsiteY11" fmla="*/ 27926 h 58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8181" h="58398">
                  <a:moveTo>
                    <a:pt x="54085" y="27926"/>
                  </a:moveTo>
                  <a:cubicBezTo>
                    <a:pt x="57523" y="21826"/>
                    <a:pt x="60389" y="12860"/>
                    <a:pt x="55804" y="6625"/>
                  </a:cubicBezTo>
                  <a:cubicBezTo>
                    <a:pt x="55029" y="5580"/>
                    <a:pt x="54119" y="4771"/>
                    <a:pt x="53108" y="4131"/>
                  </a:cubicBezTo>
                  <a:cubicBezTo>
                    <a:pt x="49974" y="929"/>
                    <a:pt x="45356" y="-790"/>
                    <a:pt x="40705" y="356"/>
                  </a:cubicBezTo>
                  <a:cubicBezTo>
                    <a:pt x="37233" y="1198"/>
                    <a:pt x="34267" y="3052"/>
                    <a:pt x="31470" y="5209"/>
                  </a:cubicBezTo>
                  <a:cubicBezTo>
                    <a:pt x="29212" y="6456"/>
                    <a:pt x="27290" y="8175"/>
                    <a:pt x="25504" y="10063"/>
                  </a:cubicBezTo>
                  <a:cubicBezTo>
                    <a:pt x="25100" y="10400"/>
                    <a:pt x="24661" y="10737"/>
                    <a:pt x="24223" y="11040"/>
                  </a:cubicBezTo>
                  <a:cubicBezTo>
                    <a:pt x="18527" y="15321"/>
                    <a:pt x="12628" y="19568"/>
                    <a:pt x="7910" y="24927"/>
                  </a:cubicBezTo>
                  <a:cubicBezTo>
                    <a:pt x="3359" y="30083"/>
                    <a:pt x="-516" y="36285"/>
                    <a:pt x="56" y="43431"/>
                  </a:cubicBezTo>
                  <a:cubicBezTo>
                    <a:pt x="630" y="50846"/>
                    <a:pt x="6528" y="58261"/>
                    <a:pt x="14347" y="58396"/>
                  </a:cubicBezTo>
                  <a:cubicBezTo>
                    <a:pt x="21931" y="58530"/>
                    <a:pt x="28234" y="53205"/>
                    <a:pt x="33964" y="48958"/>
                  </a:cubicBezTo>
                  <a:cubicBezTo>
                    <a:pt x="41379" y="43397"/>
                    <a:pt x="49435" y="36117"/>
                    <a:pt x="54085" y="27926"/>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sp>
          <p:nvSpPr>
            <p:cNvPr id="305" name="Freeform: Shape 304">
              <a:extLst>
                <a:ext uri="{FF2B5EF4-FFF2-40B4-BE49-F238E27FC236}">
                  <a16:creationId xmlns:a16="http://schemas.microsoft.com/office/drawing/2014/main" id="{2CBC91F5-0C6D-4E77-9314-974525480EC3}"/>
                </a:ext>
              </a:extLst>
            </p:cNvPr>
            <p:cNvSpPr/>
            <p:nvPr/>
          </p:nvSpPr>
          <p:spPr>
            <a:xfrm>
              <a:off x="8792089" y="1238221"/>
              <a:ext cx="32965" cy="76701"/>
            </a:xfrm>
            <a:custGeom>
              <a:avLst/>
              <a:gdLst>
                <a:gd name="connsiteX0" fmla="*/ 24290 w 32965"/>
                <a:gd name="connsiteY0" fmla="*/ 71310 h 76701"/>
                <a:gd name="connsiteX1" fmla="*/ 25200 w 32965"/>
                <a:gd name="connsiteY1" fmla="*/ 70097 h 76701"/>
                <a:gd name="connsiteX2" fmla="*/ 31098 w 32965"/>
                <a:gd name="connsiteY2" fmla="*/ 47447 h 76701"/>
                <a:gd name="connsiteX3" fmla="*/ 28705 w 32965"/>
                <a:gd name="connsiteY3" fmla="*/ 14450 h 76701"/>
                <a:gd name="connsiteX4" fmla="*/ 18189 w 32965"/>
                <a:gd name="connsiteY4" fmla="*/ 92 h 76701"/>
                <a:gd name="connsiteX5" fmla="*/ 3831 w 32965"/>
                <a:gd name="connsiteY5" fmla="*/ 20888 h 76701"/>
                <a:gd name="connsiteX6" fmla="*/ 1809 w 32965"/>
                <a:gd name="connsiteY6" fmla="*/ 61367 h 76701"/>
                <a:gd name="connsiteX7" fmla="*/ 14010 w 32965"/>
                <a:gd name="connsiteY7" fmla="*/ 76636 h 76701"/>
                <a:gd name="connsiteX8" fmla="*/ 24290 w 32965"/>
                <a:gd name="connsiteY8" fmla="*/ 71310 h 76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965" h="76701">
                  <a:moveTo>
                    <a:pt x="24290" y="71310"/>
                  </a:moveTo>
                  <a:cubicBezTo>
                    <a:pt x="24627" y="70940"/>
                    <a:pt x="24896" y="70535"/>
                    <a:pt x="25200" y="70097"/>
                  </a:cubicBezTo>
                  <a:cubicBezTo>
                    <a:pt x="31267" y="65142"/>
                    <a:pt x="31705" y="55840"/>
                    <a:pt x="31098" y="47447"/>
                  </a:cubicBezTo>
                  <a:cubicBezTo>
                    <a:pt x="33390" y="36089"/>
                    <a:pt x="34536" y="24359"/>
                    <a:pt x="28705" y="14450"/>
                  </a:cubicBezTo>
                  <a:cubicBezTo>
                    <a:pt x="27863" y="8282"/>
                    <a:pt x="25335" y="968"/>
                    <a:pt x="18189" y="92"/>
                  </a:cubicBezTo>
                  <a:cubicBezTo>
                    <a:pt x="7235" y="-1223"/>
                    <a:pt x="4673" y="11855"/>
                    <a:pt x="3831" y="20888"/>
                  </a:cubicBezTo>
                  <a:cubicBezTo>
                    <a:pt x="-1798" y="33392"/>
                    <a:pt x="-79" y="48155"/>
                    <a:pt x="1809" y="61367"/>
                  </a:cubicBezTo>
                  <a:cubicBezTo>
                    <a:pt x="2786" y="68176"/>
                    <a:pt x="6358" y="75793"/>
                    <a:pt x="14010" y="76636"/>
                  </a:cubicBezTo>
                  <a:cubicBezTo>
                    <a:pt x="18459" y="77141"/>
                    <a:pt x="21931" y="74681"/>
                    <a:pt x="24290" y="71310"/>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sp>
          <p:nvSpPr>
            <p:cNvPr id="306" name="Freeform: Shape 305">
              <a:extLst>
                <a:ext uri="{FF2B5EF4-FFF2-40B4-BE49-F238E27FC236}">
                  <a16:creationId xmlns:a16="http://schemas.microsoft.com/office/drawing/2014/main" id="{F957A558-2D85-421A-BC61-64B3AC5A35D3}"/>
                </a:ext>
              </a:extLst>
            </p:cNvPr>
            <p:cNvSpPr/>
            <p:nvPr/>
          </p:nvSpPr>
          <p:spPr>
            <a:xfrm>
              <a:off x="8830627" y="1506140"/>
              <a:ext cx="64119" cy="66199"/>
            </a:xfrm>
            <a:custGeom>
              <a:avLst/>
              <a:gdLst>
                <a:gd name="connsiteX0" fmla="*/ 63913 w 64119"/>
                <a:gd name="connsiteY0" fmla="*/ 56684 h 66199"/>
                <a:gd name="connsiteX1" fmla="*/ 58217 w 64119"/>
                <a:gd name="connsiteY1" fmla="*/ 38078 h 66199"/>
                <a:gd name="connsiteX2" fmla="*/ 45983 w 64119"/>
                <a:gd name="connsiteY2" fmla="*/ 23147 h 66199"/>
                <a:gd name="connsiteX3" fmla="*/ 23771 w 64119"/>
                <a:gd name="connsiteY3" fmla="*/ 2014 h 66199"/>
                <a:gd name="connsiteX4" fmla="*/ 19760 w 64119"/>
                <a:gd name="connsiteY4" fmla="*/ 1273 h 66199"/>
                <a:gd name="connsiteX5" fmla="*/ 9311 w 64119"/>
                <a:gd name="connsiteY5" fmla="*/ 599 h 66199"/>
                <a:gd name="connsiteX6" fmla="*/ 2705 w 64119"/>
                <a:gd name="connsiteY6" fmla="*/ 6362 h 66199"/>
                <a:gd name="connsiteX7" fmla="*/ 1458 w 64119"/>
                <a:gd name="connsiteY7" fmla="*/ 8587 h 66199"/>
                <a:gd name="connsiteX8" fmla="*/ 4593 w 64119"/>
                <a:gd name="connsiteY8" fmla="*/ 29147 h 66199"/>
                <a:gd name="connsiteX9" fmla="*/ 20838 w 64119"/>
                <a:gd name="connsiteY9" fmla="*/ 49471 h 66199"/>
                <a:gd name="connsiteX10" fmla="*/ 30309 w 64119"/>
                <a:gd name="connsiteY10" fmla="*/ 54965 h 66199"/>
                <a:gd name="connsiteX11" fmla="*/ 31927 w 64119"/>
                <a:gd name="connsiteY11" fmla="*/ 56481 h 66199"/>
                <a:gd name="connsiteX12" fmla="*/ 45780 w 64119"/>
                <a:gd name="connsiteY12" fmla="*/ 64267 h 66199"/>
                <a:gd name="connsiteX13" fmla="*/ 63913 w 64119"/>
                <a:gd name="connsiteY13" fmla="*/ 56684 h 66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119" h="66199">
                  <a:moveTo>
                    <a:pt x="63913" y="56684"/>
                  </a:moveTo>
                  <a:cubicBezTo>
                    <a:pt x="64992" y="50145"/>
                    <a:pt x="61655" y="43438"/>
                    <a:pt x="58217" y="38078"/>
                  </a:cubicBezTo>
                  <a:cubicBezTo>
                    <a:pt x="54712" y="32618"/>
                    <a:pt x="50431" y="27832"/>
                    <a:pt x="45983" y="23147"/>
                  </a:cubicBezTo>
                  <a:cubicBezTo>
                    <a:pt x="38938" y="15732"/>
                    <a:pt x="33073" y="6868"/>
                    <a:pt x="23771" y="2014"/>
                  </a:cubicBezTo>
                  <a:cubicBezTo>
                    <a:pt x="22523" y="1340"/>
                    <a:pt x="21108" y="1138"/>
                    <a:pt x="19760" y="1273"/>
                  </a:cubicBezTo>
                  <a:cubicBezTo>
                    <a:pt x="16288" y="-8"/>
                    <a:pt x="12682" y="-480"/>
                    <a:pt x="9311" y="599"/>
                  </a:cubicBezTo>
                  <a:cubicBezTo>
                    <a:pt x="5907" y="1711"/>
                    <a:pt x="3818" y="3767"/>
                    <a:pt x="2705" y="6362"/>
                  </a:cubicBezTo>
                  <a:cubicBezTo>
                    <a:pt x="2233" y="7036"/>
                    <a:pt x="1829" y="7778"/>
                    <a:pt x="1458" y="8587"/>
                  </a:cubicBezTo>
                  <a:cubicBezTo>
                    <a:pt x="-1677" y="15698"/>
                    <a:pt x="649" y="22911"/>
                    <a:pt x="4593" y="29147"/>
                  </a:cubicBezTo>
                  <a:cubicBezTo>
                    <a:pt x="9109" y="36360"/>
                    <a:pt x="14063" y="44213"/>
                    <a:pt x="20838" y="49471"/>
                  </a:cubicBezTo>
                  <a:cubicBezTo>
                    <a:pt x="23771" y="51729"/>
                    <a:pt x="27006" y="53347"/>
                    <a:pt x="30309" y="54965"/>
                  </a:cubicBezTo>
                  <a:cubicBezTo>
                    <a:pt x="30848" y="55470"/>
                    <a:pt x="31388" y="55976"/>
                    <a:pt x="31927" y="56481"/>
                  </a:cubicBezTo>
                  <a:cubicBezTo>
                    <a:pt x="35568" y="59919"/>
                    <a:pt x="40556" y="63155"/>
                    <a:pt x="45780" y="64267"/>
                  </a:cubicBezTo>
                  <a:cubicBezTo>
                    <a:pt x="53768" y="68244"/>
                    <a:pt x="62329" y="66256"/>
                    <a:pt x="63913" y="56684"/>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sp>
          <p:nvSpPr>
            <p:cNvPr id="307" name="Freeform: Shape 306">
              <a:extLst>
                <a:ext uri="{FF2B5EF4-FFF2-40B4-BE49-F238E27FC236}">
                  <a16:creationId xmlns:a16="http://schemas.microsoft.com/office/drawing/2014/main" id="{BBED8DC4-C537-4E53-A05B-8EC17B101A92}"/>
                </a:ext>
              </a:extLst>
            </p:cNvPr>
            <p:cNvSpPr/>
            <p:nvPr/>
          </p:nvSpPr>
          <p:spPr>
            <a:xfrm>
              <a:off x="9136515" y="1141964"/>
              <a:ext cx="65638" cy="18719"/>
            </a:xfrm>
            <a:custGeom>
              <a:avLst/>
              <a:gdLst>
                <a:gd name="connsiteX0" fmla="*/ 62617 w 65638"/>
                <a:gd name="connsiteY0" fmla="*/ 6458 h 18719"/>
                <a:gd name="connsiteX1" fmla="*/ 48394 w 65638"/>
                <a:gd name="connsiteY1" fmla="*/ 3559 h 18719"/>
                <a:gd name="connsiteX2" fmla="*/ 33732 w 65638"/>
                <a:gd name="connsiteY2" fmla="*/ 1166 h 18719"/>
                <a:gd name="connsiteX3" fmla="*/ 3397 w 65638"/>
                <a:gd name="connsiteY3" fmla="*/ 4638 h 18719"/>
                <a:gd name="connsiteX4" fmla="*/ 9767 w 65638"/>
                <a:gd name="connsiteY4" fmla="*/ 15862 h 18719"/>
                <a:gd name="connsiteX5" fmla="*/ 33968 w 65638"/>
                <a:gd name="connsiteY5" fmla="*/ 14749 h 18719"/>
                <a:gd name="connsiteX6" fmla="*/ 44720 w 65638"/>
                <a:gd name="connsiteY6" fmla="*/ 16570 h 18719"/>
                <a:gd name="connsiteX7" fmla="*/ 56280 w 65638"/>
                <a:gd name="connsiteY7" fmla="*/ 17682 h 18719"/>
                <a:gd name="connsiteX8" fmla="*/ 62617 w 65638"/>
                <a:gd name="connsiteY8" fmla="*/ 6458 h 18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638" h="18719">
                  <a:moveTo>
                    <a:pt x="62617" y="6458"/>
                  </a:moveTo>
                  <a:cubicBezTo>
                    <a:pt x="57999" y="3492"/>
                    <a:pt x="53719" y="3290"/>
                    <a:pt x="48394" y="3559"/>
                  </a:cubicBezTo>
                  <a:cubicBezTo>
                    <a:pt x="43034" y="3829"/>
                    <a:pt x="38821" y="2515"/>
                    <a:pt x="33732" y="1166"/>
                  </a:cubicBezTo>
                  <a:cubicBezTo>
                    <a:pt x="23924" y="-1429"/>
                    <a:pt x="12531" y="560"/>
                    <a:pt x="3397" y="4638"/>
                  </a:cubicBezTo>
                  <a:cubicBezTo>
                    <a:pt x="-4186" y="8008"/>
                    <a:pt x="2251" y="19199"/>
                    <a:pt x="9767" y="15862"/>
                  </a:cubicBezTo>
                  <a:cubicBezTo>
                    <a:pt x="17553" y="12424"/>
                    <a:pt x="25980" y="12424"/>
                    <a:pt x="33968" y="14749"/>
                  </a:cubicBezTo>
                  <a:cubicBezTo>
                    <a:pt x="37473" y="15761"/>
                    <a:pt x="41012" y="16502"/>
                    <a:pt x="44720" y="16570"/>
                  </a:cubicBezTo>
                  <a:cubicBezTo>
                    <a:pt x="48832" y="16671"/>
                    <a:pt x="52641" y="15356"/>
                    <a:pt x="56280" y="17682"/>
                  </a:cubicBezTo>
                  <a:cubicBezTo>
                    <a:pt x="63224" y="22165"/>
                    <a:pt x="69593" y="10941"/>
                    <a:pt x="62617" y="6458"/>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sp>
          <p:nvSpPr>
            <p:cNvPr id="308" name="Freeform: Shape 307">
              <a:extLst>
                <a:ext uri="{FF2B5EF4-FFF2-40B4-BE49-F238E27FC236}">
                  <a16:creationId xmlns:a16="http://schemas.microsoft.com/office/drawing/2014/main" id="{3D231E1B-6252-48A3-BF19-869105FF35D7}"/>
                </a:ext>
              </a:extLst>
            </p:cNvPr>
            <p:cNvSpPr/>
            <p:nvPr/>
          </p:nvSpPr>
          <p:spPr>
            <a:xfrm>
              <a:off x="8974220" y="1152976"/>
              <a:ext cx="127664" cy="100461"/>
            </a:xfrm>
            <a:custGeom>
              <a:avLst/>
              <a:gdLst>
                <a:gd name="connsiteX0" fmla="*/ 121471 w 127664"/>
                <a:gd name="connsiteY0" fmla="*/ 98 h 100461"/>
                <a:gd name="connsiteX1" fmla="*/ 81665 w 127664"/>
                <a:gd name="connsiteY1" fmla="*/ 10243 h 100461"/>
                <a:gd name="connsiteX2" fmla="*/ 39803 w 127664"/>
                <a:gd name="connsiteY2" fmla="*/ 37679 h 100461"/>
                <a:gd name="connsiteX3" fmla="*/ 22850 w 127664"/>
                <a:gd name="connsiteY3" fmla="*/ 55913 h 100461"/>
                <a:gd name="connsiteX4" fmla="*/ 9200 w 127664"/>
                <a:gd name="connsiteY4" fmla="*/ 73406 h 100461"/>
                <a:gd name="connsiteX5" fmla="*/ 3874 w 127664"/>
                <a:gd name="connsiteY5" fmla="*/ 98617 h 100461"/>
                <a:gd name="connsiteX6" fmla="*/ 12974 w 127664"/>
                <a:gd name="connsiteY6" fmla="*/ 89517 h 100461"/>
                <a:gd name="connsiteX7" fmla="*/ 12907 w 127664"/>
                <a:gd name="connsiteY7" fmla="*/ 89450 h 100461"/>
                <a:gd name="connsiteX8" fmla="*/ 13918 w 127664"/>
                <a:gd name="connsiteY8" fmla="*/ 87731 h 100461"/>
                <a:gd name="connsiteX9" fmla="*/ 17187 w 127664"/>
                <a:gd name="connsiteY9" fmla="*/ 83753 h 100461"/>
                <a:gd name="connsiteX10" fmla="*/ 25917 w 127664"/>
                <a:gd name="connsiteY10" fmla="*/ 72968 h 100461"/>
                <a:gd name="connsiteX11" fmla="*/ 53859 w 127664"/>
                <a:gd name="connsiteY11" fmla="*/ 42229 h 100461"/>
                <a:gd name="connsiteX12" fmla="*/ 88609 w 127664"/>
                <a:gd name="connsiteY12" fmla="*/ 21332 h 100461"/>
                <a:gd name="connsiteX13" fmla="*/ 121471 w 127664"/>
                <a:gd name="connsiteY13" fmla="*/ 13041 h 100461"/>
                <a:gd name="connsiteX14" fmla="*/ 121471 w 127664"/>
                <a:gd name="connsiteY14" fmla="*/ 98 h 100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7664" h="100461">
                  <a:moveTo>
                    <a:pt x="121471" y="98"/>
                  </a:moveTo>
                  <a:cubicBezTo>
                    <a:pt x="108056" y="-846"/>
                    <a:pt x="93866" y="5221"/>
                    <a:pt x="81665" y="10243"/>
                  </a:cubicBezTo>
                  <a:cubicBezTo>
                    <a:pt x="66532" y="16445"/>
                    <a:pt x="51466" y="26185"/>
                    <a:pt x="39803" y="37679"/>
                  </a:cubicBezTo>
                  <a:cubicBezTo>
                    <a:pt x="33905" y="43510"/>
                    <a:pt x="28445" y="49813"/>
                    <a:pt x="22850" y="55913"/>
                  </a:cubicBezTo>
                  <a:cubicBezTo>
                    <a:pt x="17828" y="61407"/>
                    <a:pt x="14289" y="67946"/>
                    <a:pt x="9200" y="73406"/>
                  </a:cubicBezTo>
                  <a:cubicBezTo>
                    <a:pt x="2829" y="80248"/>
                    <a:pt x="-4754" y="90258"/>
                    <a:pt x="3874" y="98617"/>
                  </a:cubicBezTo>
                  <a:cubicBezTo>
                    <a:pt x="9806" y="104381"/>
                    <a:pt x="18940" y="95314"/>
                    <a:pt x="12974" y="89517"/>
                  </a:cubicBezTo>
                  <a:cubicBezTo>
                    <a:pt x="12941" y="89483"/>
                    <a:pt x="12907" y="89450"/>
                    <a:pt x="12907" y="89450"/>
                  </a:cubicBezTo>
                  <a:cubicBezTo>
                    <a:pt x="13109" y="88843"/>
                    <a:pt x="13582" y="88169"/>
                    <a:pt x="13918" y="87731"/>
                  </a:cubicBezTo>
                  <a:cubicBezTo>
                    <a:pt x="14929" y="86315"/>
                    <a:pt x="16008" y="85034"/>
                    <a:pt x="17187" y="83753"/>
                  </a:cubicBezTo>
                  <a:cubicBezTo>
                    <a:pt x="20356" y="80316"/>
                    <a:pt x="23288" y="76844"/>
                    <a:pt x="25917" y="72968"/>
                  </a:cubicBezTo>
                  <a:cubicBezTo>
                    <a:pt x="33501" y="61845"/>
                    <a:pt x="43680" y="51026"/>
                    <a:pt x="53859" y="42229"/>
                  </a:cubicBezTo>
                  <a:cubicBezTo>
                    <a:pt x="63700" y="33702"/>
                    <a:pt x="76373" y="25848"/>
                    <a:pt x="88609" y="21332"/>
                  </a:cubicBezTo>
                  <a:cubicBezTo>
                    <a:pt x="98922" y="17523"/>
                    <a:pt x="110281" y="12265"/>
                    <a:pt x="121471" y="13041"/>
                  </a:cubicBezTo>
                  <a:cubicBezTo>
                    <a:pt x="129762" y="13546"/>
                    <a:pt x="129695" y="671"/>
                    <a:pt x="121471" y="98"/>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grpSp>
      <p:grpSp>
        <p:nvGrpSpPr>
          <p:cNvPr id="309" name="Graphic 6">
            <a:extLst>
              <a:ext uri="{FF2B5EF4-FFF2-40B4-BE49-F238E27FC236}">
                <a16:creationId xmlns:a16="http://schemas.microsoft.com/office/drawing/2014/main" id="{51D6F4BB-E553-4BB1-84E6-37499D523463}"/>
              </a:ext>
            </a:extLst>
          </p:cNvPr>
          <p:cNvGrpSpPr/>
          <p:nvPr/>
        </p:nvGrpSpPr>
        <p:grpSpPr>
          <a:xfrm>
            <a:off x="10765832" y="1332684"/>
            <a:ext cx="438513" cy="423540"/>
            <a:chOff x="10765832" y="1332684"/>
            <a:chExt cx="438513" cy="423540"/>
          </a:xfrm>
          <a:solidFill>
            <a:srgbClr val="DAE3F3"/>
          </a:solidFill>
        </p:grpSpPr>
        <p:sp>
          <p:nvSpPr>
            <p:cNvPr id="310" name="Freeform: Shape 309">
              <a:extLst>
                <a:ext uri="{FF2B5EF4-FFF2-40B4-BE49-F238E27FC236}">
                  <a16:creationId xmlns:a16="http://schemas.microsoft.com/office/drawing/2014/main" id="{3708AD9C-B25D-49AB-984B-CBAC36A12E85}"/>
                </a:ext>
              </a:extLst>
            </p:cNvPr>
            <p:cNvSpPr/>
            <p:nvPr/>
          </p:nvSpPr>
          <p:spPr>
            <a:xfrm rot="-319478">
              <a:off x="10855243" y="1385206"/>
              <a:ext cx="308134" cy="308134"/>
            </a:xfrm>
            <a:custGeom>
              <a:avLst/>
              <a:gdLst>
                <a:gd name="connsiteX0" fmla="*/ 308135 w 308134"/>
                <a:gd name="connsiteY0" fmla="*/ 154067 h 308134"/>
                <a:gd name="connsiteX1" fmla="*/ 154068 w 308134"/>
                <a:gd name="connsiteY1" fmla="*/ 308135 h 308134"/>
                <a:gd name="connsiteX2" fmla="*/ 0 w 308134"/>
                <a:gd name="connsiteY2" fmla="*/ 154067 h 308134"/>
                <a:gd name="connsiteX3" fmla="*/ 154068 w 308134"/>
                <a:gd name="connsiteY3" fmla="*/ 0 h 308134"/>
                <a:gd name="connsiteX4" fmla="*/ 308135 w 308134"/>
                <a:gd name="connsiteY4" fmla="*/ 154067 h 3081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8134" h="308134">
                  <a:moveTo>
                    <a:pt x="308135" y="154067"/>
                  </a:moveTo>
                  <a:cubicBezTo>
                    <a:pt x="308135" y="239157"/>
                    <a:pt x="239157" y="308135"/>
                    <a:pt x="154068" y="308135"/>
                  </a:cubicBezTo>
                  <a:cubicBezTo>
                    <a:pt x="68979" y="308135"/>
                    <a:pt x="0" y="239157"/>
                    <a:pt x="0" y="154067"/>
                  </a:cubicBezTo>
                  <a:cubicBezTo>
                    <a:pt x="0" y="68978"/>
                    <a:pt x="68979" y="0"/>
                    <a:pt x="154068" y="0"/>
                  </a:cubicBezTo>
                  <a:cubicBezTo>
                    <a:pt x="239157" y="0"/>
                    <a:pt x="308135" y="68978"/>
                    <a:pt x="308135" y="154067"/>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sp>
          <p:nvSpPr>
            <p:cNvPr id="311" name="Freeform: Shape 310">
              <a:extLst>
                <a:ext uri="{FF2B5EF4-FFF2-40B4-BE49-F238E27FC236}">
                  <a16:creationId xmlns:a16="http://schemas.microsoft.com/office/drawing/2014/main" id="{C2005D27-34EA-473D-B1AB-469AE489912D}"/>
                </a:ext>
              </a:extLst>
            </p:cNvPr>
            <p:cNvSpPr/>
            <p:nvPr/>
          </p:nvSpPr>
          <p:spPr>
            <a:xfrm>
              <a:off x="11066000" y="1660893"/>
              <a:ext cx="43378" cy="52995"/>
            </a:xfrm>
            <a:custGeom>
              <a:avLst/>
              <a:gdLst>
                <a:gd name="connsiteX0" fmla="*/ 43323 w 43378"/>
                <a:gd name="connsiteY0" fmla="*/ 51884 h 52995"/>
                <a:gd name="connsiteX1" fmla="*/ 22729 w 43378"/>
                <a:gd name="connsiteY1" fmla="*/ 23943 h 52995"/>
                <a:gd name="connsiteX2" fmla="*/ 12786 w 43378"/>
                <a:gd name="connsiteY2" fmla="*/ 10630 h 52995"/>
                <a:gd name="connsiteX3" fmla="*/ 1158 w 43378"/>
                <a:gd name="connsiteY3" fmla="*/ 80 h 52995"/>
                <a:gd name="connsiteX4" fmla="*/ 552 w 43378"/>
                <a:gd name="connsiteY4" fmla="*/ 1563 h 52995"/>
                <a:gd name="connsiteX5" fmla="*/ 12349 w 43378"/>
                <a:gd name="connsiteY5" fmla="*/ 12989 h 52995"/>
                <a:gd name="connsiteX6" fmla="*/ 21988 w 43378"/>
                <a:gd name="connsiteY6" fmla="*/ 25595 h 52995"/>
                <a:gd name="connsiteX7" fmla="*/ 41705 w 43378"/>
                <a:gd name="connsiteY7" fmla="*/ 52491 h 52995"/>
                <a:gd name="connsiteX8" fmla="*/ 43323 w 43378"/>
                <a:gd name="connsiteY8" fmla="*/ 51884 h 52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78" h="52995">
                  <a:moveTo>
                    <a:pt x="43323" y="51884"/>
                  </a:moveTo>
                  <a:cubicBezTo>
                    <a:pt x="39144" y="40897"/>
                    <a:pt x="30987" y="32706"/>
                    <a:pt x="22729" y="23943"/>
                  </a:cubicBezTo>
                  <a:cubicBezTo>
                    <a:pt x="18820" y="19797"/>
                    <a:pt x="15988" y="15214"/>
                    <a:pt x="12786" y="10630"/>
                  </a:cubicBezTo>
                  <a:cubicBezTo>
                    <a:pt x="9787" y="6315"/>
                    <a:pt x="6315" y="2237"/>
                    <a:pt x="1158" y="80"/>
                  </a:cubicBezTo>
                  <a:cubicBezTo>
                    <a:pt x="80" y="-358"/>
                    <a:pt x="-493" y="1125"/>
                    <a:pt x="552" y="1563"/>
                  </a:cubicBezTo>
                  <a:cubicBezTo>
                    <a:pt x="5944" y="3821"/>
                    <a:pt x="9348" y="8473"/>
                    <a:pt x="12349" y="12989"/>
                  </a:cubicBezTo>
                  <a:cubicBezTo>
                    <a:pt x="15348" y="17438"/>
                    <a:pt x="18247" y="21617"/>
                    <a:pt x="21988" y="25595"/>
                  </a:cubicBezTo>
                  <a:cubicBezTo>
                    <a:pt x="29942" y="33987"/>
                    <a:pt x="37661" y="41908"/>
                    <a:pt x="41705" y="52491"/>
                  </a:cubicBezTo>
                  <a:cubicBezTo>
                    <a:pt x="42109" y="53469"/>
                    <a:pt x="43694" y="52896"/>
                    <a:pt x="43323" y="51884"/>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sp>
          <p:nvSpPr>
            <p:cNvPr id="312" name="Freeform: Shape 311">
              <a:extLst>
                <a:ext uri="{FF2B5EF4-FFF2-40B4-BE49-F238E27FC236}">
                  <a16:creationId xmlns:a16="http://schemas.microsoft.com/office/drawing/2014/main" id="{3194D22C-AB93-4B2A-9EBA-72FE357DE671}"/>
                </a:ext>
              </a:extLst>
            </p:cNvPr>
            <p:cNvSpPr/>
            <p:nvPr/>
          </p:nvSpPr>
          <p:spPr>
            <a:xfrm>
              <a:off x="11094554" y="1422970"/>
              <a:ext cx="92095" cy="65047"/>
            </a:xfrm>
            <a:custGeom>
              <a:avLst/>
              <a:gdLst>
                <a:gd name="connsiteX0" fmla="*/ 2568 w 92095"/>
                <a:gd name="connsiteY0" fmla="*/ 63950 h 65047"/>
                <a:gd name="connsiteX1" fmla="*/ 40385 w 92095"/>
                <a:gd name="connsiteY1" fmla="*/ 26538 h 65047"/>
                <a:gd name="connsiteX2" fmla="*/ 69439 w 92095"/>
                <a:gd name="connsiteY2" fmla="*/ 13561 h 65047"/>
                <a:gd name="connsiteX3" fmla="*/ 91583 w 92095"/>
                <a:gd name="connsiteY3" fmla="*/ 2236 h 65047"/>
                <a:gd name="connsiteX4" fmla="*/ 89965 w 92095"/>
                <a:gd name="connsiteY4" fmla="*/ 248 h 65047"/>
                <a:gd name="connsiteX5" fmla="*/ 48204 w 92095"/>
                <a:gd name="connsiteY5" fmla="*/ 20033 h 65047"/>
                <a:gd name="connsiteX6" fmla="*/ 7792 w 92095"/>
                <a:gd name="connsiteY6" fmla="*/ 45143 h 65047"/>
                <a:gd name="connsiteX7" fmla="*/ 6 w 92095"/>
                <a:gd name="connsiteY7" fmla="*/ 63647 h 65047"/>
                <a:gd name="connsiteX8" fmla="*/ 2568 w 92095"/>
                <a:gd name="connsiteY8" fmla="*/ 63950 h 65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095" h="65047">
                  <a:moveTo>
                    <a:pt x="2568" y="63950"/>
                  </a:moveTo>
                  <a:cubicBezTo>
                    <a:pt x="2096" y="44839"/>
                    <a:pt x="25960" y="33548"/>
                    <a:pt x="40385" y="26538"/>
                  </a:cubicBezTo>
                  <a:cubicBezTo>
                    <a:pt x="49923" y="21886"/>
                    <a:pt x="59731" y="17842"/>
                    <a:pt x="69439" y="13561"/>
                  </a:cubicBezTo>
                  <a:cubicBezTo>
                    <a:pt x="76988" y="10258"/>
                    <a:pt x="84774" y="6955"/>
                    <a:pt x="91583" y="2236"/>
                  </a:cubicBezTo>
                  <a:cubicBezTo>
                    <a:pt x="92931" y="1293"/>
                    <a:pt x="91347" y="-696"/>
                    <a:pt x="89965" y="248"/>
                  </a:cubicBezTo>
                  <a:cubicBezTo>
                    <a:pt x="77393" y="8910"/>
                    <a:pt x="62024" y="13797"/>
                    <a:pt x="48204" y="20033"/>
                  </a:cubicBezTo>
                  <a:cubicBezTo>
                    <a:pt x="34048" y="26437"/>
                    <a:pt x="18476" y="33447"/>
                    <a:pt x="7792" y="45143"/>
                  </a:cubicBezTo>
                  <a:cubicBezTo>
                    <a:pt x="3108" y="50266"/>
                    <a:pt x="-162" y="56569"/>
                    <a:pt x="6" y="63647"/>
                  </a:cubicBezTo>
                  <a:cubicBezTo>
                    <a:pt x="40" y="65298"/>
                    <a:pt x="2602" y="65602"/>
                    <a:pt x="2568" y="63950"/>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sp>
          <p:nvSpPr>
            <p:cNvPr id="313" name="Freeform: Shape 312">
              <a:extLst>
                <a:ext uri="{FF2B5EF4-FFF2-40B4-BE49-F238E27FC236}">
                  <a16:creationId xmlns:a16="http://schemas.microsoft.com/office/drawing/2014/main" id="{DAF3D18A-A2DF-4D13-813D-A487000EB0C4}"/>
                </a:ext>
              </a:extLst>
            </p:cNvPr>
            <p:cNvSpPr/>
            <p:nvPr/>
          </p:nvSpPr>
          <p:spPr>
            <a:xfrm>
              <a:off x="11036585" y="1345192"/>
              <a:ext cx="12315" cy="127202"/>
            </a:xfrm>
            <a:custGeom>
              <a:avLst/>
              <a:gdLst>
                <a:gd name="connsiteX0" fmla="*/ 12272 w 12315"/>
                <a:gd name="connsiteY0" fmla="*/ 125786 h 127202"/>
                <a:gd name="connsiteX1" fmla="*/ 2835 w 12315"/>
                <a:gd name="connsiteY1" fmla="*/ 64275 h 127202"/>
                <a:gd name="connsiteX2" fmla="*/ 5261 w 12315"/>
                <a:gd name="connsiteY2" fmla="*/ 1382 h 127202"/>
                <a:gd name="connsiteX3" fmla="*/ 2700 w 12315"/>
                <a:gd name="connsiteY3" fmla="*/ 1112 h 127202"/>
                <a:gd name="connsiteX4" fmla="*/ 239 w 12315"/>
                <a:gd name="connsiteY4" fmla="*/ 63264 h 127202"/>
                <a:gd name="connsiteX5" fmla="*/ 9744 w 12315"/>
                <a:gd name="connsiteY5" fmla="*/ 126225 h 127202"/>
                <a:gd name="connsiteX6" fmla="*/ 12272 w 12315"/>
                <a:gd name="connsiteY6" fmla="*/ 125786 h 127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315" h="127202">
                  <a:moveTo>
                    <a:pt x="12272" y="125786"/>
                  </a:moveTo>
                  <a:cubicBezTo>
                    <a:pt x="6980" y="105665"/>
                    <a:pt x="3711" y="85071"/>
                    <a:pt x="2835" y="64275"/>
                  </a:cubicBezTo>
                  <a:cubicBezTo>
                    <a:pt x="1924" y="43277"/>
                    <a:pt x="3306" y="22279"/>
                    <a:pt x="5261" y="1382"/>
                  </a:cubicBezTo>
                  <a:cubicBezTo>
                    <a:pt x="5430" y="-270"/>
                    <a:pt x="2868" y="-539"/>
                    <a:pt x="2700" y="1112"/>
                  </a:cubicBezTo>
                  <a:cubicBezTo>
                    <a:pt x="778" y="21773"/>
                    <a:pt x="-570" y="42502"/>
                    <a:pt x="239" y="63264"/>
                  </a:cubicBezTo>
                  <a:cubicBezTo>
                    <a:pt x="1048" y="84565"/>
                    <a:pt x="4317" y="105597"/>
                    <a:pt x="9744" y="126225"/>
                  </a:cubicBezTo>
                  <a:cubicBezTo>
                    <a:pt x="10148" y="127775"/>
                    <a:pt x="12676" y="127371"/>
                    <a:pt x="12272" y="125786"/>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sp>
          <p:nvSpPr>
            <p:cNvPr id="314" name="Freeform: Shape 313">
              <a:extLst>
                <a:ext uri="{FF2B5EF4-FFF2-40B4-BE49-F238E27FC236}">
                  <a16:creationId xmlns:a16="http://schemas.microsoft.com/office/drawing/2014/main" id="{1F1B5B47-1271-4BFD-8BB9-81E7D5C86AA4}"/>
                </a:ext>
              </a:extLst>
            </p:cNvPr>
            <p:cNvSpPr/>
            <p:nvPr/>
          </p:nvSpPr>
          <p:spPr>
            <a:xfrm>
              <a:off x="10858315" y="1582503"/>
              <a:ext cx="2580" cy="2557"/>
            </a:xfrm>
            <a:custGeom>
              <a:avLst/>
              <a:gdLst>
                <a:gd name="connsiteX0" fmla="*/ 2570 w 2580"/>
                <a:gd name="connsiteY0" fmla="*/ 1420 h 2557"/>
                <a:gd name="connsiteX1" fmla="*/ 8 w 2580"/>
                <a:gd name="connsiteY1" fmla="*/ 1151 h 2557"/>
                <a:gd name="connsiteX2" fmla="*/ 2570 w 2580"/>
                <a:gd name="connsiteY2" fmla="*/ 1420 h 2557"/>
              </a:gdLst>
              <a:ahLst/>
              <a:cxnLst>
                <a:cxn ang="0">
                  <a:pos x="connsiteX0" y="connsiteY0"/>
                </a:cxn>
                <a:cxn ang="0">
                  <a:pos x="connsiteX1" y="connsiteY1"/>
                </a:cxn>
                <a:cxn ang="0">
                  <a:pos x="connsiteX2" y="connsiteY2"/>
                </a:cxn>
              </a:cxnLst>
              <a:rect l="l" t="t" r="r" b="b"/>
              <a:pathLst>
                <a:path w="2580" h="2557">
                  <a:moveTo>
                    <a:pt x="2570" y="1420"/>
                  </a:moveTo>
                  <a:cubicBezTo>
                    <a:pt x="2771" y="-265"/>
                    <a:pt x="210" y="-568"/>
                    <a:pt x="8" y="1151"/>
                  </a:cubicBezTo>
                  <a:cubicBezTo>
                    <a:pt x="-161" y="2836"/>
                    <a:pt x="2401" y="3106"/>
                    <a:pt x="2570" y="1420"/>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sp>
          <p:nvSpPr>
            <p:cNvPr id="315" name="Freeform: Shape 314">
              <a:extLst>
                <a:ext uri="{FF2B5EF4-FFF2-40B4-BE49-F238E27FC236}">
                  <a16:creationId xmlns:a16="http://schemas.microsoft.com/office/drawing/2014/main" id="{A5EFD281-DCB1-4027-B495-85443E278BDE}"/>
                </a:ext>
              </a:extLst>
            </p:cNvPr>
            <p:cNvSpPr/>
            <p:nvPr/>
          </p:nvSpPr>
          <p:spPr>
            <a:xfrm>
              <a:off x="10772181" y="1493131"/>
              <a:ext cx="131793" cy="37605"/>
            </a:xfrm>
            <a:custGeom>
              <a:avLst/>
              <a:gdLst>
                <a:gd name="connsiteX0" fmla="*/ 129418 w 131793"/>
                <a:gd name="connsiteY0" fmla="*/ 37067 h 37605"/>
                <a:gd name="connsiteX1" fmla="*/ 131542 w 131793"/>
                <a:gd name="connsiteY1" fmla="*/ 35618 h 37605"/>
                <a:gd name="connsiteX2" fmla="*/ 90017 w 131793"/>
                <a:gd name="connsiteY2" fmla="*/ 13305 h 37605"/>
                <a:gd name="connsiteX3" fmla="*/ 29854 w 131793"/>
                <a:gd name="connsiteY3" fmla="*/ 3901 h 37605"/>
                <a:gd name="connsiteX4" fmla="*/ 1474 w 131793"/>
                <a:gd name="connsiteY4" fmla="*/ 25 h 37605"/>
                <a:gd name="connsiteX5" fmla="*/ 1003 w 131793"/>
                <a:gd name="connsiteY5" fmla="*/ 2553 h 37605"/>
                <a:gd name="connsiteX6" fmla="*/ 108690 w 131793"/>
                <a:gd name="connsiteY6" fmla="*/ 22068 h 37605"/>
                <a:gd name="connsiteX7" fmla="*/ 129418 w 131793"/>
                <a:gd name="connsiteY7" fmla="*/ 37067 h 37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793" h="37605">
                  <a:moveTo>
                    <a:pt x="129418" y="37067"/>
                  </a:moveTo>
                  <a:cubicBezTo>
                    <a:pt x="130396" y="38415"/>
                    <a:pt x="132520" y="36966"/>
                    <a:pt x="131542" y="35618"/>
                  </a:cubicBezTo>
                  <a:cubicBezTo>
                    <a:pt x="122138" y="22574"/>
                    <a:pt x="104915" y="17046"/>
                    <a:pt x="90017" y="13305"/>
                  </a:cubicBezTo>
                  <a:cubicBezTo>
                    <a:pt x="70300" y="8350"/>
                    <a:pt x="49976" y="6193"/>
                    <a:pt x="29854" y="3901"/>
                  </a:cubicBezTo>
                  <a:cubicBezTo>
                    <a:pt x="20383" y="2823"/>
                    <a:pt x="10845" y="1812"/>
                    <a:pt x="1474" y="25"/>
                  </a:cubicBezTo>
                  <a:cubicBezTo>
                    <a:pt x="-143" y="-278"/>
                    <a:pt x="-615" y="2250"/>
                    <a:pt x="1003" y="2553"/>
                  </a:cubicBezTo>
                  <a:cubicBezTo>
                    <a:pt x="36595" y="9227"/>
                    <a:pt x="74850" y="7575"/>
                    <a:pt x="108690" y="22068"/>
                  </a:cubicBezTo>
                  <a:cubicBezTo>
                    <a:pt x="116577" y="25472"/>
                    <a:pt x="124329" y="29989"/>
                    <a:pt x="129418" y="37067"/>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sp>
          <p:nvSpPr>
            <p:cNvPr id="316" name="Freeform: Shape 315">
              <a:extLst>
                <a:ext uri="{FF2B5EF4-FFF2-40B4-BE49-F238E27FC236}">
                  <a16:creationId xmlns:a16="http://schemas.microsoft.com/office/drawing/2014/main" id="{4048D9E4-28BE-4538-BCB5-BB5ACE4E56A9}"/>
                </a:ext>
              </a:extLst>
            </p:cNvPr>
            <p:cNvSpPr/>
            <p:nvPr/>
          </p:nvSpPr>
          <p:spPr>
            <a:xfrm>
              <a:off x="10906167" y="1597716"/>
              <a:ext cx="76971" cy="144673"/>
            </a:xfrm>
            <a:custGeom>
              <a:avLst/>
              <a:gdLst>
                <a:gd name="connsiteX0" fmla="*/ 2443 w 76971"/>
                <a:gd name="connsiteY0" fmla="*/ 144014 h 144673"/>
                <a:gd name="connsiteX1" fmla="*/ 73965 w 76971"/>
                <a:gd name="connsiteY1" fmla="*/ 31507 h 144673"/>
                <a:gd name="connsiteX2" fmla="*/ 75515 w 76971"/>
                <a:gd name="connsiteY2" fmla="*/ 869 h 144673"/>
                <a:gd name="connsiteX3" fmla="*/ 73089 w 76971"/>
                <a:gd name="connsiteY3" fmla="*/ 1644 h 144673"/>
                <a:gd name="connsiteX4" fmla="*/ 58292 w 76971"/>
                <a:gd name="connsiteY4" fmla="*/ 59751 h 144673"/>
                <a:gd name="connsiteX5" fmla="*/ 18048 w 76971"/>
                <a:gd name="connsiteY5" fmla="*/ 116881 h 144673"/>
                <a:gd name="connsiteX6" fmla="*/ 185 w 76971"/>
                <a:gd name="connsiteY6" fmla="*/ 142800 h 144673"/>
                <a:gd name="connsiteX7" fmla="*/ 2443 w 76971"/>
                <a:gd name="connsiteY7" fmla="*/ 144014 h 144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971" h="144673">
                  <a:moveTo>
                    <a:pt x="2443" y="144014"/>
                  </a:moveTo>
                  <a:cubicBezTo>
                    <a:pt x="24621" y="105759"/>
                    <a:pt x="60854" y="74885"/>
                    <a:pt x="73965" y="31507"/>
                  </a:cubicBezTo>
                  <a:cubicBezTo>
                    <a:pt x="76965" y="21564"/>
                    <a:pt x="78144" y="11048"/>
                    <a:pt x="75515" y="869"/>
                  </a:cubicBezTo>
                  <a:cubicBezTo>
                    <a:pt x="75111" y="-715"/>
                    <a:pt x="72651" y="60"/>
                    <a:pt x="73089" y="1644"/>
                  </a:cubicBezTo>
                  <a:cubicBezTo>
                    <a:pt x="78347" y="21732"/>
                    <a:pt x="68168" y="42798"/>
                    <a:pt x="58292" y="59751"/>
                  </a:cubicBezTo>
                  <a:cubicBezTo>
                    <a:pt x="46563" y="79907"/>
                    <a:pt x="32002" y="98242"/>
                    <a:pt x="18048" y="116881"/>
                  </a:cubicBezTo>
                  <a:cubicBezTo>
                    <a:pt x="11779" y="125274"/>
                    <a:pt x="5443" y="133734"/>
                    <a:pt x="185" y="142800"/>
                  </a:cubicBezTo>
                  <a:cubicBezTo>
                    <a:pt x="-657" y="144283"/>
                    <a:pt x="1601" y="145463"/>
                    <a:pt x="2443" y="144014"/>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sp>
          <p:nvSpPr>
            <p:cNvPr id="317" name="Freeform: Shape 316">
              <a:extLst>
                <a:ext uri="{FF2B5EF4-FFF2-40B4-BE49-F238E27FC236}">
                  <a16:creationId xmlns:a16="http://schemas.microsoft.com/office/drawing/2014/main" id="{F887EF2E-F534-45C9-BB38-628D66C946BB}"/>
                </a:ext>
              </a:extLst>
            </p:cNvPr>
            <p:cNvSpPr/>
            <p:nvPr/>
          </p:nvSpPr>
          <p:spPr>
            <a:xfrm>
              <a:off x="10993067" y="1618500"/>
              <a:ext cx="8175" cy="53586"/>
            </a:xfrm>
            <a:custGeom>
              <a:avLst/>
              <a:gdLst>
                <a:gd name="connsiteX0" fmla="*/ 2570 w 8175"/>
                <a:gd name="connsiteY0" fmla="*/ 52450 h 53586"/>
                <a:gd name="connsiteX1" fmla="*/ 8164 w 8175"/>
                <a:gd name="connsiteY1" fmla="*/ 1420 h 53586"/>
                <a:gd name="connsiteX2" fmla="*/ 5603 w 8175"/>
                <a:gd name="connsiteY2" fmla="*/ 1151 h 53586"/>
                <a:gd name="connsiteX3" fmla="*/ 8 w 8175"/>
                <a:gd name="connsiteY3" fmla="*/ 52180 h 53586"/>
                <a:gd name="connsiteX4" fmla="*/ 2570 w 8175"/>
                <a:gd name="connsiteY4" fmla="*/ 52450 h 53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75" h="53586">
                  <a:moveTo>
                    <a:pt x="2570" y="52450"/>
                  </a:moveTo>
                  <a:lnTo>
                    <a:pt x="8164" y="1420"/>
                  </a:lnTo>
                  <a:cubicBezTo>
                    <a:pt x="8367" y="-265"/>
                    <a:pt x="5805" y="-568"/>
                    <a:pt x="5603" y="1151"/>
                  </a:cubicBezTo>
                  <a:lnTo>
                    <a:pt x="8" y="52180"/>
                  </a:lnTo>
                  <a:cubicBezTo>
                    <a:pt x="-161" y="53865"/>
                    <a:pt x="2401" y="54135"/>
                    <a:pt x="2570" y="52450"/>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sp>
          <p:nvSpPr>
            <p:cNvPr id="318" name="Freeform: Shape 317">
              <a:extLst>
                <a:ext uri="{FF2B5EF4-FFF2-40B4-BE49-F238E27FC236}">
                  <a16:creationId xmlns:a16="http://schemas.microsoft.com/office/drawing/2014/main" id="{A72DD7F2-F033-4946-911E-7911C4466319}"/>
                </a:ext>
              </a:extLst>
            </p:cNvPr>
            <p:cNvSpPr/>
            <p:nvPr/>
          </p:nvSpPr>
          <p:spPr>
            <a:xfrm>
              <a:off x="10882704" y="1358297"/>
              <a:ext cx="57448" cy="69333"/>
            </a:xfrm>
            <a:custGeom>
              <a:avLst/>
              <a:gdLst>
                <a:gd name="connsiteX0" fmla="*/ 56679 w 57448"/>
                <a:gd name="connsiteY0" fmla="*/ 66808 h 69333"/>
                <a:gd name="connsiteX1" fmla="*/ 46635 w 57448"/>
                <a:gd name="connsiteY1" fmla="*/ 52180 h 69333"/>
                <a:gd name="connsiteX2" fmla="*/ 31367 w 57448"/>
                <a:gd name="connsiteY2" fmla="*/ 33137 h 69333"/>
                <a:gd name="connsiteX3" fmla="*/ 2886 w 57448"/>
                <a:gd name="connsiteY3" fmla="*/ 241 h 69333"/>
                <a:gd name="connsiteX4" fmla="*/ 932 w 57448"/>
                <a:gd name="connsiteY4" fmla="*/ 814 h 69333"/>
                <a:gd name="connsiteX5" fmla="*/ 89 w 57448"/>
                <a:gd name="connsiteY5" fmla="*/ 3005 h 69333"/>
                <a:gd name="connsiteX6" fmla="*/ 2482 w 57448"/>
                <a:gd name="connsiteY6" fmla="*/ 3949 h 69333"/>
                <a:gd name="connsiteX7" fmla="*/ 2684 w 57448"/>
                <a:gd name="connsiteY7" fmla="*/ 3409 h 69333"/>
                <a:gd name="connsiteX8" fmla="*/ 16705 w 57448"/>
                <a:gd name="connsiteY8" fmla="*/ 18914 h 69333"/>
                <a:gd name="connsiteX9" fmla="*/ 32513 w 57448"/>
                <a:gd name="connsiteY9" fmla="*/ 38496 h 69333"/>
                <a:gd name="connsiteX10" fmla="*/ 46837 w 57448"/>
                <a:gd name="connsiteY10" fmla="*/ 57708 h 69333"/>
                <a:gd name="connsiteX11" fmla="*/ 55736 w 57448"/>
                <a:gd name="connsiteY11" fmla="*/ 69235 h 69333"/>
                <a:gd name="connsiteX12" fmla="*/ 56679 w 57448"/>
                <a:gd name="connsiteY12" fmla="*/ 66808 h 69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448" h="69333">
                  <a:moveTo>
                    <a:pt x="56679" y="66808"/>
                  </a:moveTo>
                  <a:cubicBezTo>
                    <a:pt x="51523" y="64618"/>
                    <a:pt x="49534" y="56562"/>
                    <a:pt x="46635" y="52180"/>
                  </a:cubicBezTo>
                  <a:cubicBezTo>
                    <a:pt x="42119" y="45406"/>
                    <a:pt x="36557" y="39373"/>
                    <a:pt x="31367" y="33137"/>
                  </a:cubicBezTo>
                  <a:cubicBezTo>
                    <a:pt x="22300" y="22217"/>
                    <a:pt x="14414" y="8735"/>
                    <a:pt x="2886" y="241"/>
                  </a:cubicBezTo>
                  <a:cubicBezTo>
                    <a:pt x="2212" y="-231"/>
                    <a:pt x="1235" y="5"/>
                    <a:pt x="932" y="814"/>
                  </a:cubicBezTo>
                  <a:cubicBezTo>
                    <a:pt x="662" y="1556"/>
                    <a:pt x="392" y="2263"/>
                    <a:pt x="89" y="3005"/>
                  </a:cubicBezTo>
                  <a:cubicBezTo>
                    <a:pt x="-484" y="4555"/>
                    <a:pt x="1876" y="5499"/>
                    <a:pt x="2482" y="3949"/>
                  </a:cubicBezTo>
                  <a:cubicBezTo>
                    <a:pt x="2549" y="3780"/>
                    <a:pt x="2617" y="3578"/>
                    <a:pt x="2684" y="3409"/>
                  </a:cubicBezTo>
                  <a:cubicBezTo>
                    <a:pt x="8144" y="7791"/>
                    <a:pt x="12425" y="13420"/>
                    <a:pt x="16705" y="18914"/>
                  </a:cubicBezTo>
                  <a:cubicBezTo>
                    <a:pt x="21862" y="25520"/>
                    <a:pt x="27053" y="32126"/>
                    <a:pt x="32513" y="38496"/>
                  </a:cubicBezTo>
                  <a:cubicBezTo>
                    <a:pt x="37670" y="44496"/>
                    <a:pt x="43063" y="50697"/>
                    <a:pt x="46837" y="57708"/>
                  </a:cubicBezTo>
                  <a:cubicBezTo>
                    <a:pt x="49029" y="61786"/>
                    <a:pt x="51185" y="67314"/>
                    <a:pt x="55736" y="69235"/>
                  </a:cubicBezTo>
                  <a:cubicBezTo>
                    <a:pt x="57252" y="69842"/>
                    <a:pt x="58196" y="67482"/>
                    <a:pt x="56679" y="66808"/>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sp>
          <p:nvSpPr>
            <p:cNvPr id="319" name="Freeform: Shape 318">
              <a:extLst>
                <a:ext uri="{FF2B5EF4-FFF2-40B4-BE49-F238E27FC236}">
                  <a16:creationId xmlns:a16="http://schemas.microsoft.com/office/drawing/2014/main" id="{63B78A8A-CF38-449F-9F06-5AC8DC431904}"/>
                </a:ext>
              </a:extLst>
            </p:cNvPr>
            <p:cNvSpPr/>
            <p:nvPr/>
          </p:nvSpPr>
          <p:spPr>
            <a:xfrm>
              <a:off x="11146151" y="1561546"/>
              <a:ext cx="44063" cy="5893"/>
            </a:xfrm>
            <a:custGeom>
              <a:avLst/>
              <a:gdLst>
                <a:gd name="connsiteX0" fmla="*/ 2438 w 44063"/>
                <a:gd name="connsiteY0" fmla="*/ 5086 h 5893"/>
                <a:gd name="connsiteX1" fmla="*/ 12145 w 44063"/>
                <a:gd name="connsiteY1" fmla="*/ 2996 h 5893"/>
                <a:gd name="connsiteX2" fmla="*/ 21077 w 44063"/>
                <a:gd name="connsiteY2" fmla="*/ 3165 h 5893"/>
                <a:gd name="connsiteX3" fmla="*/ 42681 w 44063"/>
                <a:gd name="connsiteY3" fmla="*/ 3536 h 5893"/>
                <a:gd name="connsiteX4" fmla="*/ 42951 w 44063"/>
                <a:gd name="connsiteY4" fmla="*/ 974 h 5893"/>
                <a:gd name="connsiteX5" fmla="*/ 22728 w 44063"/>
                <a:gd name="connsiteY5" fmla="*/ 367 h 5893"/>
                <a:gd name="connsiteX6" fmla="*/ 1932 w 44063"/>
                <a:gd name="connsiteY6" fmla="*/ 570 h 5893"/>
                <a:gd name="connsiteX7" fmla="*/ 955 w 44063"/>
                <a:gd name="connsiteY7" fmla="*/ 1379 h 5893"/>
                <a:gd name="connsiteX8" fmla="*/ 79 w 44063"/>
                <a:gd name="connsiteY8" fmla="*/ 4142 h 5893"/>
                <a:gd name="connsiteX9" fmla="*/ 2438 w 44063"/>
                <a:gd name="connsiteY9" fmla="*/ 5086 h 5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063" h="5893">
                  <a:moveTo>
                    <a:pt x="2438" y="5086"/>
                  </a:moveTo>
                  <a:cubicBezTo>
                    <a:pt x="3651" y="1311"/>
                    <a:pt x="8842" y="2794"/>
                    <a:pt x="12145" y="2996"/>
                  </a:cubicBezTo>
                  <a:cubicBezTo>
                    <a:pt x="15111" y="3199"/>
                    <a:pt x="18111" y="3401"/>
                    <a:pt x="21077" y="3165"/>
                  </a:cubicBezTo>
                  <a:cubicBezTo>
                    <a:pt x="28458" y="2558"/>
                    <a:pt x="35334" y="2727"/>
                    <a:pt x="42681" y="3536"/>
                  </a:cubicBezTo>
                  <a:cubicBezTo>
                    <a:pt x="44333" y="3704"/>
                    <a:pt x="44603" y="1176"/>
                    <a:pt x="42951" y="974"/>
                  </a:cubicBezTo>
                  <a:cubicBezTo>
                    <a:pt x="36210" y="233"/>
                    <a:pt x="29503" y="-442"/>
                    <a:pt x="22728" y="367"/>
                  </a:cubicBezTo>
                  <a:cubicBezTo>
                    <a:pt x="15785" y="1176"/>
                    <a:pt x="8876" y="-408"/>
                    <a:pt x="1932" y="570"/>
                  </a:cubicBezTo>
                  <a:cubicBezTo>
                    <a:pt x="1528" y="637"/>
                    <a:pt x="1090" y="940"/>
                    <a:pt x="955" y="1379"/>
                  </a:cubicBezTo>
                  <a:cubicBezTo>
                    <a:pt x="651" y="2289"/>
                    <a:pt x="348" y="3232"/>
                    <a:pt x="79" y="4142"/>
                  </a:cubicBezTo>
                  <a:cubicBezTo>
                    <a:pt x="-460" y="5693"/>
                    <a:pt x="1932" y="6670"/>
                    <a:pt x="2438" y="5086"/>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sp>
          <p:nvSpPr>
            <p:cNvPr id="320" name="Freeform: Shape 319">
              <a:extLst>
                <a:ext uri="{FF2B5EF4-FFF2-40B4-BE49-F238E27FC236}">
                  <a16:creationId xmlns:a16="http://schemas.microsoft.com/office/drawing/2014/main" id="{7E34BCA3-BCFF-437C-802D-14B9AA22F736}"/>
                </a:ext>
              </a:extLst>
            </p:cNvPr>
            <p:cNvSpPr/>
            <p:nvPr/>
          </p:nvSpPr>
          <p:spPr>
            <a:xfrm>
              <a:off x="10892542" y="1727445"/>
              <a:ext cx="41096" cy="28779"/>
            </a:xfrm>
            <a:custGeom>
              <a:avLst/>
              <a:gdLst>
                <a:gd name="connsiteX0" fmla="*/ 37302 w 41096"/>
                <a:gd name="connsiteY0" fmla="*/ 28441 h 28779"/>
                <a:gd name="connsiteX1" fmla="*/ 39662 w 41096"/>
                <a:gd name="connsiteY1" fmla="*/ 17959 h 28779"/>
                <a:gd name="connsiteX2" fmla="*/ 37033 w 41096"/>
                <a:gd name="connsiteY2" fmla="*/ 14150 h 28779"/>
                <a:gd name="connsiteX3" fmla="*/ 36796 w 41096"/>
                <a:gd name="connsiteY3" fmla="*/ 13880 h 28779"/>
                <a:gd name="connsiteX4" fmla="*/ 20820 w 41096"/>
                <a:gd name="connsiteY4" fmla="*/ 3533 h 28779"/>
                <a:gd name="connsiteX5" fmla="*/ 7709 w 41096"/>
                <a:gd name="connsiteY5" fmla="*/ 28 h 28779"/>
                <a:gd name="connsiteX6" fmla="*/ 800 w 41096"/>
                <a:gd name="connsiteY6" fmla="*/ 3567 h 28779"/>
                <a:gd name="connsiteX7" fmla="*/ 126 w 41096"/>
                <a:gd name="connsiteY7" fmla="*/ 5117 h 28779"/>
                <a:gd name="connsiteX8" fmla="*/ 6563 w 41096"/>
                <a:gd name="connsiteY8" fmla="*/ 15128 h 28779"/>
                <a:gd name="connsiteX9" fmla="*/ 11653 w 41096"/>
                <a:gd name="connsiteY9" fmla="*/ 18094 h 28779"/>
                <a:gd name="connsiteX10" fmla="*/ 14956 w 41096"/>
                <a:gd name="connsiteY10" fmla="*/ 21633 h 28779"/>
                <a:gd name="connsiteX11" fmla="*/ 27090 w 41096"/>
                <a:gd name="connsiteY11" fmla="*/ 27295 h 28779"/>
                <a:gd name="connsiteX12" fmla="*/ 37302 w 41096"/>
                <a:gd name="connsiteY12" fmla="*/ 28441 h 28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096" h="28779">
                  <a:moveTo>
                    <a:pt x="37302" y="28441"/>
                  </a:moveTo>
                  <a:cubicBezTo>
                    <a:pt x="42156" y="26688"/>
                    <a:pt x="41651" y="21868"/>
                    <a:pt x="39662" y="17959"/>
                  </a:cubicBezTo>
                  <a:cubicBezTo>
                    <a:pt x="39257" y="16476"/>
                    <a:pt x="38280" y="15128"/>
                    <a:pt x="37033" y="14150"/>
                  </a:cubicBezTo>
                  <a:cubicBezTo>
                    <a:pt x="36965" y="14049"/>
                    <a:pt x="36864" y="13982"/>
                    <a:pt x="36796" y="13880"/>
                  </a:cubicBezTo>
                  <a:cubicBezTo>
                    <a:pt x="32382" y="9431"/>
                    <a:pt x="26517" y="6061"/>
                    <a:pt x="20820" y="3533"/>
                  </a:cubicBezTo>
                  <a:cubicBezTo>
                    <a:pt x="17012" y="1848"/>
                    <a:pt x="12159" y="-208"/>
                    <a:pt x="7709" y="28"/>
                  </a:cubicBezTo>
                  <a:cubicBezTo>
                    <a:pt x="4979" y="-174"/>
                    <a:pt x="2384" y="702"/>
                    <a:pt x="800" y="3567"/>
                  </a:cubicBezTo>
                  <a:cubicBezTo>
                    <a:pt x="496" y="4039"/>
                    <a:pt x="261" y="4578"/>
                    <a:pt x="126" y="5117"/>
                  </a:cubicBezTo>
                  <a:cubicBezTo>
                    <a:pt x="-818" y="9061"/>
                    <a:pt x="3766" y="13105"/>
                    <a:pt x="6563" y="15128"/>
                  </a:cubicBezTo>
                  <a:cubicBezTo>
                    <a:pt x="8181" y="16273"/>
                    <a:pt x="9900" y="17251"/>
                    <a:pt x="11653" y="18094"/>
                  </a:cubicBezTo>
                  <a:cubicBezTo>
                    <a:pt x="12799" y="19240"/>
                    <a:pt x="13810" y="20520"/>
                    <a:pt x="14956" y="21633"/>
                  </a:cubicBezTo>
                  <a:cubicBezTo>
                    <a:pt x="18495" y="25172"/>
                    <a:pt x="22068" y="26924"/>
                    <a:pt x="27090" y="27295"/>
                  </a:cubicBezTo>
                  <a:cubicBezTo>
                    <a:pt x="30224" y="27598"/>
                    <a:pt x="34201" y="29553"/>
                    <a:pt x="37302" y="28441"/>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sp>
          <p:nvSpPr>
            <p:cNvPr id="321" name="Freeform: Shape 320">
              <a:extLst>
                <a:ext uri="{FF2B5EF4-FFF2-40B4-BE49-F238E27FC236}">
                  <a16:creationId xmlns:a16="http://schemas.microsoft.com/office/drawing/2014/main" id="{2D58F9F1-6BF8-43DF-931B-828E6A697449}"/>
                </a:ext>
              </a:extLst>
            </p:cNvPr>
            <p:cNvSpPr/>
            <p:nvPr/>
          </p:nvSpPr>
          <p:spPr>
            <a:xfrm>
              <a:off x="11093066" y="1699531"/>
              <a:ext cx="33361" cy="29034"/>
            </a:xfrm>
            <a:custGeom>
              <a:avLst/>
              <a:gdLst>
                <a:gd name="connsiteX0" fmla="*/ 14369 w 33361"/>
                <a:gd name="connsiteY0" fmla="*/ 26290 h 29034"/>
                <a:gd name="connsiteX1" fmla="*/ 30413 w 33361"/>
                <a:gd name="connsiteY1" fmla="*/ 14324 h 29034"/>
                <a:gd name="connsiteX2" fmla="*/ 31828 w 33361"/>
                <a:gd name="connsiteY2" fmla="*/ 10684 h 29034"/>
                <a:gd name="connsiteX3" fmla="*/ 33008 w 33361"/>
                <a:gd name="connsiteY3" fmla="*/ 8594 h 29034"/>
                <a:gd name="connsiteX4" fmla="*/ 30615 w 33361"/>
                <a:gd name="connsiteY4" fmla="*/ 3033 h 29034"/>
                <a:gd name="connsiteX5" fmla="*/ 29435 w 33361"/>
                <a:gd name="connsiteY5" fmla="*/ 2730 h 29034"/>
                <a:gd name="connsiteX6" fmla="*/ 27447 w 33361"/>
                <a:gd name="connsiteY6" fmla="*/ 977 h 29034"/>
                <a:gd name="connsiteX7" fmla="*/ 11673 w 33361"/>
                <a:gd name="connsiteY7" fmla="*/ 5224 h 29034"/>
                <a:gd name="connsiteX8" fmla="*/ 2336 w 33361"/>
                <a:gd name="connsiteY8" fmla="*/ 16717 h 29034"/>
                <a:gd name="connsiteX9" fmla="*/ 887 w 33361"/>
                <a:gd name="connsiteY9" fmla="*/ 18908 h 29034"/>
                <a:gd name="connsiteX10" fmla="*/ 6112 w 33361"/>
                <a:gd name="connsiteY10" fmla="*/ 28952 h 29034"/>
                <a:gd name="connsiteX11" fmla="*/ 14369 w 33361"/>
                <a:gd name="connsiteY11" fmla="*/ 26290 h 29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61" h="29034">
                  <a:moveTo>
                    <a:pt x="14369" y="26290"/>
                  </a:moveTo>
                  <a:cubicBezTo>
                    <a:pt x="20672" y="25110"/>
                    <a:pt x="27716" y="18470"/>
                    <a:pt x="30413" y="14324"/>
                  </a:cubicBezTo>
                  <a:cubicBezTo>
                    <a:pt x="31120" y="13212"/>
                    <a:pt x="31626" y="11965"/>
                    <a:pt x="31828" y="10684"/>
                  </a:cubicBezTo>
                  <a:cubicBezTo>
                    <a:pt x="32233" y="10010"/>
                    <a:pt x="32637" y="9302"/>
                    <a:pt x="33008" y="8594"/>
                  </a:cubicBezTo>
                  <a:cubicBezTo>
                    <a:pt x="34053" y="6707"/>
                    <a:pt x="32637" y="3640"/>
                    <a:pt x="30615" y="3033"/>
                  </a:cubicBezTo>
                  <a:cubicBezTo>
                    <a:pt x="30210" y="2932"/>
                    <a:pt x="29806" y="2831"/>
                    <a:pt x="29435" y="2730"/>
                  </a:cubicBezTo>
                  <a:cubicBezTo>
                    <a:pt x="28930" y="1988"/>
                    <a:pt x="28222" y="1382"/>
                    <a:pt x="27447" y="977"/>
                  </a:cubicBezTo>
                  <a:cubicBezTo>
                    <a:pt x="22223" y="-1854"/>
                    <a:pt x="15751" y="2056"/>
                    <a:pt x="11673" y="5224"/>
                  </a:cubicBezTo>
                  <a:cubicBezTo>
                    <a:pt x="8067" y="8055"/>
                    <a:pt x="3886" y="12100"/>
                    <a:pt x="2336" y="16717"/>
                  </a:cubicBezTo>
                  <a:cubicBezTo>
                    <a:pt x="1763" y="17425"/>
                    <a:pt x="1292" y="18167"/>
                    <a:pt x="887" y="18908"/>
                  </a:cubicBezTo>
                  <a:cubicBezTo>
                    <a:pt x="-1405" y="23425"/>
                    <a:pt x="887" y="28346"/>
                    <a:pt x="6112" y="28952"/>
                  </a:cubicBezTo>
                  <a:cubicBezTo>
                    <a:pt x="9448" y="29390"/>
                    <a:pt x="11942" y="28009"/>
                    <a:pt x="14369" y="26290"/>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sp>
          <p:nvSpPr>
            <p:cNvPr id="322" name="Freeform: Shape 321">
              <a:extLst>
                <a:ext uri="{FF2B5EF4-FFF2-40B4-BE49-F238E27FC236}">
                  <a16:creationId xmlns:a16="http://schemas.microsoft.com/office/drawing/2014/main" id="{484F1BE7-C93F-4B73-811F-59CE0E50C239}"/>
                </a:ext>
              </a:extLst>
            </p:cNvPr>
            <p:cNvSpPr/>
            <p:nvPr/>
          </p:nvSpPr>
          <p:spPr>
            <a:xfrm>
              <a:off x="11189623" y="1547520"/>
              <a:ext cx="14722" cy="36201"/>
            </a:xfrm>
            <a:custGeom>
              <a:avLst/>
              <a:gdLst>
                <a:gd name="connsiteX0" fmla="*/ 7434 w 14722"/>
                <a:gd name="connsiteY0" fmla="*/ 34347 h 36201"/>
                <a:gd name="connsiteX1" fmla="*/ 10399 w 14722"/>
                <a:gd name="connsiteY1" fmla="*/ 28348 h 36201"/>
                <a:gd name="connsiteX2" fmla="*/ 14141 w 14722"/>
                <a:gd name="connsiteY2" fmla="*/ 21068 h 36201"/>
                <a:gd name="connsiteX3" fmla="*/ 14545 w 14722"/>
                <a:gd name="connsiteY3" fmla="*/ 19720 h 36201"/>
                <a:gd name="connsiteX4" fmla="*/ 4636 w 14722"/>
                <a:gd name="connsiteY4" fmla="*/ 777 h 36201"/>
                <a:gd name="connsiteX5" fmla="*/ 3692 w 14722"/>
                <a:gd name="connsiteY5" fmla="*/ 36201 h 36201"/>
                <a:gd name="connsiteX6" fmla="*/ 7434 w 14722"/>
                <a:gd name="connsiteY6" fmla="*/ 34347 h 36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722" h="36201">
                  <a:moveTo>
                    <a:pt x="7434" y="34347"/>
                  </a:moveTo>
                  <a:cubicBezTo>
                    <a:pt x="8984" y="32932"/>
                    <a:pt x="9894" y="30876"/>
                    <a:pt x="10399" y="28348"/>
                  </a:cubicBezTo>
                  <a:cubicBezTo>
                    <a:pt x="12388" y="26595"/>
                    <a:pt x="13467" y="23798"/>
                    <a:pt x="14141" y="21068"/>
                  </a:cubicBezTo>
                  <a:cubicBezTo>
                    <a:pt x="14343" y="20663"/>
                    <a:pt x="14477" y="20225"/>
                    <a:pt x="14545" y="19720"/>
                  </a:cubicBezTo>
                  <a:cubicBezTo>
                    <a:pt x="15253" y="14933"/>
                    <a:pt x="14208" y="-4042"/>
                    <a:pt x="4636" y="777"/>
                  </a:cubicBezTo>
                  <a:cubicBezTo>
                    <a:pt x="-3218" y="4755"/>
                    <a:pt x="625" y="31280"/>
                    <a:pt x="3692" y="36201"/>
                  </a:cubicBezTo>
                  <a:cubicBezTo>
                    <a:pt x="5242" y="35898"/>
                    <a:pt x="6456" y="35257"/>
                    <a:pt x="7434" y="34347"/>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sp>
          <p:nvSpPr>
            <p:cNvPr id="323" name="Freeform: Shape 322">
              <a:extLst>
                <a:ext uri="{FF2B5EF4-FFF2-40B4-BE49-F238E27FC236}">
                  <a16:creationId xmlns:a16="http://schemas.microsoft.com/office/drawing/2014/main" id="{C0AE20EC-5555-4513-AF57-505AEAC4FF76}"/>
                </a:ext>
              </a:extLst>
            </p:cNvPr>
            <p:cNvSpPr/>
            <p:nvPr/>
          </p:nvSpPr>
          <p:spPr>
            <a:xfrm>
              <a:off x="10851571" y="1612180"/>
              <a:ext cx="36875" cy="27164"/>
            </a:xfrm>
            <a:custGeom>
              <a:avLst/>
              <a:gdLst>
                <a:gd name="connsiteX0" fmla="*/ 33547 w 36875"/>
                <a:gd name="connsiteY0" fmla="*/ 1471 h 27164"/>
                <a:gd name="connsiteX1" fmla="*/ 26569 w 36875"/>
                <a:gd name="connsiteY1" fmla="*/ 8515 h 27164"/>
                <a:gd name="connsiteX2" fmla="*/ 18986 w 36875"/>
                <a:gd name="connsiteY2" fmla="*/ 13234 h 27164"/>
                <a:gd name="connsiteX3" fmla="*/ 684 w 36875"/>
                <a:gd name="connsiteY3" fmla="*/ 24727 h 27164"/>
                <a:gd name="connsiteX4" fmla="*/ 1831 w 36875"/>
                <a:gd name="connsiteY4" fmla="*/ 27019 h 27164"/>
                <a:gd name="connsiteX5" fmla="*/ 19121 w 36875"/>
                <a:gd name="connsiteY5" fmla="*/ 16503 h 27164"/>
                <a:gd name="connsiteX6" fmla="*/ 36445 w 36875"/>
                <a:gd name="connsiteY6" fmla="*/ 4976 h 27164"/>
                <a:gd name="connsiteX7" fmla="*/ 36850 w 36875"/>
                <a:gd name="connsiteY7" fmla="*/ 3763 h 27164"/>
                <a:gd name="connsiteX8" fmla="*/ 36074 w 36875"/>
                <a:gd name="connsiteY8" fmla="*/ 965 h 27164"/>
                <a:gd name="connsiteX9" fmla="*/ 33547 w 36875"/>
                <a:gd name="connsiteY9" fmla="*/ 1471 h 27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875" h="27164">
                  <a:moveTo>
                    <a:pt x="33547" y="1471"/>
                  </a:moveTo>
                  <a:cubicBezTo>
                    <a:pt x="34592" y="5313"/>
                    <a:pt x="29435" y="6897"/>
                    <a:pt x="26569" y="8515"/>
                  </a:cubicBezTo>
                  <a:cubicBezTo>
                    <a:pt x="23974" y="9998"/>
                    <a:pt x="21345" y="11414"/>
                    <a:pt x="18986" y="13234"/>
                  </a:cubicBezTo>
                  <a:cubicBezTo>
                    <a:pt x="13155" y="17784"/>
                    <a:pt x="7290" y="21357"/>
                    <a:pt x="684" y="24727"/>
                  </a:cubicBezTo>
                  <a:cubicBezTo>
                    <a:pt x="-798" y="25469"/>
                    <a:pt x="381" y="27760"/>
                    <a:pt x="1831" y="27019"/>
                  </a:cubicBezTo>
                  <a:cubicBezTo>
                    <a:pt x="7897" y="23952"/>
                    <a:pt x="13863" y="20851"/>
                    <a:pt x="19121" y="16503"/>
                  </a:cubicBezTo>
                  <a:cubicBezTo>
                    <a:pt x="24480" y="12054"/>
                    <a:pt x="31154" y="9594"/>
                    <a:pt x="36445" y="4976"/>
                  </a:cubicBezTo>
                  <a:cubicBezTo>
                    <a:pt x="36748" y="4706"/>
                    <a:pt x="36951" y="4201"/>
                    <a:pt x="36850" y="3763"/>
                  </a:cubicBezTo>
                  <a:cubicBezTo>
                    <a:pt x="36613" y="2819"/>
                    <a:pt x="36344" y="1909"/>
                    <a:pt x="36074" y="965"/>
                  </a:cubicBezTo>
                  <a:cubicBezTo>
                    <a:pt x="35602" y="-619"/>
                    <a:pt x="33108" y="-114"/>
                    <a:pt x="33547" y="1471"/>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sp>
          <p:nvSpPr>
            <p:cNvPr id="324" name="Freeform: Shape 323">
              <a:extLst>
                <a:ext uri="{FF2B5EF4-FFF2-40B4-BE49-F238E27FC236}">
                  <a16:creationId xmlns:a16="http://schemas.microsoft.com/office/drawing/2014/main" id="{F2FBEA95-388A-4F70-AE4D-7D3D4EDC0159}"/>
                </a:ext>
              </a:extLst>
            </p:cNvPr>
            <p:cNvSpPr/>
            <p:nvPr/>
          </p:nvSpPr>
          <p:spPr>
            <a:xfrm>
              <a:off x="10829569" y="1624380"/>
              <a:ext cx="28527" cy="34294"/>
            </a:xfrm>
            <a:custGeom>
              <a:avLst/>
              <a:gdLst>
                <a:gd name="connsiteX0" fmla="*/ 4 w 28527"/>
                <a:gd name="connsiteY0" fmla="*/ 6865 h 34294"/>
                <a:gd name="connsiteX1" fmla="*/ 27271 w 28527"/>
                <a:gd name="connsiteY1" fmla="*/ 29548 h 34294"/>
                <a:gd name="connsiteX2" fmla="*/ 8160 w 28527"/>
                <a:gd name="connsiteY2" fmla="*/ 23 h 34294"/>
                <a:gd name="connsiteX3" fmla="*/ 4 w 28527"/>
                <a:gd name="connsiteY3" fmla="*/ 6865 h 34294"/>
              </a:gdLst>
              <a:ahLst/>
              <a:cxnLst>
                <a:cxn ang="0">
                  <a:pos x="connsiteX0" y="connsiteY0"/>
                </a:cxn>
                <a:cxn ang="0">
                  <a:pos x="connsiteX1" y="connsiteY1"/>
                </a:cxn>
                <a:cxn ang="0">
                  <a:pos x="connsiteX2" y="connsiteY2"/>
                </a:cxn>
                <a:cxn ang="0">
                  <a:pos x="connsiteX3" y="connsiteY3"/>
                </a:cxn>
              </a:cxnLst>
              <a:rect l="l" t="t" r="r" b="b"/>
              <a:pathLst>
                <a:path w="28527" h="34294">
                  <a:moveTo>
                    <a:pt x="4" y="6865"/>
                  </a:moveTo>
                  <a:cubicBezTo>
                    <a:pt x="880" y="17246"/>
                    <a:pt x="18069" y="45423"/>
                    <a:pt x="27271" y="29548"/>
                  </a:cubicBezTo>
                  <a:cubicBezTo>
                    <a:pt x="33371" y="18999"/>
                    <a:pt x="15676" y="4270"/>
                    <a:pt x="8160" y="23"/>
                  </a:cubicBezTo>
                  <a:cubicBezTo>
                    <a:pt x="7453" y="-382"/>
                    <a:pt x="-198" y="4674"/>
                    <a:pt x="4" y="6865"/>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sp>
          <p:nvSpPr>
            <p:cNvPr id="325" name="Freeform: Shape 324">
              <a:extLst>
                <a:ext uri="{FF2B5EF4-FFF2-40B4-BE49-F238E27FC236}">
                  <a16:creationId xmlns:a16="http://schemas.microsoft.com/office/drawing/2014/main" id="{78270BF4-162E-4D9A-9A5E-5BDF73314791}"/>
                </a:ext>
              </a:extLst>
            </p:cNvPr>
            <p:cNvSpPr/>
            <p:nvPr/>
          </p:nvSpPr>
          <p:spPr>
            <a:xfrm>
              <a:off x="11166497" y="1399423"/>
              <a:ext cx="34710" cy="53479"/>
            </a:xfrm>
            <a:custGeom>
              <a:avLst/>
              <a:gdLst>
                <a:gd name="connsiteX0" fmla="*/ 21864 w 34710"/>
                <a:gd name="connsiteY0" fmla="*/ 51332 h 53479"/>
                <a:gd name="connsiteX1" fmla="*/ 27897 w 34710"/>
                <a:gd name="connsiteY1" fmla="*/ 52950 h 53479"/>
                <a:gd name="connsiteX2" fmla="*/ 13976 w 34710"/>
                <a:gd name="connsiteY2" fmla="*/ 1954 h 53479"/>
                <a:gd name="connsiteX3" fmla="*/ 5888 w 34710"/>
                <a:gd name="connsiteY3" fmla="*/ 370 h 53479"/>
                <a:gd name="connsiteX4" fmla="*/ 2247 w 34710"/>
                <a:gd name="connsiteY4" fmla="*/ 4853 h 53479"/>
                <a:gd name="connsiteX5" fmla="*/ 57 w 34710"/>
                <a:gd name="connsiteY5" fmla="*/ 8729 h 53479"/>
                <a:gd name="connsiteX6" fmla="*/ 15224 w 34710"/>
                <a:gd name="connsiteY6" fmla="*/ 47523 h 53479"/>
                <a:gd name="connsiteX7" fmla="*/ 21864 w 34710"/>
                <a:gd name="connsiteY7" fmla="*/ 51332 h 53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710" h="53479">
                  <a:moveTo>
                    <a:pt x="21864" y="51332"/>
                  </a:moveTo>
                  <a:cubicBezTo>
                    <a:pt x="23481" y="53152"/>
                    <a:pt x="25437" y="54163"/>
                    <a:pt x="27897" y="52950"/>
                  </a:cubicBezTo>
                  <a:cubicBezTo>
                    <a:pt x="45862" y="44085"/>
                    <a:pt x="23718" y="9605"/>
                    <a:pt x="13976" y="1954"/>
                  </a:cubicBezTo>
                  <a:cubicBezTo>
                    <a:pt x="11786" y="235"/>
                    <a:pt x="9157" y="-506"/>
                    <a:pt x="5888" y="370"/>
                  </a:cubicBezTo>
                  <a:cubicBezTo>
                    <a:pt x="4034" y="875"/>
                    <a:pt x="2551" y="2561"/>
                    <a:pt x="2247" y="4853"/>
                  </a:cubicBezTo>
                  <a:cubicBezTo>
                    <a:pt x="1068" y="5662"/>
                    <a:pt x="158" y="7111"/>
                    <a:pt x="57" y="8729"/>
                  </a:cubicBezTo>
                  <a:cubicBezTo>
                    <a:pt x="-752" y="20896"/>
                    <a:pt x="7235" y="38254"/>
                    <a:pt x="15224" y="47523"/>
                  </a:cubicBezTo>
                  <a:cubicBezTo>
                    <a:pt x="17179" y="49849"/>
                    <a:pt x="19471" y="51500"/>
                    <a:pt x="21864" y="51332"/>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sp>
          <p:nvSpPr>
            <p:cNvPr id="326" name="Freeform: Shape 325">
              <a:extLst>
                <a:ext uri="{FF2B5EF4-FFF2-40B4-BE49-F238E27FC236}">
                  <a16:creationId xmlns:a16="http://schemas.microsoft.com/office/drawing/2014/main" id="{ED794205-C205-4D70-9722-DADFBF2F500B}"/>
                </a:ext>
              </a:extLst>
            </p:cNvPr>
            <p:cNvSpPr/>
            <p:nvPr/>
          </p:nvSpPr>
          <p:spPr>
            <a:xfrm>
              <a:off x="11015270" y="1332684"/>
              <a:ext cx="46028" cy="25514"/>
            </a:xfrm>
            <a:custGeom>
              <a:avLst/>
              <a:gdLst>
                <a:gd name="connsiteX0" fmla="*/ 34058 w 46028"/>
                <a:gd name="connsiteY0" fmla="*/ 25146 h 25514"/>
                <a:gd name="connsiteX1" fmla="*/ 45787 w 46028"/>
                <a:gd name="connsiteY1" fmla="*/ 17192 h 25514"/>
                <a:gd name="connsiteX2" fmla="*/ 45956 w 46028"/>
                <a:gd name="connsiteY2" fmla="*/ 14765 h 25514"/>
                <a:gd name="connsiteX3" fmla="*/ 42754 w 46028"/>
                <a:gd name="connsiteY3" fmla="*/ 6777 h 25514"/>
                <a:gd name="connsiteX4" fmla="*/ 36417 w 46028"/>
                <a:gd name="connsiteY4" fmla="*/ 4013 h 25514"/>
                <a:gd name="connsiteX5" fmla="*/ 31429 w 46028"/>
                <a:gd name="connsiteY5" fmla="*/ 2935 h 25514"/>
                <a:gd name="connsiteX6" fmla="*/ 30384 w 46028"/>
                <a:gd name="connsiteY6" fmla="*/ 2699 h 25514"/>
                <a:gd name="connsiteX7" fmla="*/ 16431 w 46028"/>
                <a:gd name="connsiteY7" fmla="*/ 36 h 25514"/>
                <a:gd name="connsiteX8" fmla="*/ 3589 w 46028"/>
                <a:gd name="connsiteY8" fmla="*/ 3643 h 25514"/>
                <a:gd name="connsiteX9" fmla="*/ 1769 w 46028"/>
                <a:gd name="connsiteY9" fmla="*/ 17259 h 25514"/>
                <a:gd name="connsiteX10" fmla="*/ 14813 w 46028"/>
                <a:gd name="connsiteY10" fmla="*/ 23495 h 25514"/>
                <a:gd name="connsiteX11" fmla="*/ 34058 w 46028"/>
                <a:gd name="connsiteY11" fmla="*/ 25146 h 25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6028" h="25514">
                  <a:moveTo>
                    <a:pt x="34058" y="25146"/>
                  </a:moveTo>
                  <a:cubicBezTo>
                    <a:pt x="38642" y="24405"/>
                    <a:pt x="44473" y="22147"/>
                    <a:pt x="45787" y="17192"/>
                  </a:cubicBezTo>
                  <a:cubicBezTo>
                    <a:pt x="46024" y="16349"/>
                    <a:pt x="46057" y="15540"/>
                    <a:pt x="45956" y="14765"/>
                  </a:cubicBezTo>
                  <a:cubicBezTo>
                    <a:pt x="46326" y="11799"/>
                    <a:pt x="45282" y="8698"/>
                    <a:pt x="42754" y="6777"/>
                  </a:cubicBezTo>
                  <a:cubicBezTo>
                    <a:pt x="40867" y="5328"/>
                    <a:pt x="38676" y="4553"/>
                    <a:pt x="36417" y="4013"/>
                  </a:cubicBezTo>
                  <a:cubicBezTo>
                    <a:pt x="34833" y="3373"/>
                    <a:pt x="33148" y="3103"/>
                    <a:pt x="31429" y="2935"/>
                  </a:cubicBezTo>
                  <a:cubicBezTo>
                    <a:pt x="31093" y="2867"/>
                    <a:pt x="30721" y="2766"/>
                    <a:pt x="30384" y="2699"/>
                  </a:cubicBezTo>
                  <a:cubicBezTo>
                    <a:pt x="25801" y="1553"/>
                    <a:pt x="21183" y="238"/>
                    <a:pt x="16431" y="36"/>
                  </a:cubicBezTo>
                  <a:cubicBezTo>
                    <a:pt x="11880" y="-166"/>
                    <a:pt x="7061" y="407"/>
                    <a:pt x="3589" y="3643"/>
                  </a:cubicBezTo>
                  <a:cubicBezTo>
                    <a:pt x="-18" y="7013"/>
                    <a:pt x="-1399" y="13147"/>
                    <a:pt x="1769" y="17259"/>
                  </a:cubicBezTo>
                  <a:cubicBezTo>
                    <a:pt x="4836" y="21237"/>
                    <a:pt x="10229" y="22281"/>
                    <a:pt x="14813" y="23495"/>
                  </a:cubicBezTo>
                  <a:cubicBezTo>
                    <a:pt x="20779" y="25011"/>
                    <a:pt x="27890" y="26124"/>
                    <a:pt x="34058" y="25146"/>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sp>
          <p:nvSpPr>
            <p:cNvPr id="327" name="Freeform: Shape 326">
              <a:extLst>
                <a:ext uri="{FF2B5EF4-FFF2-40B4-BE49-F238E27FC236}">
                  <a16:creationId xmlns:a16="http://schemas.microsoft.com/office/drawing/2014/main" id="{E10C82E3-B00E-43C7-B87A-EFDF2C12538E}"/>
                </a:ext>
              </a:extLst>
            </p:cNvPr>
            <p:cNvSpPr/>
            <p:nvPr/>
          </p:nvSpPr>
          <p:spPr>
            <a:xfrm>
              <a:off x="10870457" y="1340058"/>
              <a:ext cx="43494" cy="36064"/>
            </a:xfrm>
            <a:custGeom>
              <a:avLst/>
              <a:gdLst>
                <a:gd name="connsiteX0" fmla="*/ 8190 w 43494"/>
                <a:gd name="connsiteY0" fmla="*/ 35906 h 36064"/>
                <a:gd name="connsiteX1" fmla="*/ 9200 w 43494"/>
                <a:gd name="connsiteY1" fmla="*/ 35873 h 36064"/>
                <a:gd name="connsiteX2" fmla="*/ 23357 w 43494"/>
                <a:gd name="connsiteY2" fmla="*/ 29536 h 36064"/>
                <a:gd name="connsiteX3" fmla="*/ 39433 w 43494"/>
                <a:gd name="connsiteY3" fmla="*/ 14605 h 36064"/>
                <a:gd name="connsiteX4" fmla="*/ 42501 w 43494"/>
                <a:gd name="connsiteY4" fmla="*/ 3212 h 36064"/>
                <a:gd name="connsiteX5" fmla="*/ 25783 w 43494"/>
                <a:gd name="connsiteY5" fmla="*/ 4426 h 36064"/>
                <a:gd name="connsiteX6" fmla="*/ 4010 w 43494"/>
                <a:gd name="connsiteY6" fmla="*/ 20200 h 36064"/>
                <a:gd name="connsiteX7" fmla="*/ 1179 w 43494"/>
                <a:gd name="connsiteY7" fmla="*/ 32873 h 36064"/>
                <a:gd name="connsiteX8" fmla="*/ 8190 w 43494"/>
                <a:gd name="connsiteY8" fmla="*/ 35906 h 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494" h="36064">
                  <a:moveTo>
                    <a:pt x="8190" y="35906"/>
                  </a:moveTo>
                  <a:cubicBezTo>
                    <a:pt x="8526" y="35906"/>
                    <a:pt x="8864" y="35906"/>
                    <a:pt x="9200" y="35873"/>
                  </a:cubicBezTo>
                  <a:cubicBezTo>
                    <a:pt x="14290" y="36951"/>
                    <a:pt x="19278" y="33311"/>
                    <a:pt x="23357" y="29536"/>
                  </a:cubicBezTo>
                  <a:cubicBezTo>
                    <a:pt x="30164" y="25997"/>
                    <a:pt x="36738" y="21716"/>
                    <a:pt x="39433" y="14605"/>
                  </a:cubicBezTo>
                  <a:cubicBezTo>
                    <a:pt x="42265" y="11605"/>
                    <a:pt x="45029" y="7257"/>
                    <a:pt x="42501" y="3212"/>
                  </a:cubicBezTo>
                  <a:cubicBezTo>
                    <a:pt x="38624" y="-2989"/>
                    <a:pt x="30805" y="1123"/>
                    <a:pt x="25783" y="4426"/>
                  </a:cubicBezTo>
                  <a:cubicBezTo>
                    <a:pt x="16986" y="6718"/>
                    <a:pt x="10043" y="13728"/>
                    <a:pt x="4010" y="20200"/>
                  </a:cubicBezTo>
                  <a:cubicBezTo>
                    <a:pt x="909" y="23537"/>
                    <a:pt x="-1552" y="28525"/>
                    <a:pt x="1179" y="32873"/>
                  </a:cubicBezTo>
                  <a:cubicBezTo>
                    <a:pt x="2763" y="35300"/>
                    <a:pt x="5459" y="36075"/>
                    <a:pt x="8190" y="35906"/>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sp>
          <p:nvSpPr>
            <p:cNvPr id="328" name="Freeform: Shape 327">
              <a:extLst>
                <a:ext uri="{FF2B5EF4-FFF2-40B4-BE49-F238E27FC236}">
                  <a16:creationId xmlns:a16="http://schemas.microsoft.com/office/drawing/2014/main" id="{96FB1362-115C-4E75-8BD4-4EC0999AC7C0}"/>
                </a:ext>
              </a:extLst>
            </p:cNvPr>
            <p:cNvSpPr/>
            <p:nvPr/>
          </p:nvSpPr>
          <p:spPr>
            <a:xfrm>
              <a:off x="10765832" y="1468768"/>
              <a:ext cx="26253" cy="54046"/>
            </a:xfrm>
            <a:custGeom>
              <a:avLst/>
              <a:gdLst>
                <a:gd name="connsiteX0" fmla="*/ 14194 w 26253"/>
                <a:gd name="connsiteY0" fmla="*/ 52868 h 54046"/>
                <a:gd name="connsiteX1" fmla="*/ 21440 w 26253"/>
                <a:gd name="connsiteY1" fmla="*/ 42184 h 54046"/>
                <a:gd name="connsiteX2" fmla="*/ 24103 w 26253"/>
                <a:gd name="connsiteY2" fmla="*/ 29645 h 54046"/>
                <a:gd name="connsiteX3" fmla="*/ 25822 w 26253"/>
                <a:gd name="connsiteY3" fmla="*/ 9355 h 54046"/>
                <a:gd name="connsiteX4" fmla="*/ 24541 w 26253"/>
                <a:gd name="connsiteY4" fmla="*/ 6962 h 54046"/>
                <a:gd name="connsiteX5" fmla="*/ 20530 w 26253"/>
                <a:gd name="connsiteY5" fmla="*/ 1266 h 54046"/>
                <a:gd name="connsiteX6" fmla="*/ 14801 w 26253"/>
                <a:gd name="connsiteY6" fmla="*/ 255 h 54046"/>
                <a:gd name="connsiteX7" fmla="*/ 13115 w 26253"/>
                <a:gd name="connsiteY7" fmla="*/ 558 h 54046"/>
                <a:gd name="connsiteX8" fmla="*/ 3779 w 26253"/>
                <a:gd name="connsiteY8" fmla="*/ 10737 h 54046"/>
                <a:gd name="connsiteX9" fmla="*/ 4 w 26253"/>
                <a:gd name="connsiteY9" fmla="*/ 27589 h 54046"/>
                <a:gd name="connsiteX10" fmla="*/ 1082 w 26253"/>
                <a:gd name="connsiteY10" fmla="*/ 34769 h 54046"/>
                <a:gd name="connsiteX11" fmla="*/ 981 w 26253"/>
                <a:gd name="connsiteY11" fmla="*/ 36218 h 54046"/>
                <a:gd name="connsiteX12" fmla="*/ 2700 w 26253"/>
                <a:gd name="connsiteY12" fmla="*/ 46633 h 54046"/>
                <a:gd name="connsiteX13" fmla="*/ 14194 w 26253"/>
                <a:gd name="connsiteY13" fmla="*/ 52868 h 54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6253" h="54046">
                  <a:moveTo>
                    <a:pt x="14194" y="52868"/>
                  </a:moveTo>
                  <a:cubicBezTo>
                    <a:pt x="18036" y="50711"/>
                    <a:pt x="20126" y="46195"/>
                    <a:pt x="21440" y="42184"/>
                  </a:cubicBezTo>
                  <a:cubicBezTo>
                    <a:pt x="22822" y="38105"/>
                    <a:pt x="23530" y="33892"/>
                    <a:pt x="24103" y="29645"/>
                  </a:cubicBezTo>
                  <a:cubicBezTo>
                    <a:pt x="25013" y="22904"/>
                    <a:pt x="27170" y="16197"/>
                    <a:pt x="25822" y="9355"/>
                  </a:cubicBezTo>
                  <a:cubicBezTo>
                    <a:pt x="25653" y="8445"/>
                    <a:pt x="25182" y="7602"/>
                    <a:pt x="24541" y="6962"/>
                  </a:cubicBezTo>
                  <a:cubicBezTo>
                    <a:pt x="23766" y="4636"/>
                    <a:pt x="22519" y="2580"/>
                    <a:pt x="20530" y="1266"/>
                  </a:cubicBezTo>
                  <a:cubicBezTo>
                    <a:pt x="18541" y="-49"/>
                    <a:pt x="16621" y="-251"/>
                    <a:pt x="14801" y="255"/>
                  </a:cubicBezTo>
                  <a:cubicBezTo>
                    <a:pt x="14262" y="288"/>
                    <a:pt x="13688" y="390"/>
                    <a:pt x="13115" y="558"/>
                  </a:cubicBezTo>
                  <a:cubicBezTo>
                    <a:pt x="8127" y="1873"/>
                    <a:pt x="5363" y="6086"/>
                    <a:pt x="3779" y="10737"/>
                  </a:cubicBezTo>
                  <a:cubicBezTo>
                    <a:pt x="1925" y="16062"/>
                    <a:pt x="-97" y="21893"/>
                    <a:pt x="4" y="27589"/>
                  </a:cubicBezTo>
                  <a:cubicBezTo>
                    <a:pt x="37" y="30050"/>
                    <a:pt x="577" y="32409"/>
                    <a:pt x="1082" y="34769"/>
                  </a:cubicBezTo>
                  <a:cubicBezTo>
                    <a:pt x="1049" y="35240"/>
                    <a:pt x="1015" y="35746"/>
                    <a:pt x="981" y="36218"/>
                  </a:cubicBezTo>
                  <a:cubicBezTo>
                    <a:pt x="712" y="39521"/>
                    <a:pt x="1116" y="43464"/>
                    <a:pt x="2700" y="46633"/>
                  </a:cubicBezTo>
                  <a:cubicBezTo>
                    <a:pt x="4015" y="52430"/>
                    <a:pt x="8599" y="56036"/>
                    <a:pt x="14194" y="52868"/>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sp>
          <p:nvSpPr>
            <p:cNvPr id="329" name="Freeform: Shape 328">
              <a:extLst>
                <a:ext uri="{FF2B5EF4-FFF2-40B4-BE49-F238E27FC236}">
                  <a16:creationId xmlns:a16="http://schemas.microsoft.com/office/drawing/2014/main" id="{6ECA62D7-1243-4D1B-B794-C748362BABAF}"/>
                </a:ext>
              </a:extLst>
            </p:cNvPr>
            <p:cNvSpPr/>
            <p:nvPr/>
          </p:nvSpPr>
          <p:spPr>
            <a:xfrm>
              <a:off x="11091795" y="1475208"/>
              <a:ext cx="29288" cy="36746"/>
            </a:xfrm>
            <a:custGeom>
              <a:avLst/>
              <a:gdLst>
                <a:gd name="connsiteX0" fmla="*/ 29257 w 29288"/>
                <a:gd name="connsiteY0" fmla="*/ 31901 h 36746"/>
                <a:gd name="connsiteX1" fmla="*/ 24842 w 29288"/>
                <a:gd name="connsiteY1" fmla="*/ 23340 h 36746"/>
                <a:gd name="connsiteX2" fmla="*/ 19988 w 29288"/>
                <a:gd name="connsiteY2" fmla="*/ 14745 h 36746"/>
                <a:gd name="connsiteX3" fmla="*/ 5596 w 29288"/>
                <a:gd name="connsiteY3" fmla="*/ 488 h 36746"/>
                <a:gd name="connsiteX4" fmla="*/ 2428 w 29288"/>
                <a:gd name="connsiteY4" fmla="*/ 8443 h 36746"/>
                <a:gd name="connsiteX5" fmla="*/ 13045 w 29288"/>
                <a:gd name="connsiteY5" fmla="*/ 20509 h 36746"/>
                <a:gd name="connsiteX6" fmla="*/ 16550 w 29288"/>
                <a:gd name="connsiteY6" fmla="*/ 26812 h 36746"/>
                <a:gd name="connsiteX7" fmla="*/ 20797 w 29288"/>
                <a:gd name="connsiteY7" fmla="*/ 33249 h 36746"/>
                <a:gd name="connsiteX8" fmla="*/ 29257 w 29288"/>
                <a:gd name="connsiteY8" fmla="*/ 31901 h 36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288" h="36746">
                  <a:moveTo>
                    <a:pt x="29257" y="31901"/>
                  </a:moveTo>
                  <a:cubicBezTo>
                    <a:pt x="28852" y="28295"/>
                    <a:pt x="27201" y="25969"/>
                    <a:pt x="24842" y="23340"/>
                  </a:cubicBezTo>
                  <a:cubicBezTo>
                    <a:pt x="22483" y="20677"/>
                    <a:pt x="21404" y="17947"/>
                    <a:pt x="19988" y="14745"/>
                  </a:cubicBezTo>
                  <a:cubicBezTo>
                    <a:pt x="17258" y="8577"/>
                    <a:pt x="11495" y="3522"/>
                    <a:pt x="5596" y="488"/>
                  </a:cubicBezTo>
                  <a:cubicBezTo>
                    <a:pt x="709" y="-2040"/>
                    <a:pt x="-2426" y="5948"/>
                    <a:pt x="2428" y="8443"/>
                  </a:cubicBezTo>
                  <a:cubicBezTo>
                    <a:pt x="7450" y="11038"/>
                    <a:pt x="10956" y="15420"/>
                    <a:pt x="13045" y="20509"/>
                  </a:cubicBezTo>
                  <a:cubicBezTo>
                    <a:pt x="13989" y="22767"/>
                    <a:pt x="15068" y="24891"/>
                    <a:pt x="16550" y="26812"/>
                  </a:cubicBezTo>
                  <a:cubicBezTo>
                    <a:pt x="18202" y="28969"/>
                    <a:pt x="20494" y="30418"/>
                    <a:pt x="20797" y="33249"/>
                  </a:cubicBezTo>
                  <a:cubicBezTo>
                    <a:pt x="21404" y="38743"/>
                    <a:pt x="29864" y="37361"/>
                    <a:pt x="29257" y="31901"/>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sp>
          <p:nvSpPr>
            <p:cNvPr id="330" name="Freeform: Shape 329">
              <a:extLst>
                <a:ext uri="{FF2B5EF4-FFF2-40B4-BE49-F238E27FC236}">
                  <a16:creationId xmlns:a16="http://schemas.microsoft.com/office/drawing/2014/main" id="{715871D2-CDE9-4737-B60F-51C2C616D650}"/>
                </a:ext>
              </a:extLst>
            </p:cNvPr>
            <p:cNvSpPr/>
            <p:nvPr/>
          </p:nvSpPr>
          <p:spPr>
            <a:xfrm>
              <a:off x="10975861" y="1427602"/>
              <a:ext cx="100642" cy="34982"/>
            </a:xfrm>
            <a:custGeom>
              <a:avLst/>
              <a:gdLst>
                <a:gd name="connsiteX0" fmla="*/ 99825 w 100642"/>
                <a:gd name="connsiteY0" fmla="*/ 27905 h 34982"/>
                <a:gd name="connsiteX1" fmla="*/ 78052 w 100642"/>
                <a:gd name="connsiteY1" fmla="*/ 11525 h 34982"/>
                <a:gd name="connsiteX2" fmla="*/ 46470 w 100642"/>
                <a:gd name="connsiteY2" fmla="*/ 1245 h 34982"/>
                <a:gd name="connsiteX3" fmla="*/ 29989 w 100642"/>
                <a:gd name="connsiteY3" fmla="*/ 65 h 34982"/>
                <a:gd name="connsiteX4" fmla="*/ 15293 w 100642"/>
                <a:gd name="connsiteY4" fmla="*/ 267 h 34982"/>
                <a:gd name="connsiteX5" fmla="*/ 24 w 100642"/>
                <a:gd name="connsiteY5" fmla="*/ 7986 h 34982"/>
                <a:gd name="connsiteX6" fmla="*/ 8518 w 100642"/>
                <a:gd name="connsiteY6" fmla="*/ 8929 h 34982"/>
                <a:gd name="connsiteX7" fmla="*/ 8518 w 100642"/>
                <a:gd name="connsiteY7" fmla="*/ 8862 h 34982"/>
                <a:gd name="connsiteX8" fmla="*/ 9833 w 100642"/>
                <a:gd name="connsiteY8" fmla="*/ 8660 h 34982"/>
                <a:gd name="connsiteX9" fmla="*/ 13270 w 100642"/>
                <a:gd name="connsiteY9" fmla="*/ 8694 h 34982"/>
                <a:gd name="connsiteX10" fmla="*/ 22472 w 100642"/>
                <a:gd name="connsiteY10" fmla="*/ 8727 h 34982"/>
                <a:gd name="connsiteX11" fmla="*/ 50009 w 100642"/>
                <a:gd name="connsiteY11" fmla="*/ 10412 h 34982"/>
                <a:gd name="connsiteX12" fmla="*/ 75288 w 100642"/>
                <a:gd name="connsiteY12" fmla="*/ 19715 h 34982"/>
                <a:gd name="connsiteX13" fmla="*/ 93219 w 100642"/>
                <a:gd name="connsiteY13" fmla="*/ 33298 h 34982"/>
                <a:gd name="connsiteX14" fmla="*/ 99825 w 100642"/>
                <a:gd name="connsiteY14" fmla="*/ 27905 h 34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0642" h="34982">
                  <a:moveTo>
                    <a:pt x="99825" y="27905"/>
                  </a:moveTo>
                  <a:cubicBezTo>
                    <a:pt x="94736" y="20591"/>
                    <a:pt x="85702" y="15738"/>
                    <a:pt x="78052" y="11525"/>
                  </a:cubicBezTo>
                  <a:cubicBezTo>
                    <a:pt x="68547" y="6267"/>
                    <a:pt x="57255" y="2526"/>
                    <a:pt x="46470" y="1245"/>
                  </a:cubicBezTo>
                  <a:cubicBezTo>
                    <a:pt x="41010" y="604"/>
                    <a:pt x="35482" y="402"/>
                    <a:pt x="29989" y="65"/>
                  </a:cubicBezTo>
                  <a:cubicBezTo>
                    <a:pt x="25067" y="-238"/>
                    <a:pt x="20180" y="638"/>
                    <a:pt x="15293" y="267"/>
                  </a:cubicBezTo>
                  <a:cubicBezTo>
                    <a:pt x="9091" y="-171"/>
                    <a:pt x="766" y="31"/>
                    <a:pt x="24" y="7986"/>
                  </a:cubicBezTo>
                  <a:cubicBezTo>
                    <a:pt x="-514" y="13446"/>
                    <a:pt x="8013" y="14423"/>
                    <a:pt x="8518" y="8929"/>
                  </a:cubicBezTo>
                  <a:cubicBezTo>
                    <a:pt x="8518" y="8896"/>
                    <a:pt x="8518" y="8896"/>
                    <a:pt x="8518" y="8862"/>
                  </a:cubicBezTo>
                  <a:cubicBezTo>
                    <a:pt x="8923" y="8727"/>
                    <a:pt x="9462" y="8660"/>
                    <a:pt x="9833" y="8660"/>
                  </a:cubicBezTo>
                  <a:cubicBezTo>
                    <a:pt x="10979" y="8592"/>
                    <a:pt x="12091" y="8626"/>
                    <a:pt x="13270" y="8694"/>
                  </a:cubicBezTo>
                  <a:cubicBezTo>
                    <a:pt x="16372" y="8929"/>
                    <a:pt x="19371" y="8963"/>
                    <a:pt x="22472" y="8727"/>
                  </a:cubicBezTo>
                  <a:cubicBezTo>
                    <a:pt x="31370" y="8019"/>
                    <a:pt x="41212" y="8828"/>
                    <a:pt x="50009" y="10412"/>
                  </a:cubicBezTo>
                  <a:cubicBezTo>
                    <a:pt x="58503" y="11963"/>
                    <a:pt x="67839" y="15266"/>
                    <a:pt x="75288" y="19715"/>
                  </a:cubicBezTo>
                  <a:cubicBezTo>
                    <a:pt x="81523" y="23456"/>
                    <a:pt x="88972" y="27164"/>
                    <a:pt x="93219" y="33298"/>
                  </a:cubicBezTo>
                  <a:cubicBezTo>
                    <a:pt x="96286" y="37781"/>
                    <a:pt x="102959" y="32388"/>
                    <a:pt x="99825" y="27905"/>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grpSp>
      <p:grpSp>
        <p:nvGrpSpPr>
          <p:cNvPr id="331" name="Graphic 6">
            <a:extLst>
              <a:ext uri="{FF2B5EF4-FFF2-40B4-BE49-F238E27FC236}">
                <a16:creationId xmlns:a16="http://schemas.microsoft.com/office/drawing/2014/main" id="{51D6F4BB-E553-4BB1-84E6-37499D523463}"/>
              </a:ext>
            </a:extLst>
          </p:cNvPr>
          <p:cNvGrpSpPr/>
          <p:nvPr/>
        </p:nvGrpSpPr>
        <p:grpSpPr>
          <a:xfrm>
            <a:off x="7587598" y="1643549"/>
            <a:ext cx="316557" cy="316967"/>
            <a:chOff x="7587598" y="1643549"/>
            <a:chExt cx="316557" cy="316967"/>
          </a:xfrm>
          <a:solidFill>
            <a:srgbClr val="DAE3F3"/>
          </a:solidFill>
        </p:grpSpPr>
        <p:sp>
          <p:nvSpPr>
            <p:cNvPr id="332" name="Freeform: Shape 331">
              <a:extLst>
                <a:ext uri="{FF2B5EF4-FFF2-40B4-BE49-F238E27FC236}">
                  <a16:creationId xmlns:a16="http://schemas.microsoft.com/office/drawing/2014/main" id="{44CAB275-E2F0-47E5-9475-4684EF2ACB08}"/>
                </a:ext>
              </a:extLst>
            </p:cNvPr>
            <p:cNvSpPr/>
            <p:nvPr/>
          </p:nvSpPr>
          <p:spPr>
            <a:xfrm>
              <a:off x="7639437" y="1692150"/>
              <a:ext cx="224609" cy="224609"/>
            </a:xfrm>
            <a:custGeom>
              <a:avLst/>
              <a:gdLst>
                <a:gd name="connsiteX0" fmla="*/ 224609 w 224609"/>
                <a:gd name="connsiteY0" fmla="*/ 112305 h 224609"/>
                <a:gd name="connsiteX1" fmla="*/ 112304 w 224609"/>
                <a:gd name="connsiteY1" fmla="*/ 224609 h 224609"/>
                <a:gd name="connsiteX2" fmla="*/ -1 w 224609"/>
                <a:gd name="connsiteY2" fmla="*/ 112305 h 224609"/>
                <a:gd name="connsiteX3" fmla="*/ 112304 w 224609"/>
                <a:gd name="connsiteY3" fmla="*/ 0 h 224609"/>
                <a:gd name="connsiteX4" fmla="*/ 224609 w 224609"/>
                <a:gd name="connsiteY4" fmla="*/ 112305 h 224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609" h="224609">
                  <a:moveTo>
                    <a:pt x="224609" y="112305"/>
                  </a:moveTo>
                  <a:cubicBezTo>
                    <a:pt x="224609" y="174329"/>
                    <a:pt x="174328" y="224609"/>
                    <a:pt x="112304" y="224609"/>
                  </a:cubicBezTo>
                  <a:cubicBezTo>
                    <a:pt x="50280" y="224609"/>
                    <a:pt x="-1" y="174329"/>
                    <a:pt x="-1" y="112305"/>
                  </a:cubicBezTo>
                  <a:cubicBezTo>
                    <a:pt x="-1" y="50281"/>
                    <a:pt x="50280" y="0"/>
                    <a:pt x="112304" y="0"/>
                  </a:cubicBezTo>
                  <a:cubicBezTo>
                    <a:pt x="174328" y="0"/>
                    <a:pt x="224609" y="50281"/>
                    <a:pt x="224609" y="112305"/>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sp>
          <p:nvSpPr>
            <p:cNvPr id="333" name="Freeform: Shape 332">
              <a:extLst>
                <a:ext uri="{FF2B5EF4-FFF2-40B4-BE49-F238E27FC236}">
                  <a16:creationId xmlns:a16="http://schemas.microsoft.com/office/drawing/2014/main" id="{10B53E2C-64FE-4269-B658-53DAB87D560E}"/>
                </a:ext>
              </a:extLst>
            </p:cNvPr>
            <p:cNvSpPr/>
            <p:nvPr/>
          </p:nvSpPr>
          <p:spPr>
            <a:xfrm>
              <a:off x="7847051" y="1824925"/>
              <a:ext cx="49442" cy="3216"/>
            </a:xfrm>
            <a:custGeom>
              <a:avLst/>
              <a:gdLst>
                <a:gd name="connsiteX0" fmla="*/ 49049 w 49442"/>
                <a:gd name="connsiteY0" fmla="*/ 1775 h 3216"/>
                <a:gd name="connsiteX1" fmla="*/ 23771 w 49442"/>
                <a:gd name="connsiteY1" fmla="*/ 730 h 3216"/>
                <a:gd name="connsiteX2" fmla="*/ 11671 w 49442"/>
                <a:gd name="connsiteY2" fmla="*/ 325 h 3216"/>
                <a:gd name="connsiteX3" fmla="*/ 346 w 49442"/>
                <a:gd name="connsiteY3" fmla="*/ 2112 h 3216"/>
                <a:gd name="connsiteX4" fmla="*/ 919 w 49442"/>
                <a:gd name="connsiteY4" fmla="*/ 3123 h 3216"/>
                <a:gd name="connsiteX5" fmla="*/ 12783 w 49442"/>
                <a:gd name="connsiteY5" fmla="*/ 1606 h 3216"/>
                <a:gd name="connsiteX6" fmla="*/ 24343 w 49442"/>
                <a:gd name="connsiteY6" fmla="*/ 1876 h 3216"/>
                <a:gd name="connsiteX7" fmla="*/ 48645 w 49442"/>
                <a:gd name="connsiteY7" fmla="*/ 2954 h 3216"/>
                <a:gd name="connsiteX8" fmla="*/ 49049 w 49442"/>
                <a:gd name="connsiteY8" fmla="*/ 1775 h 3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442" h="3216">
                  <a:moveTo>
                    <a:pt x="49049" y="1775"/>
                  </a:moveTo>
                  <a:cubicBezTo>
                    <a:pt x="40893" y="-854"/>
                    <a:pt x="32500" y="22"/>
                    <a:pt x="23771" y="730"/>
                  </a:cubicBezTo>
                  <a:cubicBezTo>
                    <a:pt x="19625" y="1067"/>
                    <a:pt x="15715" y="595"/>
                    <a:pt x="11671" y="325"/>
                  </a:cubicBezTo>
                  <a:cubicBezTo>
                    <a:pt x="7862" y="56"/>
                    <a:pt x="3952" y="190"/>
                    <a:pt x="346" y="2112"/>
                  </a:cubicBezTo>
                  <a:cubicBezTo>
                    <a:pt x="-396" y="2516"/>
                    <a:pt x="177" y="3527"/>
                    <a:pt x="919" y="3123"/>
                  </a:cubicBezTo>
                  <a:cubicBezTo>
                    <a:pt x="4660" y="1100"/>
                    <a:pt x="8840" y="1269"/>
                    <a:pt x="12783" y="1606"/>
                  </a:cubicBezTo>
                  <a:cubicBezTo>
                    <a:pt x="16659" y="1943"/>
                    <a:pt x="20366" y="2213"/>
                    <a:pt x="24343" y="1876"/>
                  </a:cubicBezTo>
                  <a:cubicBezTo>
                    <a:pt x="32737" y="1168"/>
                    <a:pt x="40792" y="426"/>
                    <a:pt x="48645" y="2954"/>
                  </a:cubicBezTo>
                  <a:cubicBezTo>
                    <a:pt x="49387" y="3190"/>
                    <a:pt x="49791" y="2010"/>
                    <a:pt x="49049" y="1775"/>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sp>
          <p:nvSpPr>
            <p:cNvPr id="334" name="Freeform: Shape 333">
              <a:extLst>
                <a:ext uri="{FF2B5EF4-FFF2-40B4-BE49-F238E27FC236}">
                  <a16:creationId xmlns:a16="http://schemas.microsoft.com/office/drawing/2014/main" id="{97EA6D09-D867-42AB-AD50-038AD9661764}"/>
                </a:ext>
              </a:extLst>
            </p:cNvPr>
            <p:cNvSpPr/>
            <p:nvPr/>
          </p:nvSpPr>
          <p:spPr>
            <a:xfrm>
              <a:off x="7753305" y="1650874"/>
              <a:ext cx="14383" cy="81199"/>
            </a:xfrm>
            <a:custGeom>
              <a:avLst/>
              <a:gdLst>
                <a:gd name="connsiteX0" fmla="*/ 8818 w 14383"/>
                <a:gd name="connsiteY0" fmla="*/ 79666 h 81199"/>
                <a:gd name="connsiteX1" fmla="*/ 4808 w 14383"/>
                <a:gd name="connsiteY1" fmla="*/ 41107 h 81199"/>
                <a:gd name="connsiteX2" fmla="*/ 10706 w 14383"/>
                <a:gd name="connsiteY2" fmla="*/ 18660 h 81199"/>
                <a:gd name="connsiteX3" fmla="*/ 14380 w 14383"/>
                <a:gd name="connsiteY3" fmla="*/ 897 h 81199"/>
                <a:gd name="connsiteX4" fmla="*/ 12492 w 14383"/>
                <a:gd name="connsiteY4" fmla="*/ 897 h 81199"/>
                <a:gd name="connsiteX5" fmla="*/ 4673 w 14383"/>
                <a:gd name="connsiteY5" fmla="*/ 33659 h 81199"/>
                <a:gd name="connsiteX6" fmla="*/ 527 w 14383"/>
                <a:gd name="connsiteY6" fmla="*/ 68105 h 81199"/>
                <a:gd name="connsiteX7" fmla="*/ 7470 w 14383"/>
                <a:gd name="connsiteY7" fmla="*/ 80980 h 81199"/>
                <a:gd name="connsiteX8" fmla="*/ 8818 w 14383"/>
                <a:gd name="connsiteY8" fmla="*/ 79666 h 81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83" h="81199">
                  <a:moveTo>
                    <a:pt x="8818" y="79666"/>
                  </a:moveTo>
                  <a:cubicBezTo>
                    <a:pt x="-2237" y="71206"/>
                    <a:pt x="2212" y="52500"/>
                    <a:pt x="4808" y="41107"/>
                  </a:cubicBezTo>
                  <a:cubicBezTo>
                    <a:pt x="6527" y="33557"/>
                    <a:pt x="8683" y="26142"/>
                    <a:pt x="10706" y="18660"/>
                  </a:cubicBezTo>
                  <a:cubicBezTo>
                    <a:pt x="12256" y="12863"/>
                    <a:pt x="13941" y="6931"/>
                    <a:pt x="14380" y="897"/>
                  </a:cubicBezTo>
                  <a:cubicBezTo>
                    <a:pt x="14480" y="-316"/>
                    <a:pt x="12594" y="-282"/>
                    <a:pt x="12492" y="897"/>
                  </a:cubicBezTo>
                  <a:cubicBezTo>
                    <a:pt x="11683" y="11986"/>
                    <a:pt x="7437" y="22940"/>
                    <a:pt x="4673" y="33659"/>
                  </a:cubicBezTo>
                  <a:cubicBezTo>
                    <a:pt x="1841" y="44646"/>
                    <a:pt x="-1260" y="56679"/>
                    <a:pt x="527" y="68105"/>
                  </a:cubicBezTo>
                  <a:cubicBezTo>
                    <a:pt x="1302" y="73093"/>
                    <a:pt x="3392" y="77846"/>
                    <a:pt x="7470" y="80980"/>
                  </a:cubicBezTo>
                  <a:cubicBezTo>
                    <a:pt x="8448" y="81722"/>
                    <a:pt x="9762" y="80407"/>
                    <a:pt x="8818" y="79666"/>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sp>
          <p:nvSpPr>
            <p:cNvPr id="335" name="Freeform: Shape 334">
              <a:extLst>
                <a:ext uri="{FF2B5EF4-FFF2-40B4-BE49-F238E27FC236}">
                  <a16:creationId xmlns:a16="http://schemas.microsoft.com/office/drawing/2014/main" id="{180966BD-0273-4225-8063-488A362EC628}"/>
                </a:ext>
              </a:extLst>
            </p:cNvPr>
            <p:cNvSpPr/>
            <p:nvPr/>
          </p:nvSpPr>
          <p:spPr>
            <a:xfrm>
              <a:off x="7655461" y="1697608"/>
              <a:ext cx="76051" cy="54779"/>
            </a:xfrm>
            <a:custGeom>
              <a:avLst/>
              <a:gdLst>
                <a:gd name="connsiteX0" fmla="*/ 75552 w 76051"/>
                <a:gd name="connsiteY0" fmla="*/ 53087 h 54779"/>
                <a:gd name="connsiteX1" fmla="*/ 36253 w 76051"/>
                <a:gd name="connsiteY1" fmla="*/ 30370 h 54779"/>
                <a:gd name="connsiteX2" fmla="*/ 1604 w 76051"/>
                <a:gd name="connsiteY2" fmla="*/ 271 h 54779"/>
                <a:gd name="connsiteX3" fmla="*/ 289 w 76051"/>
                <a:gd name="connsiteY3" fmla="*/ 1586 h 54779"/>
                <a:gd name="connsiteX4" fmla="*/ 34500 w 76051"/>
                <a:gd name="connsiteY4" fmla="*/ 31347 h 54779"/>
                <a:gd name="connsiteX5" fmla="*/ 74642 w 76051"/>
                <a:gd name="connsiteY5" fmla="*/ 54671 h 54779"/>
                <a:gd name="connsiteX6" fmla="*/ 75552 w 76051"/>
                <a:gd name="connsiteY6" fmla="*/ 53087 h 54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051" h="54779">
                  <a:moveTo>
                    <a:pt x="75552" y="53087"/>
                  </a:moveTo>
                  <a:cubicBezTo>
                    <a:pt x="61666" y="46919"/>
                    <a:pt x="48521" y="39369"/>
                    <a:pt x="36253" y="30370"/>
                  </a:cubicBezTo>
                  <a:cubicBezTo>
                    <a:pt x="23916" y="21303"/>
                    <a:pt x="12592" y="10922"/>
                    <a:pt x="1604" y="271"/>
                  </a:cubicBezTo>
                  <a:cubicBezTo>
                    <a:pt x="728" y="-572"/>
                    <a:pt x="-587" y="743"/>
                    <a:pt x="289" y="1586"/>
                  </a:cubicBezTo>
                  <a:cubicBezTo>
                    <a:pt x="11143" y="12102"/>
                    <a:pt x="22332" y="22348"/>
                    <a:pt x="34500" y="31347"/>
                  </a:cubicBezTo>
                  <a:cubicBezTo>
                    <a:pt x="46971" y="40616"/>
                    <a:pt x="60419" y="48368"/>
                    <a:pt x="74642" y="54671"/>
                  </a:cubicBezTo>
                  <a:cubicBezTo>
                    <a:pt x="75721" y="55210"/>
                    <a:pt x="76665" y="53592"/>
                    <a:pt x="75552" y="53087"/>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sp>
          <p:nvSpPr>
            <p:cNvPr id="336" name="Freeform: Shape 335">
              <a:extLst>
                <a:ext uri="{FF2B5EF4-FFF2-40B4-BE49-F238E27FC236}">
                  <a16:creationId xmlns:a16="http://schemas.microsoft.com/office/drawing/2014/main" id="{0E7DB2CE-15C2-42EF-8400-06DAC50E0658}"/>
                </a:ext>
              </a:extLst>
            </p:cNvPr>
            <p:cNvSpPr/>
            <p:nvPr/>
          </p:nvSpPr>
          <p:spPr>
            <a:xfrm>
              <a:off x="7707839" y="1908819"/>
              <a:ext cx="1892" cy="1892"/>
            </a:xfrm>
            <a:custGeom>
              <a:avLst/>
              <a:gdLst>
                <a:gd name="connsiteX0" fmla="*/ 1604 w 1892"/>
                <a:gd name="connsiteY0" fmla="*/ 289 h 1892"/>
                <a:gd name="connsiteX1" fmla="*/ 289 w 1892"/>
                <a:gd name="connsiteY1" fmla="*/ 1604 h 1892"/>
                <a:gd name="connsiteX2" fmla="*/ 1604 w 1892"/>
                <a:gd name="connsiteY2" fmla="*/ 289 h 1892"/>
              </a:gdLst>
              <a:ahLst/>
              <a:cxnLst>
                <a:cxn ang="0">
                  <a:pos x="connsiteX0" y="connsiteY0"/>
                </a:cxn>
                <a:cxn ang="0">
                  <a:pos x="connsiteX1" y="connsiteY1"/>
                </a:cxn>
                <a:cxn ang="0">
                  <a:pos x="connsiteX2" y="connsiteY2"/>
                </a:cxn>
              </a:cxnLst>
              <a:rect l="l" t="t" r="r" b="b"/>
              <a:pathLst>
                <a:path w="1892" h="1892">
                  <a:moveTo>
                    <a:pt x="1604" y="289"/>
                  </a:moveTo>
                  <a:cubicBezTo>
                    <a:pt x="728" y="-587"/>
                    <a:pt x="-587" y="727"/>
                    <a:pt x="289" y="1604"/>
                  </a:cubicBezTo>
                  <a:cubicBezTo>
                    <a:pt x="1165" y="2480"/>
                    <a:pt x="2480" y="1165"/>
                    <a:pt x="1604" y="289"/>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sp>
          <p:nvSpPr>
            <p:cNvPr id="337" name="Freeform: Shape 336">
              <a:extLst>
                <a:ext uri="{FF2B5EF4-FFF2-40B4-BE49-F238E27FC236}">
                  <a16:creationId xmlns:a16="http://schemas.microsoft.com/office/drawing/2014/main" id="{673C9AD7-D9E7-40D0-B089-954ED9977998}"/>
                </a:ext>
              </a:extLst>
            </p:cNvPr>
            <p:cNvSpPr/>
            <p:nvPr/>
          </p:nvSpPr>
          <p:spPr>
            <a:xfrm>
              <a:off x="7617746" y="1859560"/>
              <a:ext cx="80744" cy="59391"/>
            </a:xfrm>
            <a:custGeom>
              <a:avLst/>
              <a:gdLst>
                <a:gd name="connsiteX0" fmla="*/ 79765 w 80744"/>
                <a:gd name="connsiteY0" fmla="*/ 1889 h 59391"/>
                <a:gd name="connsiteX1" fmla="*/ 79900 w 80744"/>
                <a:gd name="connsiteY1" fmla="*/ 36 h 59391"/>
                <a:gd name="connsiteX2" fmla="*/ 48284 w 80744"/>
                <a:gd name="connsiteY2" fmla="*/ 13450 h 59391"/>
                <a:gd name="connsiteX3" fmla="*/ 15489 w 80744"/>
                <a:gd name="connsiteY3" fmla="*/ 43380 h 59391"/>
                <a:gd name="connsiteX4" fmla="*/ 322 w 80744"/>
                <a:gd name="connsiteY4" fmla="*/ 57738 h 59391"/>
                <a:gd name="connsiteX5" fmla="*/ 1536 w 80744"/>
                <a:gd name="connsiteY5" fmla="*/ 59154 h 59391"/>
                <a:gd name="connsiteX6" fmla="*/ 61766 w 80744"/>
                <a:gd name="connsiteY6" fmla="*/ 6844 h 59391"/>
                <a:gd name="connsiteX7" fmla="*/ 79765 w 80744"/>
                <a:gd name="connsiteY7" fmla="*/ 1889 h 59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744" h="59391">
                  <a:moveTo>
                    <a:pt x="79765" y="1889"/>
                  </a:moveTo>
                  <a:cubicBezTo>
                    <a:pt x="80978" y="1957"/>
                    <a:pt x="81113" y="103"/>
                    <a:pt x="79900" y="36"/>
                  </a:cubicBezTo>
                  <a:cubicBezTo>
                    <a:pt x="68204" y="-571"/>
                    <a:pt x="57217" y="6709"/>
                    <a:pt x="48284" y="13450"/>
                  </a:cubicBezTo>
                  <a:cubicBezTo>
                    <a:pt x="36454" y="22382"/>
                    <a:pt x="25972" y="32965"/>
                    <a:pt x="15489" y="43380"/>
                  </a:cubicBezTo>
                  <a:cubicBezTo>
                    <a:pt x="10535" y="48267"/>
                    <a:pt x="5614" y="53222"/>
                    <a:pt x="322" y="57738"/>
                  </a:cubicBezTo>
                  <a:cubicBezTo>
                    <a:pt x="-588" y="58513"/>
                    <a:pt x="626" y="59963"/>
                    <a:pt x="1536" y="59154"/>
                  </a:cubicBezTo>
                  <a:cubicBezTo>
                    <a:pt x="21590" y="41964"/>
                    <a:pt x="38105" y="19483"/>
                    <a:pt x="61766" y="6844"/>
                  </a:cubicBezTo>
                  <a:cubicBezTo>
                    <a:pt x="67261" y="3912"/>
                    <a:pt x="73394" y="1552"/>
                    <a:pt x="79765" y="1889"/>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sp>
          <p:nvSpPr>
            <p:cNvPr id="338" name="Freeform: Shape 337">
              <a:extLst>
                <a:ext uri="{FF2B5EF4-FFF2-40B4-BE49-F238E27FC236}">
                  <a16:creationId xmlns:a16="http://schemas.microsoft.com/office/drawing/2014/main" id="{281E47DB-6532-40D3-AE28-9D21F851ABCC}"/>
                </a:ext>
              </a:extLst>
            </p:cNvPr>
            <p:cNvSpPr/>
            <p:nvPr/>
          </p:nvSpPr>
          <p:spPr>
            <a:xfrm>
              <a:off x="7771680" y="1847034"/>
              <a:ext cx="49329" cy="108283"/>
            </a:xfrm>
            <a:custGeom>
              <a:avLst/>
              <a:gdLst>
                <a:gd name="connsiteX0" fmla="*/ 49258 w 49329"/>
                <a:gd name="connsiteY0" fmla="*/ 106969 h 108283"/>
                <a:gd name="connsiteX1" fmla="*/ 17947 w 49329"/>
                <a:gd name="connsiteY1" fmla="*/ 14954 h 108283"/>
                <a:gd name="connsiteX2" fmla="*/ 1229 w 49329"/>
                <a:gd name="connsiteY2" fmla="*/ 91 h 108283"/>
                <a:gd name="connsiteX3" fmla="*/ 555 w 49329"/>
                <a:gd name="connsiteY3" fmla="*/ 1843 h 108283"/>
                <a:gd name="connsiteX4" fmla="*/ 26845 w 49329"/>
                <a:gd name="connsiteY4" fmla="*/ 36795 h 108283"/>
                <a:gd name="connsiteX5" fmla="*/ 40967 w 49329"/>
                <a:gd name="connsiteY5" fmla="*/ 85735 h 108283"/>
                <a:gd name="connsiteX6" fmla="*/ 47539 w 49329"/>
                <a:gd name="connsiteY6" fmla="*/ 107710 h 108283"/>
                <a:gd name="connsiteX7" fmla="*/ 49258 w 49329"/>
                <a:gd name="connsiteY7" fmla="*/ 106969 h 108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329" h="108283">
                  <a:moveTo>
                    <a:pt x="49258" y="106969"/>
                  </a:moveTo>
                  <a:cubicBezTo>
                    <a:pt x="37630" y="76904"/>
                    <a:pt x="36619" y="42222"/>
                    <a:pt x="17947" y="14954"/>
                  </a:cubicBezTo>
                  <a:cubicBezTo>
                    <a:pt x="13666" y="8719"/>
                    <a:pt x="8206" y="3225"/>
                    <a:pt x="1229" y="91"/>
                  </a:cubicBezTo>
                  <a:cubicBezTo>
                    <a:pt x="117" y="-415"/>
                    <a:pt x="-524" y="1338"/>
                    <a:pt x="555" y="1843"/>
                  </a:cubicBezTo>
                  <a:cubicBezTo>
                    <a:pt x="14374" y="8011"/>
                    <a:pt x="21688" y="23448"/>
                    <a:pt x="26845" y="36795"/>
                  </a:cubicBezTo>
                  <a:cubicBezTo>
                    <a:pt x="32945" y="52670"/>
                    <a:pt x="36720" y="69320"/>
                    <a:pt x="40967" y="85735"/>
                  </a:cubicBezTo>
                  <a:cubicBezTo>
                    <a:pt x="42855" y="93150"/>
                    <a:pt x="44810" y="100565"/>
                    <a:pt x="47539" y="107710"/>
                  </a:cubicBezTo>
                  <a:cubicBezTo>
                    <a:pt x="47978" y="108856"/>
                    <a:pt x="49697" y="108115"/>
                    <a:pt x="49258" y="106969"/>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sp>
          <p:nvSpPr>
            <p:cNvPr id="339" name="Freeform: Shape 338">
              <a:extLst>
                <a:ext uri="{FF2B5EF4-FFF2-40B4-BE49-F238E27FC236}">
                  <a16:creationId xmlns:a16="http://schemas.microsoft.com/office/drawing/2014/main" id="{88DD3383-CD5F-4A94-88B7-727BF92A846A}"/>
                </a:ext>
              </a:extLst>
            </p:cNvPr>
            <p:cNvSpPr/>
            <p:nvPr/>
          </p:nvSpPr>
          <p:spPr>
            <a:xfrm>
              <a:off x="7792371" y="1845488"/>
              <a:ext cx="28350" cy="28350"/>
            </a:xfrm>
            <a:custGeom>
              <a:avLst/>
              <a:gdLst>
                <a:gd name="connsiteX0" fmla="*/ 28062 w 28350"/>
                <a:gd name="connsiteY0" fmla="*/ 26747 h 28350"/>
                <a:gd name="connsiteX1" fmla="*/ 1603 w 28350"/>
                <a:gd name="connsiteY1" fmla="*/ 289 h 28350"/>
                <a:gd name="connsiteX2" fmla="*/ 289 w 28350"/>
                <a:gd name="connsiteY2" fmla="*/ 1603 h 28350"/>
                <a:gd name="connsiteX3" fmla="*/ 26748 w 28350"/>
                <a:gd name="connsiteY3" fmla="*/ 28062 h 28350"/>
                <a:gd name="connsiteX4" fmla="*/ 28062 w 28350"/>
                <a:gd name="connsiteY4" fmla="*/ 26747 h 28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50" h="28350">
                  <a:moveTo>
                    <a:pt x="28062" y="26747"/>
                  </a:moveTo>
                  <a:lnTo>
                    <a:pt x="1603" y="289"/>
                  </a:lnTo>
                  <a:cubicBezTo>
                    <a:pt x="727" y="-587"/>
                    <a:pt x="-587" y="727"/>
                    <a:pt x="289" y="1603"/>
                  </a:cubicBezTo>
                  <a:lnTo>
                    <a:pt x="26748" y="28062"/>
                  </a:lnTo>
                  <a:cubicBezTo>
                    <a:pt x="27623" y="28938"/>
                    <a:pt x="28938" y="27624"/>
                    <a:pt x="28062" y="26747"/>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sp>
          <p:nvSpPr>
            <p:cNvPr id="340" name="Freeform: Shape 339">
              <a:extLst>
                <a:ext uri="{FF2B5EF4-FFF2-40B4-BE49-F238E27FC236}">
                  <a16:creationId xmlns:a16="http://schemas.microsoft.com/office/drawing/2014/main" id="{CFDDCAB7-AAF3-4A8D-886E-49E0156FDF2D}"/>
                </a:ext>
              </a:extLst>
            </p:cNvPr>
            <p:cNvSpPr/>
            <p:nvPr/>
          </p:nvSpPr>
          <p:spPr>
            <a:xfrm>
              <a:off x="7591895" y="1790720"/>
              <a:ext cx="64486" cy="4819"/>
            </a:xfrm>
            <a:custGeom>
              <a:avLst/>
              <a:gdLst>
                <a:gd name="connsiteX0" fmla="*/ 63114 w 64486"/>
                <a:gd name="connsiteY0" fmla="*/ 1297 h 4819"/>
                <a:gd name="connsiteX1" fmla="*/ 50206 w 64486"/>
                <a:gd name="connsiteY1" fmla="*/ 353 h 4819"/>
                <a:gd name="connsiteX2" fmla="*/ 32409 w 64486"/>
                <a:gd name="connsiteY2" fmla="*/ 353 h 4819"/>
                <a:gd name="connsiteX3" fmla="*/ 693 w 64486"/>
                <a:gd name="connsiteY3" fmla="*/ 1533 h 4819"/>
                <a:gd name="connsiteX4" fmla="*/ 120 w 64486"/>
                <a:gd name="connsiteY4" fmla="*/ 2915 h 4819"/>
                <a:gd name="connsiteX5" fmla="*/ 996 w 64486"/>
                <a:gd name="connsiteY5" fmla="*/ 4364 h 4819"/>
                <a:gd name="connsiteX6" fmla="*/ 2614 w 64486"/>
                <a:gd name="connsiteY6" fmla="*/ 3454 h 4819"/>
                <a:gd name="connsiteX7" fmla="*/ 2411 w 64486"/>
                <a:gd name="connsiteY7" fmla="*/ 3083 h 4819"/>
                <a:gd name="connsiteX8" fmla="*/ 17612 w 64486"/>
                <a:gd name="connsiteY8" fmla="*/ 2173 h 4819"/>
                <a:gd name="connsiteX9" fmla="*/ 35949 w 64486"/>
                <a:gd name="connsiteY9" fmla="*/ 2140 h 4819"/>
                <a:gd name="connsiteX10" fmla="*/ 53407 w 64486"/>
                <a:gd name="connsiteY10" fmla="*/ 2780 h 4819"/>
                <a:gd name="connsiteX11" fmla="*/ 64024 w 64486"/>
                <a:gd name="connsiteY11" fmla="*/ 2982 h 4819"/>
                <a:gd name="connsiteX12" fmla="*/ 63114 w 64486"/>
                <a:gd name="connsiteY12" fmla="*/ 1297 h 4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4486" h="4819">
                  <a:moveTo>
                    <a:pt x="63114" y="1297"/>
                  </a:moveTo>
                  <a:cubicBezTo>
                    <a:pt x="59508" y="3218"/>
                    <a:pt x="54048" y="690"/>
                    <a:pt x="50206" y="353"/>
                  </a:cubicBezTo>
                  <a:cubicBezTo>
                    <a:pt x="44307" y="-186"/>
                    <a:pt x="38341" y="252"/>
                    <a:pt x="32409" y="353"/>
                  </a:cubicBezTo>
                  <a:cubicBezTo>
                    <a:pt x="22062" y="522"/>
                    <a:pt x="10804" y="-1130"/>
                    <a:pt x="693" y="1533"/>
                  </a:cubicBezTo>
                  <a:cubicBezTo>
                    <a:pt x="120" y="1702"/>
                    <a:pt x="-184" y="2376"/>
                    <a:pt x="120" y="2915"/>
                  </a:cubicBezTo>
                  <a:cubicBezTo>
                    <a:pt x="423" y="3387"/>
                    <a:pt x="693" y="3892"/>
                    <a:pt x="996" y="4364"/>
                  </a:cubicBezTo>
                  <a:cubicBezTo>
                    <a:pt x="1603" y="5409"/>
                    <a:pt x="3220" y="4465"/>
                    <a:pt x="2614" y="3454"/>
                  </a:cubicBezTo>
                  <a:cubicBezTo>
                    <a:pt x="2546" y="3319"/>
                    <a:pt x="2479" y="3218"/>
                    <a:pt x="2411" y="3083"/>
                  </a:cubicBezTo>
                  <a:cubicBezTo>
                    <a:pt x="7400" y="2005"/>
                    <a:pt x="12557" y="2106"/>
                    <a:pt x="17612" y="2173"/>
                  </a:cubicBezTo>
                  <a:cubicBezTo>
                    <a:pt x="23713" y="2241"/>
                    <a:pt x="29848" y="2342"/>
                    <a:pt x="35949" y="2140"/>
                  </a:cubicBezTo>
                  <a:cubicBezTo>
                    <a:pt x="41712" y="1937"/>
                    <a:pt x="47712" y="1702"/>
                    <a:pt x="53407" y="2780"/>
                  </a:cubicBezTo>
                  <a:cubicBezTo>
                    <a:pt x="56710" y="3387"/>
                    <a:pt x="60856" y="4668"/>
                    <a:pt x="64024" y="2982"/>
                  </a:cubicBezTo>
                  <a:cubicBezTo>
                    <a:pt x="65069" y="2342"/>
                    <a:pt x="64159" y="724"/>
                    <a:pt x="63114" y="1297"/>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sp>
          <p:nvSpPr>
            <p:cNvPr id="341" name="Freeform: Shape 340">
              <a:extLst>
                <a:ext uri="{FF2B5EF4-FFF2-40B4-BE49-F238E27FC236}">
                  <a16:creationId xmlns:a16="http://schemas.microsoft.com/office/drawing/2014/main" id="{DC1323E0-EC6B-4BD2-A892-659DAC2FD1FC}"/>
                </a:ext>
              </a:extLst>
            </p:cNvPr>
            <p:cNvSpPr/>
            <p:nvPr/>
          </p:nvSpPr>
          <p:spPr>
            <a:xfrm>
              <a:off x="7828025" y="1712526"/>
              <a:ext cx="20654" cy="26521"/>
            </a:xfrm>
            <a:custGeom>
              <a:avLst/>
              <a:gdLst>
                <a:gd name="connsiteX0" fmla="*/ 2891 w 20654"/>
                <a:gd name="connsiteY0" fmla="*/ 25159 h 26521"/>
                <a:gd name="connsiteX1" fmla="*/ 6126 w 20654"/>
                <a:gd name="connsiteY1" fmla="*/ 18688 h 26521"/>
                <a:gd name="connsiteX2" fmla="*/ 10305 w 20654"/>
                <a:gd name="connsiteY2" fmla="*/ 13699 h 26521"/>
                <a:gd name="connsiteX3" fmla="*/ 20383 w 20654"/>
                <a:gd name="connsiteY3" fmla="*/ 1599 h 26521"/>
                <a:gd name="connsiteX4" fmla="*/ 19068 w 20654"/>
                <a:gd name="connsiteY4" fmla="*/ 285 h 26521"/>
                <a:gd name="connsiteX5" fmla="*/ 9497 w 20654"/>
                <a:gd name="connsiteY5" fmla="*/ 11509 h 26521"/>
                <a:gd name="connsiteX6" fmla="*/ 127 w 20654"/>
                <a:gd name="connsiteY6" fmla="*/ 23440 h 26521"/>
                <a:gd name="connsiteX7" fmla="*/ 127 w 20654"/>
                <a:gd name="connsiteY7" fmla="*/ 24350 h 26521"/>
                <a:gd name="connsiteX8" fmla="*/ 1272 w 20654"/>
                <a:gd name="connsiteY8" fmla="*/ 26103 h 26521"/>
                <a:gd name="connsiteX9" fmla="*/ 2891 w 20654"/>
                <a:gd name="connsiteY9" fmla="*/ 25159 h 26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654" h="26521">
                  <a:moveTo>
                    <a:pt x="2891" y="25159"/>
                  </a:moveTo>
                  <a:cubicBezTo>
                    <a:pt x="1306" y="22732"/>
                    <a:pt x="4508" y="20474"/>
                    <a:pt x="6126" y="18688"/>
                  </a:cubicBezTo>
                  <a:cubicBezTo>
                    <a:pt x="7575" y="17070"/>
                    <a:pt x="9092" y="15486"/>
                    <a:pt x="10305" y="13699"/>
                  </a:cubicBezTo>
                  <a:cubicBezTo>
                    <a:pt x="13339" y="9217"/>
                    <a:pt x="16574" y="5408"/>
                    <a:pt x="20383" y="1599"/>
                  </a:cubicBezTo>
                  <a:cubicBezTo>
                    <a:pt x="21226" y="757"/>
                    <a:pt x="19911" y="-591"/>
                    <a:pt x="19068" y="285"/>
                  </a:cubicBezTo>
                  <a:cubicBezTo>
                    <a:pt x="15563" y="3790"/>
                    <a:pt x="12126" y="7295"/>
                    <a:pt x="9497" y="11509"/>
                  </a:cubicBezTo>
                  <a:cubicBezTo>
                    <a:pt x="6800" y="15823"/>
                    <a:pt x="2722" y="19025"/>
                    <a:pt x="127" y="23440"/>
                  </a:cubicBezTo>
                  <a:cubicBezTo>
                    <a:pt x="-42" y="23710"/>
                    <a:pt x="-42" y="24114"/>
                    <a:pt x="127" y="24350"/>
                  </a:cubicBezTo>
                  <a:cubicBezTo>
                    <a:pt x="497" y="24923"/>
                    <a:pt x="902" y="25530"/>
                    <a:pt x="1272" y="26103"/>
                  </a:cubicBezTo>
                  <a:cubicBezTo>
                    <a:pt x="1947" y="27080"/>
                    <a:pt x="3564" y="26170"/>
                    <a:pt x="2891" y="25159"/>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sp>
          <p:nvSpPr>
            <p:cNvPr id="342" name="Freeform: Shape 341">
              <a:extLst>
                <a:ext uri="{FF2B5EF4-FFF2-40B4-BE49-F238E27FC236}">
                  <a16:creationId xmlns:a16="http://schemas.microsoft.com/office/drawing/2014/main" id="{E43247AA-C0C4-45C4-92FA-1E096BE8D8A3}"/>
                </a:ext>
              </a:extLst>
            </p:cNvPr>
            <p:cNvSpPr/>
            <p:nvPr/>
          </p:nvSpPr>
          <p:spPr>
            <a:xfrm>
              <a:off x="7807452" y="1941878"/>
              <a:ext cx="31493" cy="18638"/>
            </a:xfrm>
            <a:custGeom>
              <a:avLst/>
              <a:gdLst>
                <a:gd name="connsiteX0" fmla="*/ 31215 w 31493"/>
                <a:gd name="connsiteY0" fmla="*/ 6530 h 18638"/>
                <a:gd name="connsiteX1" fmla="*/ 26328 w 31493"/>
                <a:gd name="connsiteY1" fmla="*/ 396 h 18638"/>
                <a:gd name="connsiteX2" fmla="*/ 22957 w 31493"/>
                <a:gd name="connsiteY2" fmla="*/ 160 h 18638"/>
                <a:gd name="connsiteX3" fmla="*/ 22688 w 31493"/>
                <a:gd name="connsiteY3" fmla="*/ 193 h 18638"/>
                <a:gd name="connsiteX4" fmla="*/ 9543 w 31493"/>
                <a:gd name="connsiteY4" fmla="*/ 4541 h 18638"/>
                <a:gd name="connsiteX5" fmla="*/ 1555 w 31493"/>
                <a:gd name="connsiteY5" fmla="*/ 10406 h 18638"/>
                <a:gd name="connsiteX6" fmla="*/ 409 w 31493"/>
                <a:gd name="connsiteY6" fmla="*/ 15967 h 18638"/>
                <a:gd name="connsiteX7" fmla="*/ 982 w 31493"/>
                <a:gd name="connsiteY7" fmla="*/ 17046 h 18638"/>
                <a:gd name="connsiteX8" fmla="*/ 9610 w 31493"/>
                <a:gd name="connsiteY8" fmla="*/ 17956 h 18638"/>
                <a:gd name="connsiteX9" fmla="*/ 13621 w 31493"/>
                <a:gd name="connsiteY9" fmla="*/ 16405 h 18638"/>
                <a:gd name="connsiteX10" fmla="*/ 17160 w 31493"/>
                <a:gd name="connsiteY10" fmla="*/ 16136 h 18638"/>
                <a:gd name="connsiteX11" fmla="*/ 25924 w 31493"/>
                <a:gd name="connsiteY11" fmla="*/ 11822 h 18638"/>
                <a:gd name="connsiteX12" fmla="*/ 31215 w 31493"/>
                <a:gd name="connsiteY12" fmla="*/ 6530 h 18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493" h="18638">
                  <a:moveTo>
                    <a:pt x="31215" y="6530"/>
                  </a:moveTo>
                  <a:cubicBezTo>
                    <a:pt x="32429" y="2957"/>
                    <a:pt x="29462" y="1070"/>
                    <a:pt x="26328" y="396"/>
                  </a:cubicBezTo>
                  <a:cubicBezTo>
                    <a:pt x="25283" y="-43"/>
                    <a:pt x="24104" y="-110"/>
                    <a:pt x="22957" y="160"/>
                  </a:cubicBezTo>
                  <a:cubicBezTo>
                    <a:pt x="22856" y="160"/>
                    <a:pt x="22789" y="160"/>
                    <a:pt x="22688" y="193"/>
                  </a:cubicBezTo>
                  <a:cubicBezTo>
                    <a:pt x="18138" y="665"/>
                    <a:pt x="13554" y="2485"/>
                    <a:pt x="9543" y="4541"/>
                  </a:cubicBezTo>
                  <a:cubicBezTo>
                    <a:pt x="6846" y="5957"/>
                    <a:pt x="3476" y="7743"/>
                    <a:pt x="1555" y="10406"/>
                  </a:cubicBezTo>
                  <a:cubicBezTo>
                    <a:pt x="207" y="11889"/>
                    <a:pt x="-501" y="13743"/>
                    <a:pt x="409" y="15967"/>
                  </a:cubicBezTo>
                  <a:cubicBezTo>
                    <a:pt x="544" y="16372"/>
                    <a:pt x="746" y="16742"/>
                    <a:pt x="982" y="17046"/>
                  </a:cubicBezTo>
                  <a:cubicBezTo>
                    <a:pt x="2802" y="19405"/>
                    <a:pt x="7184" y="18630"/>
                    <a:pt x="9610" y="17956"/>
                  </a:cubicBezTo>
                  <a:cubicBezTo>
                    <a:pt x="10992" y="17585"/>
                    <a:pt x="12341" y="17046"/>
                    <a:pt x="13621" y="16405"/>
                  </a:cubicBezTo>
                  <a:cubicBezTo>
                    <a:pt x="14801" y="16304"/>
                    <a:pt x="15980" y="16271"/>
                    <a:pt x="17160" y="16136"/>
                  </a:cubicBezTo>
                  <a:cubicBezTo>
                    <a:pt x="20801" y="15731"/>
                    <a:pt x="23396" y="14484"/>
                    <a:pt x="25924" y="11822"/>
                  </a:cubicBezTo>
                  <a:cubicBezTo>
                    <a:pt x="27508" y="10170"/>
                    <a:pt x="30440" y="8788"/>
                    <a:pt x="31215" y="6530"/>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sp>
          <p:nvSpPr>
            <p:cNvPr id="343" name="Freeform: Shape 342">
              <a:extLst>
                <a:ext uri="{FF2B5EF4-FFF2-40B4-BE49-F238E27FC236}">
                  <a16:creationId xmlns:a16="http://schemas.microsoft.com/office/drawing/2014/main" id="{55012548-3E02-4047-924F-16ACB0336FD9}"/>
                </a:ext>
              </a:extLst>
            </p:cNvPr>
            <p:cNvSpPr/>
            <p:nvPr/>
          </p:nvSpPr>
          <p:spPr>
            <a:xfrm>
              <a:off x="7889424" y="1813485"/>
              <a:ext cx="14731" cy="27757"/>
            </a:xfrm>
            <a:custGeom>
              <a:avLst/>
              <a:gdLst>
                <a:gd name="connsiteX0" fmla="*/ 13214 w 14731"/>
                <a:gd name="connsiteY0" fmla="*/ 20225 h 27757"/>
                <a:gd name="connsiteX1" fmla="*/ 13720 w 14731"/>
                <a:gd name="connsiteY1" fmla="*/ 5665 h 27757"/>
                <a:gd name="connsiteX2" fmla="*/ 12304 w 14731"/>
                <a:gd name="connsiteY2" fmla="*/ 3204 h 27757"/>
                <a:gd name="connsiteX3" fmla="*/ 11664 w 14731"/>
                <a:gd name="connsiteY3" fmla="*/ 1586 h 27757"/>
                <a:gd name="connsiteX4" fmla="*/ 7417 w 14731"/>
                <a:gd name="connsiteY4" fmla="*/ 407 h 27757"/>
                <a:gd name="connsiteX5" fmla="*/ 6709 w 14731"/>
                <a:gd name="connsiteY5" fmla="*/ 946 h 27757"/>
                <a:gd name="connsiteX6" fmla="*/ 4788 w 14731"/>
                <a:gd name="connsiteY6" fmla="*/ 1283 h 27757"/>
                <a:gd name="connsiteX7" fmla="*/ 2 w 14731"/>
                <a:gd name="connsiteY7" fmla="*/ 12203 h 27757"/>
                <a:gd name="connsiteX8" fmla="*/ 2260 w 14731"/>
                <a:gd name="connsiteY8" fmla="*/ 22753 h 27757"/>
                <a:gd name="connsiteX9" fmla="*/ 2867 w 14731"/>
                <a:gd name="connsiteY9" fmla="*/ 24573 h 27757"/>
                <a:gd name="connsiteX10" fmla="*/ 10956 w 14731"/>
                <a:gd name="connsiteY10" fmla="*/ 26191 h 27757"/>
                <a:gd name="connsiteX11" fmla="*/ 13214 w 14731"/>
                <a:gd name="connsiteY11" fmla="*/ 20225 h 27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731" h="27757">
                  <a:moveTo>
                    <a:pt x="13214" y="20225"/>
                  </a:moveTo>
                  <a:cubicBezTo>
                    <a:pt x="15439" y="16113"/>
                    <a:pt x="14866" y="9069"/>
                    <a:pt x="13720" y="5665"/>
                  </a:cubicBezTo>
                  <a:cubicBezTo>
                    <a:pt x="13417" y="4755"/>
                    <a:pt x="12911" y="3912"/>
                    <a:pt x="12304" y="3204"/>
                  </a:cubicBezTo>
                  <a:cubicBezTo>
                    <a:pt x="12102" y="2665"/>
                    <a:pt x="11900" y="2126"/>
                    <a:pt x="11664" y="1586"/>
                  </a:cubicBezTo>
                  <a:cubicBezTo>
                    <a:pt x="11057" y="137"/>
                    <a:pt x="8664" y="-470"/>
                    <a:pt x="7417" y="407"/>
                  </a:cubicBezTo>
                  <a:cubicBezTo>
                    <a:pt x="7182" y="575"/>
                    <a:pt x="6945" y="744"/>
                    <a:pt x="6709" y="946"/>
                  </a:cubicBezTo>
                  <a:cubicBezTo>
                    <a:pt x="6069" y="912"/>
                    <a:pt x="5395" y="1013"/>
                    <a:pt x="4788" y="1283"/>
                  </a:cubicBezTo>
                  <a:cubicBezTo>
                    <a:pt x="777" y="2968"/>
                    <a:pt x="36" y="8428"/>
                    <a:pt x="2" y="12203"/>
                  </a:cubicBezTo>
                  <a:cubicBezTo>
                    <a:pt x="-32" y="15574"/>
                    <a:pt x="339" y="19753"/>
                    <a:pt x="2260" y="22753"/>
                  </a:cubicBezTo>
                  <a:cubicBezTo>
                    <a:pt x="2395" y="23393"/>
                    <a:pt x="2597" y="24000"/>
                    <a:pt x="2867" y="24573"/>
                  </a:cubicBezTo>
                  <a:cubicBezTo>
                    <a:pt x="4384" y="27944"/>
                    <a:pt x="8226" y="28887"/>
                    <a:pt x="10956" y="26191"/>
                  </a:cubicBezTo>
                  <a:cubicBezTo>
                    <a:pt x="12709" y="24438"/>
                    <a:pt x="13080" y="22382"/>
                    <a:pt x="13214" y="20225"/>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sp>
          <p:nvSpPr>
            <p:cNvPr id="344" name="Freeform: Shape 343">
              <a:extLst>
                <a:ext uri="{FF2B5EF4-FFF2-40B4-BE49-F238E27FC236}">
                  <a16:creationId xmlns:a16="http://schemas.microsoft.com/office/drawing/2014/main" id="{C332E0B2-6828-49A6-AD20-5864E990D82F}"/>
                </a:ext>
              </a:extLst>
            </p:cNvPr>
            <p:cNvSpPr/>
            <p:nvPr/>
          </p:nvSpPr>
          <p:spPr>
            <a:xfrm>
              <a:off x="7841324" y="1700128"/>
              <a:ext cx="20409" cy="19895"/>
            </a:xfrm>
            <a:custGeom>
              <a:avLst/>
              <a:gdLst>
                <a:gd name="connsiteX0" fmla="*/ 20397 w 20409"/>
                <a:gd name="connsiteY0" fmla="*/ 16929 h 19895"/>
                <a:gd name="connsiteX1" fmla="*/ 18341 w 20409"/>
                <a:gd name="connsiteY1" fmla="*/ 12514 h 19895"/>
                <a:gd name="connsiteX2" fmla="*/ 15914 w 20409"/>
                <a:gd name="connsiteY2" fmla="*/ 7054 h 19895"/>
                <a:gd name="connsiteX3" fmla="*/ 15341 w 20409"/>
                <a:gd name="connsiteY3" fmla="*/ 6211 h 19895"/>
                <a:gd name="connsiteX4" fmla="*/ 73 w 20409"/>
                <a:gd name="connsiteY4" fmla="*/ 3211 h 19895"/>
                <a:gd name="connsiteX5" fmla="*/ 19791 w 20409"/>
                <a:gd name="connsiteY5" fmla="*/ 19895 h 19895"/>
                <a:gd name="connsiteX6" fmla="*/ 20397 w 20409"/>
                <a:gd name="connsiteY6" fmla="*/ 16929 h 19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409" h="19895">
                  <a:moveTo>
                    <a:pt x="20397" y="16929"/>
                  </a:moveTo>
                  <a:cubicBezTo>
                    <a:pt x="20296" y="15413"/>
                    <a:pt x="19554" y="13930"/>
                    <a:pt x="18341" y="12514"/>
                  </a:cubicBezTo>
                  <a:cubicBezTo>
                    <a:pt x="18240" y="10593"/>
                    <a:pt x="17162" y="8705"/>
                    <a:pt x="15914" y="7054"/>
                  </a:cubicBezTo>
                  <a:cubicBezTo>
                    <a:pt x="15779" y="6750"/>
                    <a:pt x="15578" y="6481"/>
                    <a:pt x="15341" y="6211"/>
                  </a:cubicBezTo>
                  <a:cubicBezTo>
                    <a:pt x="12948" y="3650"/>
                    <a:pt x="1691" y="-4440"/>
                    <a:pt x="73" y="3211"/>
                  </a:cubicBezTo>
                  <a:cubicBezTo>
                    <a:pt x="-1241" y="9481"/>
                    <a:pt x="15578" y="19424"/>
                    <a:pt x="19791" y="19895"/>
                  </a:cubicBezTo>
                  <a:cubicBezTo>
                    <a:pt x="20262" y="18918"/>
                    <a:pt x="20465" y="17907"/>
                    <a:pt x="20397" y="16929"/>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sp>
          <p:nvSpPr>
            <p:cNvPr id="345" name="Freeform: Shape 344">
              <a:extLst>
                <a:ext uri="{FF2B5EF4-FFF2-40B4-BE49-F238E27FC236}">
                  <a16:creationId xmlns:a16="http://schemas.microsoft.com/office/drawing/2014/main" id="{929B852B-6A8A-4613-A1DD-20585C280130}"/>
                </a:ext>
              </a:extLst>
            </p:cNvPr>
            <p:cNvSpPr/>
            <p:nvPr/>
          </p:nvSpPr>
          <p:spPr>
            <a:xfrm>
              <a:off x="7735610" y="1907147"/>
              <a:ext cx="5133" cy="32139"/>
            </a:xfrm>
            <a:custGeom>
              <a:avLst/>
              <a:gdLst>
                <a:gd name="connsiteX0" fmla="*/ 1807 w 5133"/>
                <a:gd name="connsiteY0" fmla="*/ 1758 h 32139"/>
                <a:gd name="connsiteX1" fmla="*/ 2616 w 5133"/>
                <a:gd name="connsiteY1" fmla="*/ 8938 h 32139"/>
                <a:gd name="connsiteX2" fmla="*/ 1840 w 5133"/>
                <a:gd name="connsiteY2" fmla="*/ 15409 h 32139"/>
                <a:gd name="connsiteX3" fmla="*/ 21 w 5133"/>
                <a:gd name="connsiteY3" fmla="*/ 31048 h 32139"/>
                <a:gd name="connsiteX4" fmla="*/ 1840 w 5133"/>
                <a:gd name="connsiteY4" fmla="*/ 31419 h 32139"/>
                <a:gd name="connsiteX5" fmla="*/ 3762 w 5133"/>
                <a:gd name="connsiteY5" fmla="*/ 16791 h 32139"/>
                <a:gd name="connsiteX6" fmla="*/ 5111 w 5133"/>
                <a:gd name="connsiteY6" fmla="*/ 1691 h 32139"/>
                <a:gd name="connsiteX7" fmla="*/ 4604 w 5133"/>
                <a:gd name="connsiteY7" fmla="*/ 916 h 32139"/>
                <a:gd name="connsiteX8" fmla="*/ 2683 w 5133"/>
                <a:gd name="connsiteY8" fmla="*/ 73 h 32139"/>
                <a:gd name="connsiteX9" fmla="*/ 1807 w 5133"/>
                <a:gd name="connsiteY9" fmla="*/ 1758 h 32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33" h="32139">
                  <a:moveTo>
                    <a:pt x="1807" y="1758"/>
                  </a:moveTo>
                  <a:cubicBezTo>
                    <a:pt x="4470" y="2904"/>
                    <a:pt x="3020" y="6578"/>
                    <a:pt x="2616" y="8938"/>
                  </a:cubicBezTo>
                  <a:cubicBezTo>
                    <a:pt x="2279" y="11095"/>
                    <a:pt x="1874" y="13218"/>
                    <a:pt x="1840" y="15409"/>
                  </a:cubicBezTo>
                  <a:cubicBezTo>
                    <a:pt x="1740" y="20802"/>
                    <a:pt x="1133" y="25790"/>
                    <a:pt x="21" y="31048"/>
                  </a:cubicBezTo>
                  <a:cubicBezTo>
                    <a:pt x="-215" y="32228"/>
                    <a:pt x="1605" y="32599"/>
                    <a:pt x="1840" y="31419"/>
                  </a:cubicBezTo>
                  <a:cubicBezTo>
                    <a:pt x="2852" y="26565"/>
                    <a:pt x="3829" y="21746"/>
                    <a:pt x="3762" y="16791"/>
                  </a:cubicBezTo>
                  <a:cubicBezTo>
                    <a:pt x="3661" y="11701"/>
                    <a:pt x="5346" y="6781"/>
                    <a:pt x="5111" y="1691"/>
                  </a:cubicBezTo>
                  <a:cubicBezTo>
                    <a:pt x="5111" y="1388"/>
                    <a:pt x="4908" y="1051"/>
                    <a:pt x="4604" y="916"/>
                  </a:cubicBezTo>
                  <a:cubicBezTo>
                    <a:pt x="3964" y="646"/>
                    <a:pt x="3324" y="343"/>
                    <a:pt x="2683" y="73"/>
                  </a:cubicBezTo>
                  <a:cubicBezTo>
                    <a:pt x="1571" y="-365"/>
                    <a:pt x="695" y="1287"/>
                    <a:pt x="1807" y="1758"/>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sp>
          <p:nvSpPr>
            <p:cNvPr id="346" name="Freeform: Shape 345">
              <a:extLst>
                <a:ext uri="{FF2B5EF4-FFF2-40B4-BE49-F238E27FC236}">
                  <a16:creationId xmlns:a16="http://schemas.microsoft.com/office/drawing/2014/main" id="{BC41E668-4438-4320-9E1A-0194AB1D280D}"/>
                </a:ext>
              </a:extLst>
            </p:cNvPr>
            <p:cNvSpPr/>
            <p:nvPr/>
          </p:nvSpPr>
          <p:spPr>
            <a:xfrm>
              <a:off x="7721259" y="1938052"/>
              <a:ext cx="26773" cy="14184"/>
            </a:xfrm>
            <a:custGeom>
              <a:avLst/>
              <a:gdLst>
                <a:gd name="connsiteX0" fmla="*/ 789 w 26773"/>
                <a:gd name="connsiteY0" fmla="*/ 10457 h 14184"/>
                <a:gd name="connsiteX1" fmla="*/ 26135 w 26773"/>
                <a:gd name="connsiteY1" fmla="*/ 5300 h 14184"/>
                <a:gd name="connsiteX2" fmla="*/ 620 w 26773"/>
                <a:gd name="connsiteY2" fmla="*/ 2671 h 14184"/>
                <a:gd name="connsiteX3" fmla="*/ 789 w 26773"/>
                <a:gd name="connsiteY3" fmla="*/ 10457 h 14184"/>
              </a:gdLst>
              <a:ahLst/>
              <a:cxnLst>
                <a:cxn ang="0">
                  <a:pos x="connsiteX0" y="connsiteY0"/>
                </a:cxn>
                <a:cxn ang="0">
                  <a:pos x="connsiteX1" y="connsiteY1"/>
                </a:cxn>
                <a:cxn ang="0">
                  <a:pos x="connsiteX2" y="connsiteY2"/>
                </a:cxn>
                <a:cxn ang="0">
                  <a:pos x="connsiteX3" y="connsiteY3"/>
                </a:cxn>
              </a:cxnLst>
              <a:rect l="l" t="t" r="r" b="b"/>
              <a:pathLst>
                <a:path w="26773" h="14184">
                  <a:moveTo>
                    <a:pt x="789" y="10457"/>
                  </a:moveTo>
                  <a:cubicBezTo>
                    <a:pt x="7091" y="14704"/>
                    <a:pt x="30955" y="17805"/>
                    <a:pt x="26135" y="5300"/>
                  </a:cubicBezTo>
                  <a:cubicBezTo>
                    <a:pt x="22899" y="-2991"/>
                    <a:pt x="6485" y="346"/>
                    <a:pt x="620" y="2671"/>
                  </a:cubicBezTo>
                  <a:cubicBezTo>
                    <a:pt x="81" y="2907"/>
                    <a:pt x="-526" y="9581"/>
                    <a:pt x="789" y="10457"/>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sp>
          <p:nvSpPr>
            <p:cNvPr id="347" name="Freeform: Shape 346">
              <a:extLst>
                <a:ext uri="{FF2B5EF4-FFF2-40B4-BE49-F238E27FC236}">
                  <a16:creationId xmlns:a16="http://schemas.microsoft.com/office/drawing/2014/main" id="{A2A9DB46-7187-465C-8086-61FB2D5F713A}"/>
                </a:ext>
              </a:extLst>
            </p:cNvPr>
            <p:cNvSpPr/>
            <p:nvPr/>
          </p:nvSpPr>
          <p:spPr>
            <a:xfrm>
              <a:off x="7746674" y="1643549"/>
              <a:ext cx="40457" cy="20711"/>
            </a:xfrm>
            <a:custGeom>
              <a:avLst/>
              <a:gdLst>
                <a:gd name="connsiteX0" fmla="*/ 36549 w 40457"/>
                <a:gd name="connsiteY0" fmla="*/ 18603 h 20711"/>
                <a:gd name="connsiteX1" fmla="*/ 40223 w 40457"/>
                <a:gd name="connsiteY1" fmla="*/ 15907 h 20711"/>
                <a:gd name="connsiteX2" fmla="*/ 4866 w 40457"/>
                <a:gd name="connsiteY2" fmla="*/ 571 h 20711"/>
                <a:gd name="connsiteX3" fmla="*/ 282 w 40457"/>
                <a:gd name="connsiteY3" fmla="*/ 4447 h 20711"/>
                <a:gd name="connsiteX4" fmla="*/ 1158 w 40457"/>
                <a:gd name="connsiteY4" fmla="*/ 8559 h 20711"/>
                <a:gd name="connsiteX5" fmla="*/ 2372 w 40457"/>
                <a:gd name="connsiteY5" fmla="*/ 11593 h 20711"/>
                <a:gd name="connsiteX6" fmla="*/ 31324 w 40457"/>
                <a:gd name="connsiteY6" fmla="*/ 20693 h 20711"/>
                <a:gd name="connsiteX7" fmla="*/ 36549 w 40457"/>
                <a:gd name="connsiteY7" fmla="*/ 18603 h 20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457" h="20711">
                  <a:moveTo>
                    <a:pt x="36549" y="18603"/>
                  </a:moveTo>
                  <a:cubicBezTo>
                    <a:pt x="38301" y="18502"/>
                    <a:pt x="39784" y="17862"/>
                    <a:pt x="40223" y="15907"/>
                  </a:cubicBezTo>
                  <a:cubicBezTo>
                    <a:pt x="43391" y="1650"/>
                    <a:pt x="13663" y="-1485"/>
                    <a:pt x="4866" y="571"/>
                  </a:cubicBezTo>
                  <a:cubicBezTo>
                    <a:pt x="2877" y="1043"/>
                    <a:pt x="1260" y="2189"/>
                    <a:pt x="282" y="4447"/>
                  </a:cubicBezTo>
                  <a:cubicBezTo>
                    <a:pt x="-291" y="5728"/>
                    <a:pt x="12" y="7346"/>
                    <a:pt x="1158" y="8559"/>
                  </a:cubicBezTo>
                  <a:cubicBezTo>
                    <a:pt x="1091" y="9604"/>
                    <a:pt x="1496" y="10784"/>
                    <a:pt x="2372" y="11593"/>
                  </a:cubicBezTo>
                  <a:cubicBezTo>
                    <a:pt x="8911" y="17592"/>
                    <a:pt x="22426" y="20996"/>
                    <a:pt x="31324" y="20693"/>
                  </a:cubicBezTo>
                  <a:cubicBezTo>
                    <a:pt x="33549" y="20592"/>
                    <a:pt x="35537" y="20053"/>
                    <a:pt x="36549" y="18603"/>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sp>
          <p:nvSpPr>
            <p:cNvPr id="348" name="Freeform: Shape 347">
              <a:extLst>
                <a:ext uri="{FF2B5EF4-FFF2-40B4-BE49-F238E27FC236}">
                  <a16:creationId xmlns:a16="http://schemas.microsoft.com/office/drawing/2014/main" id="{FBAE56DD-D9EE-43C6-AB44-7154BC2C8E4A}"/>
                </a:ext>
              </a:extLst>
            </p:cNvPr>
            <p:cNvSpPr/>
            <p:nvPr/>
          </p:nvSpPr>
          <p:spPr>
            <a:xfrm>
              <a:off x="7640726" y="1685262"/>
              <a:ext cx="28204" cy="28257"/>
            </a:xfrm>
            <a:custGeom>
              <a:avLst/>
              <a:gdLst>
                <a:gd name="connsiteX0" fmla="*/ 26214 w 28204"/>
                <a:gd name="connsiteY0" fmla="*/ 13527 h 28257"/>
                <a:gd name="connsiteX1" fmla="*/ 27023 w 28204"/>
                <a:gd name="connsiteY1" fmla="*/ 3214 h 28257"/>
                <a:gd name="connsiteX2" fmla="*/ 25709 w 28204"/>
                <a:gd name="connsiteY2" fmla="*/ 2000 h 28257"/>
                <a:gd name="connsiteX3" fmla="*/ 19710 w 28204"/>
                <a:gd name="connsiteY3" fmla="*/ 180 h 28257"/>
                <a:gd name="connsiteX4" fmla="*/ 15227 w 28204"/>
                <a:gd name="connsiteY4" fmla="*/ 2540 h 28257"/>
                <a:gd name="connsiteX5" fmla="*/ 12328 w 28204"/>
                <a:gd name="connsiteY5" fmla="*/ 4899 h 28257"/>
                <a:gd name="connsiteX6" fmla="*/ 11721 w 28204"/>
                <a:gd name="connsiteY6" fmla="*/ 5371 h 28257"/>
                <a:gd name="connsiteX7" fmla="*/ 3835 w 28204"/>
                <a:gd name="connsiteY7" fmla="*/ 12078 h 28257"/>
                <a:gd name="connsiteX8" fmla="*/ 26 w 28204"/>
                <a:gd name="connsiteY8" fmla="*/ 21010 h 28257"/>
                <a:gd name="connsiteX9" fmla="*/ 6935 w 28204"/>
                <a:gd name="connsiteY9" fmla="*/ 28256 h 28257"/>
                <a:gd name="connsiteX10" fmla="*/ 16440 w 28204"/>
                <a:gd name="connsiteY10" fmla="*/ 23706 h 28257"/>
                <a:gd name="connsiteX11" fmla="*/ 26214 w 28204"/>
                <a:gd name="connsiteY11" fmla="*/ 13527 h 28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204" h="28257">
                  <a:moveTo>
                    <a:pt x="26214" y="13527"/>
                  </a:moveTo>
                  <a:cubicBezTo>
                    <a:pt x="27900" y="10561"/>
                    <a:pt x="29281" y="6247"/>
                    <a:pt x="27023" y="3214"/>
                  </a:cubicBezTo>
                  <a:cubicBezTo>
                    <a:pt x="26653" y="2708"/>
                    <a:pt x="26214" y="2304"/>
                    <a:pt x="25709" y="2000"/>
                  </a:cubicBezTo>
                  <a:cubicBezTo>
                    <a:pt x="24193" y="450"/>
                    <a:pt x="21968" y="-393"/>
                    <a:pt x="19710" y="180"/>
                  </a:cubicBezTo>
                  <a:cubicBezTo>
                    <a:pt x="18024" y="585"/>
                    <a:pt x="16609" y="1495"/>
                    <a:pt x="15227" y="2540"/>
                  </a:cubicBezTo>
                  <a:cubicBezTo>
                    <a:pt x="14148" y="3146"/>
                    <a:pt x="13205" y="3989"/>
                    <a:pt x="12328" y="4899"/>
                  </a:cubicBezTo>
                  <a:cubicBezTo>
                    <a:pt x="12126" y="5068"/>
                    <a:pt x="11924" y="5236"/>
                    <a:pt x="11721" y="5371"/>
                  </a:cubicBezTo>
                  <a:cubicBezTo>
                    <a:pt x="8958" y="7461"/>
                    <a:pt x="6126" y="9483"/>
                    <a:pt x="3835" y="12078"/>
                  </a:cubicBezTo>
                  <a:cubicBezTo>
                    <a:pt x="1643" y="14572"/>
                    <a:pt x="-243" y="17572"/>
                    <a:pt x="26" y="21010"/>
                  </a:cubicBezTo>
                  <a:cubicBezTo>
                    <a:pt x="296" y="24583"/>
                    <a:pt x="3160" y="28189"/>
                    <a:pt x="6935" y="28256"/>
                  </a:cubicBezTo>
                  <a:cubicBezTo>
                    <a:pt x="10609" y="28324"/>
                    <a:pt x="13643" y="25729"/>
                    <a:pt x="16440" y="23706"/>
                  </a:cubicBezTo>
                  <a:cubicBezTo>
                    <a:pt x="20080" y="21010"/>
                    <a:pt x="23956" y="17471"/>
                    <a:pt x="26214" y="13527"/>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sp>
          <p:nvSpPr>
            <p:cNvPr id="349" name="Freeform: Shape 348">
              <a:extLst>
                <a:ext uri="{FF2B5EF4-FFF2-40B4-BE49-F238E27FC236}">
                  <a16:creationId xmlns:a16="http://schemas.microsoft.com/office/drawing/2014/main" id="{7846B0F8-57BE-451E-A619-62F747C53778}"/>
                </a:ext>
              </a:extLst>
            </p:cNvPr>
            <p:cNvSpPr/>
            <p:nvPr/>
          </p:nvSpPr>
          <p:spPr>
            <a:xfrm>
              <a:off x="7587598" y="1769592"/>
              <a:ext cx="15935" cy="37091"/>
            </a:xfrm>
            <a:custGeom>
              <a:avLst/>
              <a:gdLst>
                <a:gd name="connsiteX0" fmla="*/ 11730 w 15935"/>
                <a:gd name="connsiteY0" fmla="*/ 34525 h 37091"/>
                <a:gd name="connsiteX1" fmla="*/ 12168 w 15935"/>
                <a:gd name="connsiteY1" fmla="*/ 33918 h 37091"/>
                <a:gd name="connsiteX2" fmla="*/ 15033 w 15935"/>
                <a:gd name="connsiteY2" fmla="*/ 22964 h 37091"/>
                <a:gd name="connsiteX3" fmla="*/ 13887 w 15935"/>
                <a:gd name="connsiteY3" fmla="*/ 6988 h 37091"/>
                <a:gd name="connsiteX4" fmla="*/ 8798 w 15935"/>
                <a:gd name="connsiteY4" fmla="*/ 45 h 37091"/>
                <a:gd name="connsiteX5" fmla="*/ 1854 w 15935"/>
                <a:gd name="connsiteY5" fmla="*/ 10089 h 37091"/>
                <a:gd name="connsiteX6" fmla="*/ 877 w 15935"/>
                <a:gd name="connsiteY6" fmla="*/ 29672 h 37091"/>
                <a:gd name="connsiteX7" fmla="*/ 6775 w 15935"/>
                <a:gd name="connsiteY7" fmla="*/ 37053 h 37091"/>
                <a:gd name="connsiteX8" fmla="*/ 11730 w 15935"/>
                <a:gd name="connsiteY8" fmla="*/ 34525 h 37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935" h="37091">
                  <a:moveTo>
                    <a:pt x="11730" y="34525"/>
                  </a:moveTo>
                  <a:cubicBezTo>
                    <a:pt x="11898" y="34357"/>
                    <a:pt x="12033" y="34154"/>
                    <a:pt x="12168" y="33918"/>
                  </a:cubicBezTo>
                  <a:cubicBezTo>
                    <a:pt x="15100" y="31525"/>
                    <a:pt x="15303" y="27009"/>
                    <a:pt x="15033" y="22964"/>
                  </a:cubicBezTo>
                  <a:cubicBezTo>
                    <a:pt x="16145" y="17470"/>
                    <a:pt x="16684" y="11774"/>
                    <a:pt x="13887" y="6988"/>
                  </a:cubicBezTo>
                  <a:cubicBezTo>
                    <a:pt x="13482" y="4022"/>
                    <a:pt x="12270" y="449"/>
                    <a:pt x="8798" y="45"/>
                  </a:cubicBezTo>
                  <a:cubicBezTo>
                    <a:pt x="3506" y="-595"/>
                    <a:pt x="2259" y="5741"/>
                    <a:pt x="1854" y="10089"/>
                  </a:cubicBezTo>
                  <a:cubicBezTo>
                    <a:pt x="-876" y="16122"/>
                    <a:pt x="-33" y="23301"/>
                    <a:pt x="877" y="29672"/>
                  </a:cubicBezTo>
                  <a:cubicBezTo>
                    <a:pt x="1349" y="32975"/>
                    <a:pt x="3068" y="36649"/>
                    <a:pt x="6775" y="37053"/>
                  </a:cubicBezTo>
                  <a:cubicBezTo>
                    <a:pt x="8899" y="37323"/>
                    <a:pt x="10584" y="36143"/>
                    <a:pt x="11730" y="34525"/>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sp>
          <p:nvSpPr>
            <p:cNvPr id="350" name="Freeform: Shape 349">
              <a:extLst>
                <a:ext uri="{FF2B5EF4-FFF2-40B4-BE49-F238E27FC236}">
                  <a16:creationId xmlns:a16="http://schemas.microsoft.com/office/drawing/2014/main" id="{455BCA2D-B036-469E-8F0D-446CBDEB0327}"/>
                </a:ext>
              </a:extLst>
            </p:cNvPr>
            <p:cNvSpPr/>
            <p:nvPr/>
          </p:nvSpPr>
          <p:spPr>
            <a:xfrm>
              <a:off x="7606177" y="1899227"/>
              <a:ext cx="31063" cy="32045"/>
            </a:xfrm>
            <a:custGeom>
              <a:avLst/>
              <a:gdLst>
                <a:gd name="connsiteX0" fmla="*/ 30968 w 31063"/>
                <a:gd name="connsiteY0" fmla="*/ 27442 h 32045"/>
                <a:gd name="connsiteX1" fmla="*/ 28205 w 31063"/>
                <a:gd name="connsiteY1" fmla="*/ 18442 h 32045"/>
                <a:gd name="connsiteX2" fmla="*/ 22272 w 31063"/>
                <a:gd name="connsiteY2" fmla="*/ 11196 h 32045"/>
                <a:gd name="connsiteX3" fmla="*/ 11521 w 31063"/>
                <a:gd name="connsiteY3" fmla="*/ 950 h 32045"/>
                <a:gd name="connsiteX4" fmla="*/ 9566 w 31063"/>
                <a:gd name="connsiteY4" fmla="*/ 613 h 32045"/>
                <a:gd name="connsiteX5" fmla="*/ 4510 w 31063"/>
                <a:gd name="connsiteY5" fmla="*/ 276 h 32045"/>
                <a:gd name="connsiteX6" fmla="*/ 1308 w 31063"/>
                <a:gd name="connsiteY6" fmla="*/ 3073 h 32045"/>
                <a:gd name="connsiteX7" fmla="*/ 701 w 31063"/>
                <a:gd name="connsiteY7" fmla="*/ 4152 h 32045"/>
                <a:gd name="connsiteX8" fmla="*/ 2218 w 31063"/>
                <a:gd name="connsiteY8" fmla="*/ 14094 h 32045"/>
                <a:gd name="connsiteX9" fmla="*/ 10071 w 31063"/>
                <a:gd name="connsiteY9" fmla="*/ 23936 h 32045"/>
                <a:gd name="connsiteX10" fmla="*/ 14655 w 31063"/>
                <a:gd name="connsiteY10" fmla="*/ 26599 h 32045"/>
                <a:gd name="connsiteX11" fmla="*/ 15430 w 31063"/>
                <a:gd name="connsiteY11" fmla="*/ 27341 h 32045"/>
                <a:gd name="connsiteX12" fmla="*/ 22138 w 31063"/>
                <a:gd name="connsiteY12" fmla="*/ 31116 h 32045"/>
                <a:gd name="connsiteX13" fmla="*/ 30968 w 31063"/>
                <a:gd name="connsiteY13" fmla="*/ 27442 h 32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063" h="32045">
                  <a:moveTo>
                    <a:pt x="30968" y="27442"/>
                  </a:moveTo>
                  <a:cubicBezTo>
                    <a:pt x="31474" y="24273"/>
                    <a:pt x="29890" y="21038"/>
                    <a:pt x="28205" y="18442"/>
                  </a:cubicBezTo>
                  <a:cubicBezTo>
                    <a:pt x="26519" y="15780"/>
                    <a:pt x="24429" y="13488"/>
                    <a:pt x="22272" y="11196"/>
                  </a:cubicBezTo>
                  <a:cubicBezTo>
                    <a:pt x="18868" y="7623"/>
                    <a:pt x="16037" y="3309"/>
                    <a:pt x="11521" y="950"/>
                  </a:cubicBezTo>
                  <a:cubicBezTo>
                    <a:pt x="10914" y="646"/>
                    <a:pt x="10240" y="511"/>
                    <a:pt x="9566" y="613"/>
                  </a:cubicBezTo>
                  <a:cubicBezTo>
                    <a:pt x="7880" y="6"/>
                    <a:pt x="6128" y="-230"/>
                    <a:pt x="4510" y="276"/>
                  </a:cubicBezTo>
                  <a:cubicBezTo>
                    <a:pt x="2858" y="815"/>
                    <a:pt x="1847" y="1792"/>
                    <a:pt x="1308" y="3073"/>
                  </a:cubicBezTo>
                  <a:cubicBezTo>
                    <a:pt x="1072" y="3410"/>
                    <a:pt x="870" y="3781"/>
                    <a:pt x="701" y="4152"/>
                  </a:cubicBezTo>
                  <a:cubicBezTo>
                    <a:pt x="-816" y="7589"/>
                    <a:pt x="331" y="11095"/>
                    <a:pt x="2218" y="14094"/>
                  </a:cubicBezTo>
                  <a:cubicBezTo>
                    <a:pt x="4409" y="17600"/>
                    <a:pt x="6802" y="21375"/>
                    <a:pt x="10071" y="23936"/>
                  </a:cubicBezTo>
                  <a:cubicBezTo>
                    <a:pt x="11487" y="25049"/>
                    <a:pt x="13071" y="25824"/>
                    <a:pt x="14655" y="26599"/>
                  </a:cubicBezTo>
                  <a:cubicBezTo>
                    <a:pt x="14925" y="26835"/>
                    <a:pt x="15160" y="27071"/>
                    <a:pt x="15430" y="27341"/>
                  </a:cubicBezTo>
                  <a:cubicBezTo>
                    <a:pt x="17183" y="29026"/>
                    <a:pt x="19610" y="30576"/>
                    <a:pt x="22138" y="31116"/>
                  </a:cubicBezTo>
                  <a:cubicBezTo>
                    <a:pt x="26047" y="33037"/>
                    <a:pt x="30193" y="32059"/>
                    <a:pt x="30968" y="27442"/>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sp>
          <p:nvSpPr>
            <p:cNvPr id="351" name="Freeform: Shape 350">
              <a:extLst>
                <a:ext uri="{FF2B5EF4-FFF2-40B4-BE49-F238E27FC236}">
                  <a16:creationId xmlns:a16="http://schemas.microsoft.com/office/drawing/2014/main" id="{3B6260B3-4566-40CF-A267-84B5507E07BC}"/>
                </a:ext>
              </a:extLst>
            </p:cNvPr>
            <p:cNvSpPr/>
            <p:nvPr/>
          </p:nvSpPr>
          <p:spPr>
            <a:xfrm>
              <a:off x="7754204" y="1723068"/>
              <a:ext cx="31792" cy="9034"/>
            </a:xfrm>
            <a:custGeom>
              <a:avLst/>
              <a:gdLst>
                <a:gd name="connsiteX0" fmla="*/ 30333 w 31792"/>
                <a:gd name="connsiteY0" fmla="*/ 3090 h 9034"/>
                <a:gd name="connsiteX1" fmla="*/ 23457 w 31792"/>
                <a:gd name="connsiteY1" fmla="*/ 1708 h 9034"/>
                <a:gd name="connsiteX2" fmla="*/ 16345 w 31792"/>
                <a:gd name="connsiteY2" fmla="*/ 562 h 9034"/>
                <a:gd name="connsiteX3" fmla="*/ 1650 w 31792"/>
                <a:gd name="connsiteY3" fmla="*/ 2248 h 9034"/>
                <a:gd name="connsiteX4" fmla="*/ 4717 w 31792"/>
                <a:gd name="connsiteY4" fmla="*/ 7674 h 9034"/>
                <a:gd name="connsiteX5" fmla="*/ 16413 w 31792"/>
                <a:gd name="connsiteY5" fmla="*/ 7135 h 9034"/>
                <a:gd name="connsiteX6" fmla="*/ 21603 w 31792"/>
                <a:gd name="connsiteY6" fmla="*/ 8011 h 9034"/>
                <a:gd name="connsiteX7" fmla="*/ 27198 w 31792"/>
                <a:gd name="connsiteY7" fmla="*/ 8550 h 9034"/>
                <a:gd name="connsiteX8" fmla="*/ 30333 w 31792"/>
                <a:gd name="connsiteY8" fmla="*/ 3090 h 9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792" h="9034">
                  <a:moveTo>
                    <a:pt x="30333" y="3090"/>
                  </a:moveTo>
                  <a:cubicBezTo>
                    <a:pt x="28108" y="1675"/>
                    <a:pt x="26019" y="1573"/>
                    <a:pt x="23457" y="1708"/>
                  </a:cubicBezTo>
                  <a:cubicBezTo>
                    <a:pt x="20862" y="1843"/>
                    <a:pt x="18839" y="1203"/>
                    <a:pt x="16345" y="562"/>
                  </a:cubicBezTo>
                  <a:cubicBezTo>
                    <a:pt x="11593" y="-685"/>
                    <a:pt x="6099" y="259"/>
                    <a:pt x="1650" y="2248"/>
                  </a:cubicBezTo>
                  <a:cubicBezTo>
                    <a:pt x="-2024" y="3865"/>
                    <a:pt x="1077" y="9292"/>
                    <a:pt x="4717" y="7674"/>
                  </a:cubicBezTo>
                  <a:cubicBezTo>
                    <a:pt x="8492" y="5989"/>
                    <a:pt x="12571" y="6023"/>
                    <a:pt x="16413" y="7135"/>
                  </a:cubicBezTo>
                  <a:cubicBezTo>
                    <a:pt x="18098" y="7640"/>
                    <a:pt x="19817" y="7977"/>
                    <a:pt x="21603" y="8011"/>
                  </a:cubicBezTo>
                  <a:cubicBezTo>
                    <a:pt x="23592" y="8079"/>
                    <a:pt x="25445" y="7404"/>
                    <a:pt x="27198" y="8550"/>
                  </a:cubicBezTo>
                  <a:cubicBezTo>
                    <a:pt x="30636" y="10674"/>
                    <a:pt x="33704" y="5247"/>
                    <a:pt x="30333" y="3090"/>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sp>
          <p:nvSpPr>
            <p:cNvPr id="352" name="Freeform: Shape 351">
              <a:extLst>
                <a:ext uri="{FF2B5EF4-FFF2-40B4-BE49-F238E27FC236}">
                  <a16:creationId xmlns:a16="http://schemas.microsoft.com/office/drawing/2014/main" id="{B13F4998-B1B8-4D7E-A969-7968516D9621}"/>
                </a:ext>
              </a:extLst>
            </p:cNvPr>
            <p:cNvSpPr/>
            <p:nvPr/>
          </p:nvSpPr>
          <p:spPr>
            <a:xfrm>
              <a:off x="7675737" y="1728339"/>
              <a:ext cx="61743" cy="48629"/>
            </a:xfrm>
            <a:custGeom>
              <a:avLst/>
              <a:gdLst>
                <a:gd name="connsiteX0" fmla="*/ 58748 w 61743"/>
                <a:gd name="connsiteY0" fmla="*/ 44 h 48629"/>
                <a:gd name="connsiteX1" fmla="*/ 39503 w 61743"/>
                <a:gd name="connsiteY1" fmla="*/ 4965 h 48629"/>
                <a:gd name="connsiteX2" fmla="*/ 19246 w 61743"/>
                <a:gd name="connsiteY2" fmla="*/ 18244 h 48629"/>
                <a:gd name="connsiteX3" fmla="*/ 11056 w 61743"/>
                <a:gd name="connsiteY3" fmla="*/ 27075 h 48629"/>
                <a:gd name="connsiteX4" fmla="*/ 4449 w 61743"/>
                <a:gd name="connsiteY4" fmla="*/ 35535 h 48629"/>
                <a:gd name="connsiteX5" fmla="*/ 1854 w 61743"/>
                <a:gd name="connsiteY5" fmla="*/ 47736 h 48629"/>
                <a:gd name="connsiteX6" fmla="*/ 6269 w 61743"/>
                <a:gd name="connsiteY6" fmla="*/ 43321 h 48629"/>
                <a:gd name="connsiteX7" fmla="*/ 6236 w 61743"/>
                <a:gd name="connsiteY7" fmla="*/ 43287 h 48629"/>
                <a:gd name="connsiteX8" fmla="*/ 6708 w 61743"/>
                <a:gd name="connsiteY8" fmla="*/ 42445 h 48629"/>
                <a:gd name="connsiteX9" fmla="*/ 8292 w 61743"/>
                <a:gd name="connsiteY9" fmla="*/ 40523 h 48629"/>
                <a:gd name="connsiteX10" fmla="*/ 12505 w 61743"/>
                <a:gd name="connsiteY10" fmla="*/ 35299 h 48629"/>
                <a:gd name="connsiteX11" fmla="*/ 26021 w 61743"/>
                <a:gd name="connsiteY11" fmla="*/ 20435 h 48629"/>
                <a:gd name="connsiteX12" fmla="*/ 42839 w 61743"/>
                <a:gd name="connsiteY12" fmla="*/ 10324 h 48629"/>
                <a:gd name="connsiteX13" fmla="*/ 58748 w 61743"/>
                <a:gd name="connsiteY13" fmla="*/ 6313 h 48629"/>
                <a:gd name="connsiteX14" fmla="*/ 58748 w 61743"/>
                <a:gd name="connsiteY14" fmla="*/ 44 h 48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1743" h="48629">
                  <a:moveTo>
                    <a:pt x="58748" y="44"/>
                  </a:moveTo>
                  <a:cubicBezTo>
                    <a:pt x="52277" y="-394"/>
                    <a:pt x="45401" y="2538"/>
                    <a:pt x="39503" y="4965"/>
                  </a:cubicBezTo>
                  <a:cubicBezTo>
                    <a:pt x="32188" y="7964"/>
                    <a:pt x="24874" y="12683"/>
                    <a:pt x="19246" y="18244"/>
                  </a:cubicBezTo>
                  <a:cubicBezTo>
                    <a:pt x="16381" y="21076"/>
                    <a:pt x="13752" y="24109"/>
                    <a:pt x="11056" y="27075"/>
                  </a:cubicBezTo>
                  <a:cubicBezTo>
                    <a:pt x="8628" y="29738"/>
                    <a:pt x="6909" y="32906"/>
                    <a:pt x="4449" y="35535"/>
                  </a:cubicBezTo>
                  <a:cubicBezTo>
                    <a:pt x="1382" y="38838"/>
                    <a:pt x="-2292" y="43692"/>
                    <a:pt x="1854" y="47736"/>
                  </a:cubicBezTo>
                  <a:cubicBezTo>
                    <a:pt x="4719" y="50534"/>
                    <a:pt x="9135" y="46118"/>
                    <a:pt x="6269" y="43321"/>
                  </a:cubicBezTo>
                  <a:cubicBezTo>
                    <a:pt x="6236" y="43321"/>
                    <a:pt x="6236" y="43287"/>
                    <a:pt x="6236" y="43287"/>
                  </a:cubicBezTo>
                  <a:cubicBezTo>
                    <a:pt x="6337" y="42984"/>
                    <a:pt x="6573" y="42647"/>
                    <a:pt x="6708" y="42445"/>
                  </a:cubicBezTo>
                  <a:cubicBezTo>
                    <a:pt x="7213" y="41770"/>
                    <a:pt x="7719" y="41130"/>
                    <a:pt x="8292" y="40523"/>
                  </a:cubicBezTo>
                  <a:cubicBezTo>
                    <a:pt x="9842" y="38872"/>
                    <a:pt x="11224" y="37187"/>
                    <a:pt x="12505" y="35299"/>
                  </a:cubicBezTo>
                  <a:cubicBezTo>
                    <a:pt x="16178" y="29940"/>
                    <a:pt x="21100" y="24682"/>
                    <a:pt x="26021" y="20435"/>
                  </a:cubicBezTo>
                  <a:cubicBezTo>
                    <a:pt x="30773" y="16323"/>
                    <a:pt x="36907" y="12515"/>
                    <a:pt x="42839" y="10324"/>
                  </a:cubicBezTo>
                  <a:cubicBezTo>
                    <a:pt x="47828" y="8470"/>
                    <a:pt x="53321" y="5942"/>
                    <a:pt x="58748" y="6313"/>
                  </a:cubicBezTo>
                  <a:cubicBezTo>
                    <a:pt x="62759" y="6549"/>
                    <a:pt x="62725" y="313"/>
                    <a:pt x="58748" y="44"/>
                  </a:cubicBezTo>
                  <a:close/>
                </a:path>
              </a:pathLst>
            </a:custGeom>
            <a:solidFill>
              <a:schemeClr val="accent1">
                <a:lumMod val="20000"/>
                <a:lumOff val="80000"/>
              </a:schemeClr>
            </a:solidFill>
            <a:ln w="3370" cap="flat">
              <a:noFill/>
              <a:prstDash val="solid"/>
              <a:miter/>
            </a:ln>
          </p:spPr>
          <p:txBody>
            <a:bodyPr rtlCol="0" anchor="ctr"/>
            <a:lstStyle/>
            <a:p>
              <a:endParaRPr lang="en-US" dirty="0"/>
            </a:p>
          </p:txBody>
        </p:sp>
      </p:grpSp>
      <p:grpSp>
        <p:nvGrpSpPr>
          <p:cNvPr id="353" name="Graphic 6">
            <a:extLst>
              <a:ext uri="{FF2B5EF4-FFF2-40B4-BE49-F238E27FC236}">
                <a16:creationId xmlns:a16="http://schemas.microsoft.com/office/drawing/2014/main" id="{51D6F4BB-E553-4BB1-84E6-37499D523463}"/>
              </a:ext>
            </a:extLst>
          </p:cNvPr>
          <p:cNvGrpSpPr/>
          <p:nvPr/>
        </p:nvGrpSpPr>
        <p:grpSpPr>
          <a:xfrm>
            <a:off x="533411" y="3528884"/>
            <a:ext cx="411553" cy="424647"/>
            <a:chOff x="533411" y="3528884"/>
            <a:chExt cx="411553" cy="424647"/>
          </a:xfrm>
          <a:solidFill>
            <a:srgbClr val="DAE3F3"/>
          </a:solidFill>
        </p:grpSpPr>
        <p:sp>
          <p:nvSpPr>
            <p:cNvPr id="354" name="Freeform: Shape 353">
              <a:extLst>
                <a:ext uri="{FF2B5EF4-FFF2-40B4-BE49-F238E27FC236}">
                  <a16:creationId xmlns:a16="http://schemas.microsoft.com/office/drawing/2014/main" id="{84030C44-DE20-4B22-9210-89C9FF50BE72}"/>
                </a:ext>
              </a:extLst>
            </p:cNvPr>
            <p:cNvSpPr/>
            <p:nvPr/>
          </p:nvSpPr>
          <p:spPr>
            <a:xfrm rot="-512747">
              <a:off x="597715" y="3584636"/>
              <a:ext cx="298895" cy="298895"/>
            </a:xfrm>
            <a:custGeom>
              <a:avLst/>
              <a:gdLst>
                <a:gd name="connsiteX0" fmla="*/ 298896 w 298895"/>
                <a:gd name="connsiteY0" fmla="*/ 149448 h 298895"/>
                <a:gd name="connsiteX1" fmla="*/ 149448 w 298895"/>
                <a:gd name="connsiteY1" fmla="*/ 298896 h 298895"/>
                <a:gd name="connsiteX2" fmla="*/ 0 w 298895"/>
                <a:gd name="connsiteY2" fmla="*/ 149448 h 298895"/>
                <a:gd name="connsiteX3" fmla="*/ 149448 w 298895"/>
                <a:gd name="connsiteY3" fmla="*/ 0 h 298895"/>
                <a:gd name="connsiteX4" fmla="*/ 298896 w 298895"/>
                <a:gd name="connsiteY4" fmla="*/ 149448 h 2988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895" h="298895">
                  <a:moveTo>
                    <a:pt x="298896" y="149448"/>
                  </a:moveTo>
                  <a:cubicBezTo>
                    <a:pt x="298896" y="231986"/>
                    <a:pt x="231986" y="298896"/>
                    <a:pt x="149448" y="298896"/>
                  </a:cubicBezTo>
                  <a:cubicBezTo>
                    <a:pt x="66910" y="298896"/>
                    <a:pt x="0" y="231986"/>
                    <a:pt x="0" y="149448"/>
                  </a:cubicBezTo>
                  <a:cubicBezTo>
                    <a:pt x="0" y="66910"/>
                    <a:pt x="66910" y="0"/>
                    <a:pt x="149448" y="0"/>
                  </a:cubicBezTo>
                  <a:cubicBezTo>
                    <a:pt x="231986" y="0"/>
                    <a:pt x="298896" y="66910"/>
                    <a:pt x="298896" y="149448"/>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sp>
          <p:nvSpPr>
            <p:cNvPr id="355" name="Freeform: Shape 354">
              <a:extLst>
                <a:ext uri="{FF2B5EF4-FFF2-40B4-BE49-F238E27FC236}">
                  <a16:creationId xmlns:a16="http://schemas.microsoft.com/office/drawing/2014/main" id="{7D6CE6C3-BC73-42E7-8A15-6A77B174E6FA}"/>
                </a:ext>
              </a:extLst>
            </p:cNvPr>
            <p:cNvSpPr/>
            <p:nvPr/>
          </p:nvSpPr>
          <p:spPr>
            <a:xfrm>
              <a:off x="747336" y="3539089"/>
              <a:ext cx="12080" cy="65030"/>
            </a:xfrm>
            <a:custGeom>
              <a:avLst/>
              <a:gdLst>
                <a:gd name="connsiteX0" fmla="*/ 595 w 12080"/>
                <a:gd name="connsiteY0" fmla="*/ 662 h 65030"/>
                <a:gd name="connsiteX1" fmla="*/ 4202 w 12080"/>
                <a:gd name="connsiteY1" fmla="*/ 34131 h 65030"/>
                <a:gd name="connsiteX2" fmla="*/ 6056 w 12080"/>
                <a:gd name="connsiteY2" fmla="*/ 50140 h 65030"/>
                <a:gd name="connsiteX3" fmla="*/ 10639 w 12080"/>
                <a:gd name="connsiteY3" fmla="*/ 64667 h 65030"/>
                <a:gd name="connsiteX4" fmla="*/ 11887 w 12080"/>
                <a:gd name="connsiteY4" fmla="*/ 63690 h 65030"/>
                <a:gd name="connsiteX5" fmla="*/ 7539 w 12080"/>
                <a:gd name="connsiteY5" fmla="*/ 48354 h 65030"/>
                <a:gd name="connsiteX6" fmla="*/ 5617 w 12080"/>
                <a:gd name="connsiteY6" fmla="*/ 33086 h 65030"/>
                <a:gd name="connsiteX7" fmla="*/ 2247 w 12080"/>
                <a:gd name="connsiteY7" fmla="*/ 931 h 65030"/>
                <a:gd name="connsiteX8" fmla="*/ 595 w 12080"/>
                <a:gd name="connsiteY8" fmla="*/ 662 h 65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80" h="65030">
                  <a:moveTo>
                    <a:pt x="595" y="662"/>
                  </a:moveTo>
                  <a:cubicBezTo>
                    <a:pt x="-1258" y="11919"/>
                    <a:pt x="1573" y="22772"/>
                    <a:pt x="4202" y="34131"/>
                  </a:cubicBezTo>
                  <a:cubicBezTo>
                    <a:pt x="5449" y="39523"/>
                    <a:pt x="5617" y="44748"/>
                    <a:pt x="6056" y="50140"/>
                  </a:cubicBezTo>
                  <a:cubicBezTo>
                    <a:pt x="6460" y="55230"/>
                    <a:pt x="7404" y="60353"/>
                    <a:pt x="10639" y="64667"/>
                  </a:cubicBezTo>
                  <a:cubicBezTo>
                    <a:pt x="11314" y="65577"/>
                    <a:pt x="12561" y="64600"/>
                    <a:pt x="11887" y="63690"/>
                  </a:cubicBezTo>
                  <a:cubicBezTo>
                    <a:pt x="8482" y="59140"/>
                    <a:pt x="7909" y="53612"/>
                    <a:pt x="7539" y="48354"/>
                  </a:cubicBezTo>
                  <a:cubicBezTo>
                    <a:pt x="7202" y="43164"/>
                    <a:pt x="6831" y="38243"/>
                    <a:pt x="5617" y="33086"/>
                  </a:cubicBezTo>
                  <a:cubicBezTo>
                    <a:pt x="3056" y="22165"/>
                    <a:pt x="427" y="11751"/>
                    <a:pt x="2247" y="931"/>
                  </a:cubicBezTo>
                  <a:cubicBezTo>
                    <a:pt x="2416" y="-113"/>
                    <a:pt x="764" y="-383"/>
                    <a:pt x="595" y="662"/>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sp>
          <p:nvSpPr>
            <p:cNvPr id="356" name="Freeform: Shape 355">
              <a:extLst>
                <a:ext uri="{FF2B5EF4-FFF2-40B4-BE49-F238E27FC236}">
                  <a16:creationId xmlns:a16="http://schemas.microsoft.com/office/drawing/2014/main" id="{9294CBA0-5512-44C1-A9D1-3AB8FDE0F5EC}"/>
                </a:ext>
              </a:extLst>
            </p:cNvPr>
            <p:cNvSpPr/>
            <p:nvPr/>
          </p:nvSpPr>
          <p:spPr>
            <a:xfrm>
              <a:off x="542155" y="3734471"/>
              <a:ext cx="107938" cy="16734"/>
            </a:xfrm>
            <a:custGeom>
              <a:avLst/>
              <a:gdLst>
                <a:gd name="connsiteX0" fmla="*/ 105774 w 107938"/>
                <a:gd name="connsiteY0" fmla="*/ 567 h 16734"/>
                <a:gd name="connsiteX1" fmla="*/ 55823 w 107938"/>
                <a:gd name="connsiteY1" fmla="*/ 13476 h 16734"/>
                <a:gd name="connsiteX2" fmla="*/ 25118 w 107938"/>
                <a:gd name="connsiteY2" fmla="*/ 10173 h 16734"/>
                <a:gd name="connsiteX3" fmla="*/ 1019 w 107938"/>
                <a:gd name="connsiteY3" fmla="*/ 8825 h 16734"/>
                <a:gd name="connsiteX4" fmla="*/ 1390 w 107938"/>
                <a:gd name="connsiteY4" fmla="*/ 11285 h 16734"/>
                <a:gd name="connsiteX5" fmla="*/ 46049 w 107938"/>
                <a:gd name="connsiteY5" fmla="*/ 15094 h 16734"/>
                <a:gd name="connsiteX6" fmla="*/ 92191 w 107938"/>
                <a:gd name="connsiteY6" fmla="*/ 13745 h 16734"/>
                <a:gd name="connsiteX7" fmla="*/ 107762 w 107938"/>
                <a:gd name="connsiteY7" fmla="*/ 2050 h 16734"/>
                <a:gd name="connsiteX8" fmla="*/ 105774 w 107938"/>
                <a:gd name="connsiteY8" fmla="*/ 567 h 16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938" h="16734">
                  <a:moveTo>
                    <a:pt x="105774" y="567"/>
                  </a:moveTo>
                  <a:cubicBezTo>
                    <a:pt x="96842" y="16813"/>
                    <a:pt x="71327" y="14622"/>
                    <a:pt x="55823" y="13476"/>
                  </a:cubicBezTo>
                  <a:cubicBezTo>
                    <a:pt x="45543" y="12701"/>
                    <a:pt x="35364" y="11319"/>
                    <a:pt x="25118" y="10173"/>
                  </a:cubicBezTo>
                  <a:cubicBezTo>
                    <a:pt x="17163" y="9263"/>
                    <a:pt x="9041" y="8251"/>
                    <a:pt x="1019" y="8825"/>
                  </a:cubicBezTo>
                  <a:cubicBezTo>
                    <a:pt x="-565" y="8959"/>
                    <a:pt x="-195" y="11420"/>
                    <a:pt x="1390" y="11285"/>
                  </a:cubicBezTo>
                  <a:cubicBezTo>
                    <a:pt x="16152" y="10173"/>
                    <a:pt x="31421" y="13577"/>
                    <a:pt x="46049" y="15094"/>
                  </a:cubicBezTo>
                  <a:cubicBezTo>
                    <a:pt x="61047" y="16644"/>
                    <a:pt x="77529" y="18363"/>
                    <a:pt x="92191" y="13745"/>
                  </a:cubicBezTo>
                  <a:cubicBezTo>
                    <a:pt x="98628" y="11723"/>
                    <a:pt x="104459" y="8049"/>
                    <a:pt x="107762" y="2050"/>
                  </a:cubicBezTo>
                  <a:cubicBezTo>
                    <a:pt x="108537" y="668"/>
                    <a:pt x="106549" y="-849"/>
                    <a:pt x="105774" y="567"/>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sp>
          <p:nvSpPr>
            <p:cNvPr id="357" name="Freeform: Shape 356">
              <a:extLst>
                <a:ext uri="{FF2B5EF4-FFF2-40B4-BE49-F238E27FC236}">
                  <a16:creationId xmlns:a16="http://schemas.microsoft.com/office/drawing/2014/main" id="{7B0EF851-02F9-45BB-8832-AC549EE76C66}"/>
                </a:ext>
              </a:extLst>
            </p:cNvPr>
            <p:cNvSpPr/>
            <p:nvPr/>
          </p:nvSpPr>
          <p:spPr>
            <a:xfrm>
              <a:off x="625506" y="3771150"/>
              <a:ext cx="57463" cy="110509"/>
            </a:xfrm>
            <a:custGeom>
              <a:avLst/>
              <a:gdLst>
                <a:gd name="connsiteX0" fmla="*/ 55083 w 57463"/>
                <a:gd name="connsiteY0" fmla="*/ 794 h 110509"/>
                <a:gd name="connsiteX1" fmla="*/ 32973 w 57463"/>
                <a:gd name="connsiteY1" fmla="*/ 56980 h 110509"/>
                <a:gd name="connsiteX2" fmla="*/ 245 w 57463"/>
                <a:gd name="connsiteY2" fmla="*/ 108515 h 110509"/>
                <a:gd name="connsiteX3" fmla="*/ 2234 w 57463"/>
                <a:gd name="connsiteY3" fmla="*/ 109998 h 110509"/>
                <a:gd name="connsiteX4" fmla="*/ 34658 w 57463"/>
                <a:gd name="connsiteY4" fmla="*/ 59104 h 110509"/>
                <a:gd name="connsiteX5" fmla="*/ 57409 w 57463"/>
                <a:gd name="connsiteY5" fmla="*/ 1704 h 110509"/>
                <a:gd name="connsiteX6" fmla="*/ 55083 w 57463"/>
                <a:gd name="connsiteY6" fmla="*/ 794 h 110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463" h="110509">
                  <a:moveTo>
                    <a:pt x="55083" y="794"/>
                  </a:moveTo>
                  <a:cubicBezTo>
                    <a:pt x="49690" y="20276"/>
                    <a:pt x="42376" y="39083"/>
                    <a:pt x="32973" y="56980"/>
                  </a:cubicBezTo>
                  <a:cubicBezTo>
                    <a:pt x="23468" y="75012"/>
                    <a:pt x="12076" y="91966"/>
                    <a:pt x="245" y="108515"/>
                  </a:cubicBezTo>
                  <a:cubicBezTo>
                    <a:pt x="-699" y="109830"/>
                    <a:pt x="1324" y="111313"/>
                    <a:pt x="2234" y="109998"/>
                  </a:cubicBezTo>
                  <a:cubicBezTo>
                    <a:pt x="13929" y="93618"/>
                    <a:pt x="25187" y="76900"/>
                    <a:pt x="34658" y="59104"/>
                  </a:cubicBezTo>
                  <a:cubicBezTo>
                    <a:pt x="44365" y="40836"/>
                    <a:pt x="51915" y="21624"/>
                    <a:pt x="57409" y="1704"/>
                  </a:cubicBezTo>
                  <a:cubicBezTo>
                    <a:pt x="57847" y="188"/>
                    <a:pt x="55521" y="-756"/>
                    <a:pt x="55083" y="794"/>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sp>
          <p:nvSpPr>
            <p:cNvPr id="358" name="Freeform: Shape 357">
              <a:extLst>
                <a:ext uri="{FF2B5EF4-FFF2-40B4-BE49-F238E27FC236}">
                  <a16:creationId xmlns:a16="http://schemas.microsoft.com/office/drawing/2014/main" id="{179CAA93-42CA-47DF-9954-175FDA500D95}"/>
                </a:ext>
              </a:extLst>
            </p:cNvPr>
            <p:cNvSpPr/>
            <p:nvPr/>
          </p:nvSpPr>
          <p:spPr>
            <a:xfrm>
              <a:off x="893037" y="3768501"/>
              <a:ext cx="2515" cy="2526"/>
            </a:xfrm>
            <a:custGeom>
              <a:avLst/>
              <a:gdLst>
                <a:gd name="connsiteX0" fmla="*/ 263 w 2515"/>
                <a:gd name="connsiteY0" fmla="*/ 511 h 2526"/>
                <a:gd name="connsiteX1" fmla="*/ 2252 w 2515"/>
                <a:gd name="connsiteY1" fmla="*/ 1995 h 2526"/>
                <a:gd name="connsiteX2" fmla="*/ 263 w 2515"/>
                <a:gd name="connsiteY2" fmla="*/ 511 h 2526"/>
              </a:gdLst>
              <a:ahLst/>
              <a:cxnLst>
                <a:cxn ang="0">
                  <a:pos x="connsiteX0" y="connsiteY0"/>
                </a:cxn>
                <a:cxn ang="0">
                  <a:pos x="connsiteX1" y="connsiteY1"/>
                </a:cxn>
                <a:cxn ang="0">
                  <a:pos x="connsiteX2" y="connsiteY2"/>
                </a:cxn>
              </a:cxnLst>
              <a:rect l="l" t="t" r="r" b="b"/>
              <a:pathLst>
                <a:path w="2515" h="2526">
                  <a:moveTo>
                    <a:pt x="263" y="511"/>
                  </a:moveTo>
                  <a:cubicBezTo>
                    <a:pt x="-714" y="1860"/>
                    <a:pt x="1274" y="3343"/>
                    <a:pt x="2252" y="1995"/>
                  </a:cubicBezTo>
                  <a:cubicBezTo>
                    <a:pt x="3229" y="680"/>
                    <a:pt x="1241" y="-803"/>
                    <a:pt x="263" y="511"/>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sp>
          <p:nvSpPr>
            <p:cNvPr id="359" name="Freeform: Shape 358">
              <a:extLst>
                <a:ext uri="{FF2B5EF4-FFF2-40B4-BE49-F238E27FC236}">
                  <a16:creationId xmlns:a16="http://schemas.microsoft.com/office/drawing/2014/main" id="{D1CF27F6-2C5A-4038-89D2-99C80662CE83}"/>
                </a:ext>
              </a:extLst>
            </p:cNvPr>
            <p:cNvSpPr/>
            <p:nvPr/>
          </p:nvSpPr>
          <p:spPr>
            <a:xfrm>
              <a:off x="830435" y="3793082"/>
              <a:ext cx="93730" cy="94876"/>
            </a:xfrm>
            <a:custGeom>
              <a:avLst/>
              <a:gdLst>
                <a:gd name="connsiteX0" fmla="*/ 2500 w 93730"/>
                <a:gd name="connsiteY0" fmla="*/ 1107 h 94876"/>
                <a:gd name="connsiteX1" fmla="*/ 5 w 93730"/>
                <a:gd name="connsiteY1" fmla="*/ 1276 h 94876"/>
                <a:gd name="connsiteX2" fmla="*/ 23902 w 93730"/>
                <a:gd name="connsiteY2" fmla="*/ 40238 h 94876"/>
                <a:gd name="connsiteX3" fmla="*/ 69775 w 93730"/>
                <a:gd name="connsiteY3" fmla="*/ 77483 h 94876"/>
                <a:gd name="connsiteX4" fmla="*/ 91683 w 93730"/>
                <a:gd name="connsiteY4" fmla="*/ 94571 h 94876"/>
                <a:gd name="connsiteX5" fmla="*/ 93301 w 93730"/>
                <a:gd name="connsiteY5" fmla="*/ 92683 h 94876"/>
                <a:gd name="connsiteX6" fmla="*/ 12544 w 93730"/>
                <a:gd name="connsiteY6" fmla="*/ 23757 h 94876"/>
                <a:gd name="connsiteX7" fmla="*/ 2500 w 93730"/>
                <a:gd name="connsiteY7" fmla="*/ 1107 h 94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30" h="94876">
                  <a:moveTo>
                    <a:pt x="2500" y="1107"/>
                  </a:moveTo>
                  <a:cubicBezTo>
                    <a:pt x="2331" y="-477"/>
                    <a:pt x="-129" y="-308"/>
                    <a:pt x="5" y="1276"/>
                  </a:cubicBezTo>
                  <a:cubicBezTo>
                    <a:pt x="1522" y="16814"/>
                    <a:pt x="13251" y="29824"/>
                    <a:pt x="23902" y="40238"/>
                  </a:cubicBezTo>
                  <a:cubicBezTo>
                    <a:pt x="37991" y="54024"/>
                    <a:pt x="54001" y="65719"/>
                    <a:pt x="69775" y="77483"/>
                  </a:cubicBezTo>
                  <a:cubicBezTo>
                    <a:pt x="77190" y="83010"/>
                    <a:pt x="84672" y="88538"/>
                    <a:pt x="91683" y="94571"/>
                  </a:cubicBezTo>
                  <a:cubicBezTo>
                    <a:pt x="92896" y="95616"/>
                    <a:pt x="94514" y="93728"/>
                    <a:pt x="93301" y="92683"/>
                  </a:cubicBezTo>
                  <a:cubicBezTo>
                    <a:pt x="66707" y="69697"/>
                    <a:pt x="33845" y="52406"/>
                    <a:pt x="12544" y="23757"/>
                  </a:cubicBezTo>
                  <a:cubicBezTo>
                    <a:pt x="7623" y="17117"/>
                    <a:pt x="3342" y="9533"/>
                    <a:pt x="2500" y="1107"/>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sp>
          <p:nvSpPr>
            <p:cNvPr id="360" name="Freeform: Shape 359">
              <a:extLst>
                <a:ext uri="{FF2B5EF4-FFF2-40B4-BE49-F238E27FC236}">
                  <a16:creationId xmlns:a16="http://schemas.microsoft.com/office/drawing/2014/main" id="{079FEAFE-88BA-4DCE-9661-B01853E740C6}"/>
                </a:ext>
              </a:extLst>
            </p:cNvPr>
            <p:cNvSpPr/>
            <p:nvPr/>
          </p:nvSpPr>
          <p:spPr>
            <a:xfrm>
              <a:off x="799177" y="3613260"/>
              <a:ext cx="133092" cy="85932"/>
            </a:xfrm>
            <a:custGeom>
              <a:avLst/>
              <a:gdLst>
                <a:gd name="connsiteX0" fmla="*/ 131165 w 133092"/>
                <a:gd name="connsiteY0" fmla="*/ 170 h 85932"/>
                <a:gd name="connsiteX1" fmla="*/ 16298 w 133092"/>
                <a:gd name="connsiteY1" fmla="*/ 59558 h 85932"/>
                <a:gd name="connsiteX2" fmla="*/ 53 w 133092"/>
                <a:gd name="connsiteY2" fmla="*/ 84466 h 85932"/>
                <a:gd name="connsiteX3" fmla="*/ 2479 w 133092"/>
                <a:gd name="connsiteY3" fmla="*/ 85005 h 85932"/>
                <a:gd name="connsiteX4" fmla="*/ 43262 w 133092"/>
                <a:gd name="connsiteY4" fmla="*/ 43514 h 85932"/>
                <a:gd name="connsiteX5" fmla="*/ 104875 w 133092"/>
                <a:gd name="connsiteY5" fmla="*/ 15269 h 85932"/>
                <a:gd name="connsiteX6" fmla="*/ 132513 w 133092"/>
                <a:gd name="connsiteY6" fmla="*/ 2259 h 85932"/>
                <a:gd name="connsiteX7" fmla="*/ 131165 w 133092"/>
                <a:gd name="connsiteY7" fmla="*/ 170 h 85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3092" h="85932">
                  <a:moveTo>
                    <a:pt x="131165" y="170"/>
                  </a:moveTo>
                  <a:cubicBezTo>
                    <a:pt x="93887" y="21404"/>
                    <a:pt x="48453" y="29628"/>
                    <a:pt x="16298" y="59558"/>
                  </a:cubicBezTo>
                  <a:cubicBezTo>
                    <a:pt x="8917" y="66434"/>
                    <a:pt x="2783" y="74658"/>
                    <a:pt x="53" y="84466"/>
                  </a:cubicBezTo>
                  <a:cubicBezTo>
                    <a:pt x="-386" y="86016"/>
                    <a:pt x="2041" y="86555"/>
                    <a:pt x="2479" y="85005"/>
                  </a:cubicBezTo>
                  <a:cubicBezTo>
                    <a:pt x="7872" y="65624"/>
                    <a:pt x="26713" y="52918"/>
                    <a:pt x="43262" y="43514"/>
                  </a:cubicBezTo>
                  <a:cubicBezTo>
                    <a:pt x="62946" y="32324"/>
                    <a:pt x="84113" y="24100"/>
                    <a:pt x="104875" y="15269"/>
                  </a:cubicBezTo>
                  <a:cubicBezTo>
                    <a:pt x="114245" y="11292"/>
                    <a:pt x="123649" y="7281"/>
                    <a:pt x="132513" y="2259"/>
                  </a:cubicBezTo>
                  <a:cubicBezTo>
                    <a:pt x="133895" y="1484"/>
                    <a:pt x="132547" y="-606"/>
                    <a:pt x="131165" y="170"/>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sp>
          <p:nvSpPr>
            <p:cNvPr id="361" name="Freeform: Shape 360">
              <a:extLst>
                <a:ext uri="{FF2B5EF4-FFF2-40B4-BE49-F238E27FC236}">
                  <a16:creationId xmlns:a16="http://schemas.microsoft.com/office/drawing/2014/main" id="{C76A2AE4-CC75-41BA-B2AF-C38BEFE44358}"/>
                </a:ext>
              </a:extLst>
            </p:cNvPr>
            <p:cNvSpPr/>
            <p:nvPr/>
          </p:nvSpPr>
          <p:spPr>
            <a:xfrm>
              <a:off x="792967" y="3629771"/>
              <a:ext cx="32120" cy="42567"/>
            </a:xfrm>
            <a:custGeom>
              <a:avLst/>
              <a:gdLst>
                <a:gd name="connsiteX0" fmla="*/ 29856 w 32120"/>
                <a:gd name="connsiteY0" fmla="*/ 511 h 42567"/>
                <a:gd name="connsiteX1" fmla="*/ 263 w 32120"/>
                <a:gd name="connsiteY1" fmla="*/ 40553 h 42567"/>
                <a:gd name="connsiteX2" fmla="*/ 2252 w 32120"/>
                <a:gd name="connsiteY2" fmla="*/ 42036 h 42567"/>
                <a:gd name="connsiteX3" fmla="*/ 31845 w 32120"/>
                <a:gd name="connsiteY3" fmla="*/ 1995 h 42567"/>
                <a:gd name="connsiteX4" fmla="*/ 29856 w 32120"/>
                <a:gd name="connsiteY4" fmla="*/ 511 h 425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20" h="42567">
                  <a:moveTo>
                    <a:pt x="29856" y="511"/>
                  </a:moveTo>
                  <a:lnTo>
                    <a:pt x="263" y="40553"/>
                  </a:lnTo>
                  <a:cubicBezTo>
                    <a:pt x="-714" y="41901"/>
                    <a:pt x="1274" y="43384"/>
                    <a:pt x="2252" y="42036"/>
                  </a:cubicBezTo>
                  <a:lnTo>
                    <a:pt x="31845" y="1995"/>
                  </a:lnTo>
                  <a:cubicBezTo>
                    <a:pt x="32856" y="680"/>
                    <a:pt x="30834" y="-803"/>
                    <a:pt x="29856" y="511"/>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sp>
          <p:nvSpPr>
            <p:cNvPr id="362" name="Freeform: Shape 361">
              <a:extLst>
                <a:ext uri="{FF2B5EF4-FFF2-40B4-BE49-F238E27FC236}">
                  <a16:creationId xmlns:a16="http://schemas.microsoft.com/office/drawing/2014/main" id="{052F725B-1376-472D-80B3-975D55F20CEA}"/>
                </a:ext>
              </a:extLst>
            </p:cNvPr>
            <p:cNvSpPr/>
            <p:nvPr/>
          </p:nvSpPr>
          <p:spPr>
            <a:xfrm>
              <a:off x="749736" y="3861808"/>
              <a:ext cx="16990" cy="84808"/>
            </a:xfrm>
            <a:custGeom>
              <a:avLst/>
              <a:gdLst>
                <a:gd name="connsiteX0" fmla="*/ 251 w 16990"/>
                <a:gd name="connsiteY0" fmla="*/ 2015 h 84808"/>
                <a:gd name="connsiteX1" fmla="*/ 1531 w 16990"/>
                <a:gd name="connsiteY1" fmla="*/ 19171 h 84808"/>
                <a:gd name="connsiteX2" fmla="*/ 5037 w 16990"/>
                <a:gd name="connsiteY2" fmla="*/ 42562 h 84808"/>
                <a:gd name="connsiteX3" fmla="*/ 12856 w 16990"/>
                <a:gd name="connsiteY3" fmla="*/ 84053 h 84808"/>
                <a:gd name="connsiteX4" fmla="*/ 14778 w 16990"/>
                <a:gd name="connsiteY4" fmla="*/ 84525 h 84808"/>
                <a:gd name="connsiteX5" fmla="*/ 16530 w 16990"/>
                <a:gd name="connsiteY5" fmla="*/ 83109 h 84808"/>
                <a:gd name="connsiteX6" fmla="*/ 14980 w 16990"/>
                <a:gd name="connsiteY6" fmla="*/ 81155 h 84808"/>
                <a:gd name="connsiteX7" fmla="*/ 14542 w 16990"/>
                <a:gd name="connsiteY7" fmla="*/ 81525 h 84808"/>
                <a:gd name="connsiteX8" fmla="*/ 10362 w 16990"/>
                <a:gd name="connsiteY8" fmla="*/ 61673 h 84808"/>
                <a:gd name="connsiteX9" fmla="*/ 6688 w 16990"/>
                <a:gd name="connsiteY9" fmla="*/ 37540 h 84808"/>
                <a:gd name="connsiteX10" fmla="*/ 4059 w 16990"/>
                <a:gd name="connsiteY10" fmla="*/ 14452 h 84808"/>
                <a:gd name="connsiteX11" fmla="*/ 2239 w 16990"/>
                <a:gd name="connsiteY11" fmla="*/ 465 h 84808"/>
                <a:gd name="connsiteX12" fmla="*/ 251 w 16990"/>
                <a:gd name="connsiteY12" fmla="*/ 2015 h 84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990" h="84808">
                  <a:moveTo>
                    <a:pt x="251" y="2015"/>
                  </a:moveTo>
                  <a:cubicBezTo>
                    <a:pt x="3520" y="6363"/>
                    <a:pt x="1228" y="14082"/>
                    <a:pt x="1531" y="19171"/>
                  </a:cubicBezTo>
                  <a:cubicBezTo>
                    <a:pt x="2003" y="27024"/>
                    <a:pt x="3722" y="34810"/>
                    <a:pt x="5037" y="42562"/>
                  </a:cubicBezTo>
                  <a:cubicBezTo>
                    <a:pt x="7295" y="56112"/>
                    <a:pt x="7362" y="71279"/>
                    <a:pt x="12856" y="84053"/>
                  </a:cubicBezTo>
                  <a:cubicBezTo>
                    <a:pt x="13160" y="84795"/>
                    <a:pt x="14137" y="85064"/>
                    <a:pt x="14778" y="84525"/>
                  </a:cubicBezTo>
                  <a:cubicBezTo>
                    <a:pt x="15350" y="84053"/>
                    <a:pt x="15957" y="83581"/>
                    <a:pt x="16530" y="83109"/>
                  </a:cubicBezTo>
                  <a:cubicBezTo>
                    <a:pt x="17777" y="82098"/>
                    <a:pt x="16227" y="80143"/>
                    <a:pt x="14980" y="81155"/>
                  </a:cubicBezTo>
                  <a:cubicBezTo>
                    <a:pt x="14845" y="81289"/>
                    <a:pt x="14676" y="81390"/>
                    <a:pt x="14542" y="81525"/>
                  </a:cubicBezTo>
                  <a:cubicBezTo>
                    <a:pt x="12115" y="75189"/>
                    <a:pt x="11272" y="68380"/>
                    <a:pt x="10362" y="61673"/>
                  </a:cubicBezTo>
                  <a:cubicBezTo>
                    <a:pt x="9250" y="53618"/>
                    <a:pt x="8138" y="45528"/>
                    <a:pt x="6688" y="37540"/>
                  </a:cubicBezTo>
                  <a:cubicBezTo>
                    <a:pt x="5306" y="29991"/>
                    <a:pt x="3790" y="22171"/>
                    <a:pt x="4059" y="14452"/>
                  </a:cubicBezTo>
                  <a:cubicBezTo>
                    <a:pt x="4228" y="9970"/>
                    <a:pt x="5104" y="4274"/>
                    <a:pt x="2239" y="465"/>
                  </a:cubicBezTo>
                  <a:cubicBezTo>
                    <a:pt x="1262" y="-782"/>
                    <a:pt x="-693" y="735"/>
                    <a:pt x="251" y="2015"/>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sp>
          <p:nvSpPr>
            <p:cNvPr id="363" name="Freeform: Shape 362">
              <a:extLst>
                <a:ext uri="{FF2B5EF4-FFF2-40B4-BE49-F238E27FC236}">
                  <a16:creationId xmlns:a16="http://schemas.microsoft.com/office/drawing/2014/main" id="{2BAC26EB-F5C6-4279-99A7-A887CDE16769}"/>
                </a:ext>
              </a:extLst>
            </p:cNvPr>
            <p:cNvSpPr/>
            <p:nvPr/>
          </p:nvSpPr>
          <p:spPr>
            <a:xfrm>
              <a:off x="607227" y="3624507"/>
              <a:ext cx="38417" cy="22686"/>
            </a:xfrm>
            <a:custGeom>
              <a:avLst/>
              <a:gdLst>
                <a:gd name="connsiteX0" fmla="*/ 36455 w 38417"/>
                <a:gd name="connsiteY0" fmla="*/ 18583 h 22686"/>
                <a:gd name="connsiteX1" fmla="*/ 27320 w 38417"/>
                <a:gd name="connsiteY1" fmla="*/ 15617 h 22686"/>
                <a:gd name="connsiteX2" fmla="*/ 19905 w 38417"/>
                <a:gd name="connsiteY2" fmla="*/ 11101 h 22686"/>
                <a:gd name="connsiteX3" fmla="*/ 1974 w 38417"/>
                <a:gd name="connsiteY3" fmla="*/ 248 h 22686"/>
                <a:gd name="connsiteX4" fmla="*/ 491 w 38417"/>
                <a:gd name="connsiteY4" fmla="*/ 2237 h 22686"/>
                <a:gd name="connsiteX5" fmla="*/ 17142 w 38417"/>
                <a:gd name="connsiteY5" fmla="*/ 12618 h 22686"/>
                <a:gd name="connsiteX6" fmla="*/ 34668 w 38417"/>
                <a:gd name="connsiteY6" fmla="*/ 22594 h 22686"/>
                <a:gd name="connsiteX7" fmla="*/ 35882 w 38417"/>
                <a:gd name="connsiteY7" fmla="*/ 22426 h 22686"/>
                <a:gd name="connsiteX8" fmla="*/ 37971 w 38417"/>
                <a:gd name="connsiteY8" fmla="*/ 20538 h 22686"/>
                <a:gd name="connsiteX9" fmla="*/ 36455 w 38417"/>
                <a:gd name="connsiteY9" fmla="*/ 18583 h 22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417" h="22686">
                  <a:moveTo>
                    <a:pt x="36455" y="18583"/>
                  </a:moveTo>
                  <a:cubicBezTo>
                    <a:pt x="33590" y="21145"/>
                    <a:pt x="29983" y="17404"/>
                    <a:pt x="27320" y="15617"/>
                  </a:cubicBezTo>
                  <a:cubicBezTo>
                    <a:pt x="24927" y="14000"/>
                    <a:pt x="22534" y="12348"/>
                    <a:pt x="19905" y="11101"/>
                  </a:cubicBezTo>
                  <a:cubicBezTo>
                    <a:pt x="13434" y="8000"/>
                    <a:pt x="7738" y="4495"/>
                    <a:pt x="1974" y="248"/>
                  </a:cubicBezTo>
                  <a:cubicBezTo>
                    <a:pt x="694" y="-696"/>
                    <a:pt x="-789" y="1293"/>
                    <a:pt x="491" y="2237"/>
                  </a:cubicBezTo>
                  <a:cubicBezTo>
                    <a:pt x="5783" y="6146"/>
                    <a:pt x="11075" y="9989"/>
                    <a:pt x="17142" y="12618"/>
                  </a:cubicBezTo>
                  <a:cubicBezTo>
                    <a:pt x="23343" y="15314"/>
                    <a:pt x="28399" y="20033"/>
                    <a:pt x="34668" y="22594"/>
                  </a:cubicBezTo>
                  <a:cubicBezTo>
                    <a:pt x="35039" y="22763"/>
                    <a:pt x="35578" y="22695"/>
                    <a:pt x="35882" y="22426"/>
                  </a:cubicBezTo>
                  <a:cubicBezTo>
                    <a:pt x="36589" y="21785"/>
                    <a:pt x="37263" y="21179"/>
                    <a:pt x="37971" y="20538"/>
                  </a:cubicBezTo>
                  <a:cubicBezTo>
                    <a:pt x="39185" y="19460"/>
                    <a:pt x="37668" y="17505"/>
                    <a:pt x="36455" y="18583"/>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sp>
          <p:nvSpPr>
            <p:cNvPr id="364" name="Freeform: Shape 363">
              <a:extLst>
                <a:ext uri="{FF2B5EF4-FFF2-40B4-BE49-F238E27FC236}">
                  <a16:creationId xmlns:a16="http://schemas.microsoft.com/office/drawing/2014/main" id="{DF7FE287-7A62-480F-9CDD-767999C05D13}"/>
                </a:ext>
              </a:extLst>
            </p:cNvPr>
            <p:cNvSpPr/>
            <p:nvPr/>
          </p:nvSpPr>
          <p:spPr>
            <a:xfrm>
              <a:off x="912145" y="3591096"/>
              <a:ext cx="28423" cy="39735"/>
            </a:xfrm>
            <a:custGeom>
              <a:avLst/>
              <a:gdLst>
                <a:gd name="connsiteX0" fmla="*/ 7310 w 28423"/>
                <a:gd name="connsiteY0" fmla="*/ 123 h 39735"/>
                <a:gd name="connsiteX1" fmla="*/ 199 w 28423"/>
                <a:gd name="connsiteY1" fmla="*/ 7740 h 39735"/>
                <a:gd name="connsiteX2" fmla="*/ 536 w 28423"/>
                <a:gd name="connsiteY2" fmla="*/ 12223 h 39735"/>
                <a:gd name="connsiteX3" fmla="*/ 603 w 28423"/>
                <a:gd name="connsiteY3" fmla="*/ 12560 h 39735"/>
                <a:gd name="connsiteX4" fmla="*/ 8928 w 28423"/>
                <a:gd name="connsiteY4" fmla="*/ 29008 h 39735"/>
                <a:gd name="connsiteX5" fmla="*/ 18197 w 28423"/>
                <a:gd name="connsiteY5" fmla="*/ 38344 h 39735"/>
                <a:gd name="connsiteX6" fmla="*/ 25713 w 28423"/>
                <a:gd name="connsiteY6" fmla="*/ 38748 h 39735"/>
                <a:gd name="connsiteX7" fmla="*/ 27028 w 28423"/>
                <a:gd name="connsiteY7" fmla="*/ 37771 h 39735"/>
                <a:gd name="connsiteX8" fmla="*/ 26522 w 28423"/>
                <a:gd name="connsiteY8" fmla="*/ 26244 h 39735"/>
                <a:gd name="connsiteX9" fmla="*/ 23691 w 28423"/>
                <a:gd name="connsiteY9" fmla="*/ 21256 h 39735"/>
                <a:gd name="connsiteX10" fmla="*/ 22646 w 28423"/>
                <a:gd name="connsiteY10" fmla="*/ 16672 h 39735"/>
                <a:gd name="connsiteX11" fmla="*/ 15231 w 28423"/>
                <a:gd name="connsiteY11" fmla="*/ 5987 h 39735"/>
                <a:gd name="connsiteX12" fmla="*/ 7310 w 28423"/>
                <a:gd name="connsiteY12" fmla="*/ 123 h 39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423" h="39735">
                  <a:moveTo>
                    <a:pt x="7310" y="123"/>
                  </a:moveTo>
                  <a:cubicBezTo>
                    <a:pt x="2356" y="-787"/>
                    <a:pt x="468" y="3527"/>
                    <a:pt x="199" y="7740"/>
                  </a:cubicBezTo>
                  <a:cubicBezTo>
                    <a:pt x="-172" y="9189"/>
                    <a:pt x="-4" y="10773"/>
                    <a:pt x="536" y="12223"/>
                  </a:cubicBezTo>
                  <a:cubicBezTo>
                    <a:pt x="569" y="12324"/>
                    <a:pt x="603" y="12459"/>
                    <a:pt x="603" y="12560"/>
                  </a:cubicBezTo>
                  <a:cubicBezTo>
                    <a:pt x="2154" y="18424"/>
                    <a:pt x="5389" y="24121"/>
                    <a:pt x="8928" y="29008"/>
                  </a:cubicBezTo>
                  <a:cubicBezTo>
                    <a:pt x="11321" y="32277"/>
                    <a:pt x="14355" y="36389"/>
                    <a:pt x="18197" y="38344"/>
                  </a:cubicBezTo>
                  <a:cubicBezTo>
                    <a:pt x="20388" y="39827"/>
                    <a:pt x="22983" y="40366"/>
                    <a:pt x="25713" y="38748"/>
                  </a:cubicBezTo>
                  <a:cubicBezTo>
                    <a:pt x="26185" y="38479"/>
                    <a:pt x="26657" y="38175"/>
                    <a:pt x="27028" y="37771"/>
                  </a:cubicBezTo>
                  <a:cubicBezTo>
                    <a:pt x="29758" y="34940"/>
                    <a:pt x="27870" y="29311"/>
                    <a:pt x="26522" y="26244"/>
                  </a:cubicBezTo>
                  <a:cubicBezTo>
                    <a:pt x="25747" y="24491"/>
                    <a:pt x="24770" y="22840"/>
                    <a:pt x="23691" y="21256"/>
                  </a:cubicBezTo>
                  <a:cubicBezTo>
                    <a:pt x="23320" y="19739"/>
                    <a:pt x="23051" y="18188"/>
                    <a:pt x="22646" y="16672"/>
                  </a:cubicBezTo>
                  <a:cubicBezTo>
                    <a:pt x="21433" y="11987"/>
                    <a:pt x="19242" y="8785"/>
                    <a:pt x="15231" y="5987"/>
                  </a:cubicBezTo>
                  <a:cubicBezTo>
                    <a:pt x="12838" y="4302"/>
                    <a:pt x="10445" y="696"/>
                    <a:pt x="7310" y="123"/>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sp>
          <p:nvSpPr>
            <p:cNvPr id="365" name="Freeform: Shape 364">
              <a:extLst>
                <a:ext uri="{FF2B5EF4-FFF2-40B4-BE49-F238E27FC236}">
                  <a16:creationId xmlns:a16="http://schemas.microsoft.com/office/drawing/2014/main" id="{D4BB0A8F-12B9-4C32-BDBC-918A31902944}"/>
                </a:ext>
              </a:extLst>
            </p:cNvPr>
            <p:cNvSpPr/>
            <p:nvPr/>
          </p:nvSpPr>
          <p:spPr>
            <a:xfrm>
              <a:off x="730032" y="3528884"/>
              <a:ext cx="36925" cy="20188"/>
            </a:xfrm>
            <a:custGeom>
              <a:avLst/>
              <a:gdLst>
                <a:gd name="connsiteX0" fmla="*/ 25854 w 36925"/>
                <a:gd name="connsiteY0" fmla="*/ 857 h 20188"/>
                <a:gd name="connsiteX1" fmla="*/ 6575 w 36925"/>
                <a:gd name="connsiteY1" fmla="*/ 3048 h 20188"/>
                <a:gd name="connsiteX2" fmla="*/ 3609 w 36925"/>
                <a:gd name="connsiteY2" fmla="*/ 5407 h 20188"/>
                <a:gd name="connsiteX3" fmla="*/ 1586 w 36925"/>
                <a:gd name="connsiteY3" fmla="*/ 6587 h 20188"/>
                <a:gd name="connsiteX4" fmla="*/ 879 w 36925"/>
                <a:gd name="connsiteY4" fmla="*/ 12418 h 20188"/>
                <a:gd name="connsiteX5" fmla="*/ 1721 w 36925"/>
                <a:gd name="connsiteY5" fmla="*/ 13261 h 20188"/>
                <a:gd name="connsiteX6" fmla="*/ 2530 w 36925"/>
                <a:gd name="connsiteY6" fmla="*/ 15721 h 20188"/>
                <a:gd name="connsiteX7" fmla="*/ 17832 w 36925"/>
                <a:gd name="connsiteY7" fmla="*/ 19833 h 20188"/>
                <a:gd name="connsiteX8" fmla="*/ 31280 w 36925"/>
                <a:gd name="connsiteY8" fmla="*/ 14777 h 20188"/>
                <a:gd name="connsiteX9" fmla="*/ 33572 w 36925"/>
                <a:gd name="connsiteY9" fmla="*/ 13631 h 20188"/>
                <a:gd name="connsiteX10" fmla="*/ 34112 w 36925"/>
                <a:gd name="connsiteY10" fmla="*/ 2643 h 20188"/>
                <a:gd name="connsiteX11" fmla="*/ 25854 w 36925"/>
                <a:gd name="connsiteY11" fmla="*/ 857 h 2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925" h="20188">
                  <a:moveTo>
                    <a:pt x="25854" y="857"/>
                  </a:moveTo>
                  <a:cubicBezTo>
                    <a:pt x="20023" y="-1233"/>
                    <a:pt x="10855" y="891"/>
                    <a:pt x="6575" y="3048"/>
                  </a:cubicBezTo>
                  <a:cubicBezTo>
                    <a:pt x="5429" y="3621"/>
                    <a:pt x="4418" y="4463"/>
                    <a:pt x="3609" y="5407"/>
                  </a:cubicBezTo>
                  <a:cubicBezTo>
                    <a:pt x="2935" y="5778"/>
                    <a:pt x="2261" y="6182"/>
                    <a:pt x="1586" y="6587"/>
                  </a:cubicBezTo>
                  <a:cubicBezTo>
                    <a:pt x="-200" y="7665"/>
                    <a:pt x="-537" y="10935"/>
                    <a:pt x="879" y="12418"/>
                  </a:cubicBezTo>
                  <a:cubicBezTo>
                    <a:pt x="1148" y="12721"/>
                    <a:pt x="1452" y="12991"/>
                    <a:pt x="1721" y="13261"/>
                  </a:cubicBezTo>
                  <a:cubicBezTo>
                    <a:pt x="1789" y="14103"/>
                    <a:pt x="2092" y="14979"/>
                    <a:pt x="2530" y="15721"/>
                  </a:cubicBezTo>
                  <a:cubicBezTo>
                    <a:pt x="5530" y="20642"/>
                    <a:pt x="12878" y="20541"/>
                    <a:pt x="17832" y="19833"/>
                  </a:cubicBezTo>
                  <a:cubicBezTo>
                    <a:pt x="22248" y="19226"/>
                    <a:pt x="27708" y="17878"/>
                    <a:pt x="31280" y="14777"/>
                  </a:cubicBezTo>
                  <a:cubicBezTo>
                    <a:pt x="32089" y="14440"/>
                    <a:pt x="32865" y="14069"/>
                    <a:pt x="33572" y="13631"/>
                  </a:cubicBezTo>
                  <a:cubicBezTo>
                    <a:pt x="37684" y="10968"/>
                    <a:pt x="38190" y="5711"/>
                    <a:pt x="34112" y="2643"/>
                  </a:cubicBezTo>
                  <a:cubicBezTo>
                    <a:pt x="31516" y="655"/>
                    <a:pt x="28719" y="588"/>
                    <a:pt x="25854" y="857"/>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sp>
          <p:nvSpPr>
            <p:cNvPr id="366" name="Freeform: Shape 365">
              <a:extLst>
                <a:ext uri="{FF2B5EF4-FFF2-40B4-BE49-F238E27FC236}">
                  <a16:creationId xmlns:a16="http://schemas.microsoft.com/office/drawing/2014/main" id="{0C889419-6D1F-4061-97FD-37033D432778}"/>
                </a:ext>
              </a:extLst>
            </p:cNvPr>
            <p:cNvSpPr/>
            <p:nvPr/>
          </p:nvSpPr>
          <p:spPr>
            <a:xfrm>
              <a:off x="591452" y="3606462"/>
              <a:ext cx="23111" cy="29625"/>
            </a:xfrm>
            <a:custGeom>
              <a:avLst/>
              <a:gdLst>
                <a:gd name="connsiteX0" fmla="*/ 19031 w 23111"/>
                <a:gd name="connsiteY0" fmla="*/ 160 h 29625"/>
                <a:gd name="connsiteX1" fmla="*/ 13638 w 23111"/>
                <a:gd name="connsiteY1" fmla="*/ 3733 h 29625"/>
                <a:gd name="connsiteX2" fmla="*/ 6964 w 23111"/>
                <a:gd name="connsiteY2" fmla="*/ 8013 h 29625"/>
                <a:gd name="connsiteX3" fmla="*/ 5987 w 23111"/>
                <a:gd name="connsiteY3" fmla="*/ 8923 h 29625"/>
                <a:gd name="connsiteX4" fmla="*/ 5043 w 23111"/>
                <a:gd name="connsiteY4" fmla="*/ 29618 h 29625"/>
                <a:gd name="connsiteX5" fmla="*/ 23109 w 23111"/>
                <a:gd name="connsiteY5" fmla="*/ 396 h 29625"/>
                <a:gd name="connsiteX6" fmla="*/ 19031 w 23111"/>
                <a:gd name="connsiteY6" fmla="*/ 160 h 29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111" h="29625">
                  <a:moveTo>
                    <a:pt x="19031" y="160"/>
                  </a:moveTo>
                  <a:cubicBezTo>
                    <a:pt x="17042" y="598"/>
                    <a:pt x="15256" y="1879"/>
                    <a:pt x="13638" y="3733"/>
                  </a:cubicBezTo>
                  <a:cubicBezTo>
                    <a:pt x="11110" y="4238"/>
                    <a:pt x="8852" y="6024"/>
                    <a:pt x="6964" y="8013"/>
                  </a:cubicBezTo>
                  <a:cubicBezTo>
                    <a:pt x="6627" y="8249"/>
                    <a:pt x="6290" y="8552"/>
                    <a:pt x="5987" y="8923"/>
                  </a:cubicBezTo>
                  <a:cubicBezTo>
                    <a:pt x="3054" y="12597"/>
                    <a:pt x="-5338" y="29011"/>
                    <a:pt x="5043" y="29618"/>
                  </a:cubicBezTo>
                  <a:cubicBezTo>
                    <a:pt x="13537" y="30123"/>
                    <a:pt x="23277" y="5991"/>
                    <a:pt x="23109" y="396"/>
                  </a:cubicBezTo>
                  <a:cubicBezTo>
                    <a:pt x="21660" y="-43"/>
                    <a:pt x="20311" y="-110"/>
                    <a:pt x="19031" y="160"/>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sp>
          <p:nvSpPr>
            <p:cNvPr id="367" name="Freeform: Shape 366">
              <a:extLst>
                <a:ext uri="{FF2B5EF4-FFF2-40B4-BE49-F238E27FC236}">
                  <a16:creationId xmlns:a16="http://schemas.microsoft.com/office/drawing/2014/main" id="{58403C72-150D-4D3E-B775-35EF2B0A494A}"/>
                </a:ext>
              </a:extLst>
            </p:cNvPr>
            <p:cNvSpPr/>
            <p:nvPr/>
          </p:nvSpPr>
          <p:spPr>
            <a:xfrm>
              <a:off x="885124" y="3725970"/>
              <a:ext cx="42579" cy="7137"/>
            </a:xfrm>
            <a:custGeom>
              <a:avLst/>
              <a:gdLst>
                <a:gd name="connsiteX0" fmla="*/ 2380 w 42579"/>
                <a:gd name="connsiteY0" fmla="*/ 6303 h 7137"/>
                <a:gd name="connsiteX1" fmla="*/ 11682 w 42579"/>
                <a:gd name="connsiteY1" fmla="*/ 3809 h 7137"/>
                <a:gd name="connsiteX2" fmla="*/ 20344 w 42579"/>
                <a:gd name="connsiteY2" fmla="*/ 3539 h 7137"/>
                <a:gd name="connsiteX3" fmla="*/ 41309 w 42579"/>
                <a:gd name="connsiteY3" fmla="*/ 2865 h 7137"/>
                <a:gd name="connsiteX4" fmla="*/ 41444 w 42579"/>
                <a:gd name="connsiteY4" fmla="*/ 371 h 7137"/>
                <a:gd name="connsiteX5" fmla="*/ 21827 w 42579"/>
                <a:gd name="connsiteY5" fmla="*/ 742 h 7137"/>
                <a:gd name="connsiteX6" fmla="*/ 1706 w 42579"/>
                <a:gd name="connsiteY6" fmla="*/ 1955 h 7137"/>
                <a:gd name="connsiteX7" fmla="*/ 796 w 42579"/>
                <a:gd name="connsiteY7" fmla="*/ 2764 h 7137"/>
                <a:gd name="connsiteX8" fmla="*/ 54 w 42579"/>
                <a:gd name="connsiteY8" fmla="*/ 5494 h 7137"/>
                <a:gd name="connsiteX9" fmla="*/ 2380 w 42579"/>
                <a:gd name="connsiteY9" fmla="*/ 6303 h 7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579" h="7137">
                  <a:moveTo>
                    <a:pt x="2380" y="6303"/>
                  </a:moveTo>
                  <a:cubicBezTo>
                    <a:pt x="3391" y="2562"/>
                    <a:pt x="8480" y="3775"/>
                    <a:pt x="11682" y="3809"/>
                  </a:cubicBezTo>
                  <a:cubicBezTo>
                    <a:pt x="14581" y="3843"/>
                    <a:pt x="17479" y="3910"/>
                    <a:pt x="20344" y="3539"/>
                  </a:cubicBezTo>
                  <a:cubicBezTo>
                    <a:pt x="27456" y="2596"/>
                    <a:pt x="34130" y="2427"/>
                    <a:pt x="41309" y="2865"/>
                  </a:cubicBezTo>
                  <a:cubicBezTo>
                    <a:pt x="42893" y="2966"/>
                    <a:pt x="43061" y="472"/>
                    <a:pt x="41444" y="371"/>
                  </a:cubicBezTo>
                  <a:cubicBezTo>
                    <a:pt x="34871" y="-33"/>
                    <a:pt x="28332" y="-337"/>
                    <a:pt x="21827" y="742"/>
                  </a:cubicBezTo>
                  <a:cubicBezTo>
                    <a:pt x="15154" y="1854"/>
                    <a:pt x="8345" y="674"/>
                    <a:pt x="1706" y="1955"/>
                  </a:cubicBezTo>
                  <a:cubicBezTo>
                    <a:pt x="1301" y="2023"/>
                    <a:pt x="897" y="2360"/>
                    <a:pt x="796" y="2764"/>
                  </a:cubicBezTo>
                  <a:cubicBezTo>
                    <a:pt x="560" y="3674"/>
                    <a:pt x="324" y="4584"/>
                    <a:pt x="54" y="5494"/>
                  </a:cubicBezTo>
                  <a:cubicBezTo>
                    <a:pt x="-384" y="7044"/>
                    <a:pt x="1975" y="7854"/>
                    <a:pt x="2380" y="6303"/>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sp>
          <p:nvSpPr>
            <p:cNvPr id="368" name="Freeform: Shape 367">
              <a:extLst>
                <a:ext uri="{FF2B5EF4-FFF2-40B4-BE49-F238E27FC236}">
                  <a16:creationId xmlns:a16="http://schemas.microsoft.com/office/drawing/2014/main" id="{B7E2ED18-90F7-44D4-9B1E-008E0081B13E}"/>
                </a:ext>
              </a:extLst>
            </p:cNvPr>
            <p:cNvSpPr/>
            <p:nvPr/>
          </p:nvSpPr>
          <p:spPr>
            <a:xfrm>
              <a:off x="925733" y="3710796"/>
              <a:ext cx="19230" cy="35883"/>
            </a:xfrm>
            <a:custGeom>
              <a:avLst/>
              <a:gdLst>
                <a:gd name="connsiteX0" fmla="*/ 16911 w 19230"/>
                <a:gd name="connsiteY0" fmla="*/ 33847 h 35883"/>
                <a:gd name="connsiteX1" fmla="*/ 5114 w 19230"/>
                <a:gd name="connsiteY1" fmla="*/ 1525 h 35883"/>
                <a:gd name="connsiteX2" fmla="*/ 6698 w 19230"/>
                <a:gd name="connsiteY2" fmla="*/ 35600 h 35883"/>
                <a:gd name="connsiteX3" fmla="*/ 16911 w 19230"/>
                <a:gd name="connsiteY3" fmla="*/ 33847 h 35883"/>
              </a:gdLst>
              <a:ahLst/>
              <a:cxnLst>
                <a:cxn ang="0">
                  <a:pos x="connsiteX0" y="connsiteY0"/>
                </a:cxn>
                <a:cxn ang="0">
                  <a:pos x="connsiteX1" y="connsiteY1"/>
                </a:cxn>
                <a:cxn ang="0">
                  <a:pos x="connsiteX2" y="connsiteY2"/>
                </a:cxn>
                <a:cxn ang="0">
                  <a:pos x="connsiteX3" y="connsiteY3"/>
                </a:cxn>
              </a:cxnLst>
              <a:rect l="l" t="t" r="r" b="b"/>
              <a:pathLst>
                <a:path w="19230" h="35883">
                  <a:moveTo>
                    <a:pt x="16911" y="33847"/>
                  </a:moveTo>
                  <a:cubicBezTo>
                    <a:pt x="21259" y="24714"/>
                    <a:pt x="20619" y="-7306"/>
                    <a:pt x="5114" y="1525"/>
                  </a:cubicBezTo>
                  <a:cubicBezTo>
                    <a:pt x="-5132" y="7389"/>
                    <a:pt x="2485" y="28353"/>
                    <a:pt x="6698" y="35600"/>
                  </a:cubicBezTo>
                  <a:cubicBezTo>
                    <a:pt x="7137" y="36274"/>
                    <a:pt x="16001" y="35769"/>
                    <a:pt x="16911" y="33847"/>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sp>
          <p:nvSpPr>
            <p:cNvPr id="369" name="Freeform: Shape 368">
              <a:extLst>
                <a:ext uri="{FF2B5EF4-FFF2-40B4-BE49-F238E27FC236}">
                  <a16:creationId xmlns:a16="http://schemas.microsoft.com/office/drawing/2014/main" id="{BB8F5A64-307E-4459-881C-E0BF33511911}"/>
                </a:ext>
              </a:extLst>
            </p:cNvPr>
            <p:cNvSpPr/>
            <p:nvPr/>
          </p:nvSpPr>
          <p:spPr>
            <a:xfrm>
              <a:off x="533411" y="3716466"/>
              <a:ext cx="24989" cy="54983"/>
            </a:xfrm>
            <a:custGeom>
              <a:avLst/>
              <a:gdLst>
                <a:gd name="connsiteX0" fmla="*/ 20346 w 24989"/>
                <a:gd name="connsiteY0" fmla="*/ 4348 h 54983"/>
                <a:gd name="connsiteX1" fmla="*/ 16100 w 24989"/>
                <a:gd name="connsiteY1" fmla="*/ 33 h 54983"/>
                <a:gd name="connsiteX2" fmla="*/ 2887 w 24989"/>
                <a:gd name="connsiteY2" fmla="*/ 49580 h 54983"/>
                <a:gd name="connsiteX3" fmla="*/ 8887 w 24989"/>
                <a:gd name="connsiteY3" fmla="*/ 54838 h 54983"/>
                <a:gd name="connsiteX4" fmla="*/ 14145 w 24989"/>
                <a:gd name="connsiteY4" fmla="*/ 52849 h 54983"/>
                <a:gd name="connsiteX5" fmla="*/ 17886 w 24989"/>
                <a:gd name="connsiteY5" fmla="*/ 50658 h 54983"/>
                <a:gd name="connsiteX6" fmla="*/ 24121 w 24989"/>
                <a:gd name="connsiteY6" fmla="*/ 10752 h 54983"/>
                <a:gd name="connsiteX7" fmla="*/ 20346 w 24989"/>
                <a:gd name="connsiteY7" fmla="*/ 4348 h 54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989" h="54983">
                  <a:moveTo>
                    <a:pt x="20346" y="4348"/>
                  </a:moveTo>
                  <a:cubicBezTo>
                    <a:pt x="19875" y="2022"/>
                    <a:pt x="18729" y="236"/>
                    <a:pt x="16100" y="33"/>
                  </a:cubicBezTo>
                  <a:cubicBezTo>
                    <a:pt x="-3281" y="-1315"/>
                    <a:pt x="-1562" y="38423"/>
                    <a:pt x="2887" y="49580"/>
                  </a:cubicBezTo>
                  <a:cubicBezTo>
                    <a:pt x="3898" y="52074"/>
                    <a:pt x="5719" y="53995"/>
                    <a:pt x="8887" y="54838"/>
                  </a:cubicBezTo>
                  <a:cubicBezTo>
                    <a:pt x="10707" y="55309"/>
                    <a:pt x="12763" y="54635"/>
                    <a:pt x="14145" y="52849"/>
                  </a:cubicBezTo>
                  <a:cubicBezTo>
                    <a:pt x="15527" y="52748"/>
                    <a:pt x="17010" y="51973"/>
                    <a:pt x="17886" y="50658"/>
                  </a:cubicBezTo>
                  <a:cubicBezTo>
                    <a:pt x="24492" y="40850"/>
                    <a:pt x="26279" y="22380"/>
                    <a:pt x="24121" y="10752"/>
                  </a:cubicBezTo>
                  <a:cubicBezTo>
                    <a:pt x="23548" y="7853"/>
                    <a:pt x="22436" y="5359"/>
                    <a:pt x="20346" y="4348"/>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sp>
          <p:nvSpPr>
            <p:cNvPr id="370" name="Freeform: Shape 369">
              <a:extLst>
                <a:ext uri="{FF2B5EF4-FFF2-40B4-BE49-F238E27FC236}">
                  <a16:creationId xmlns:a16="http://schemas.microsoft.com/office/drawing/2014/main" id="{F53BFE8B-3624-4E97-B42C-23A5AA4C4292}"/>
                </a:ext>
              </a:extLst>
            </p:cNvPr>
            <p:cNvSpPr/>
            <p:nvPr/>
          </p:nvSpPr>
          <p:spPr>
            <a:xfrm>
              <a:off x="608062" y="3865126"/>
              <a:ext cx="40140" cy="34686"/>
            </a:xfrm>
            <a:custGeom>
              <a:avLst/>
              <a:gdLst>
                <a:gd name="connsiteX0" fmla="*/ 16880 w 40140"/>
                <a:gd name="connsiteY0" fmla="*/ 1462 h 34686"/>
                <a:gd name="connsiteX1" fmla="*/ 3162 w 40140"/>
                <a:gd name="connsiteY1" fmla="*/ 2406 h 34686"/>
                <a:gd name="connsiteX2" fmla="*/ 1814 w 40140"/>
                <a:gd name="connsiteY2" fmla="*/ 4361 h 34686"/>
                <a:gd name="connsiteX3" fmla="*/ 600 w 40140"/>
                <a:gd name="connsiteY3" fmla="*/ 12618 h 34686"/>
                <a:gd name="connsiteX4" fmla="*/ 4577 w 40140"/>
                <a:gd name="connsiteY4" fmla="*/ 18045 h 34686"/>
                <a:gd name="connsiteX5" fmla="*/ 8217 w 40140"/>
                <a:gd name="connsiteY5" fmla="*/ 21382 h 34686"/>
                <a:gd name="connsiteX6" fmla="*/ 8959 w 40140"/>
                <a:gd name="connsiteY6" fmla="*/ 22089 h 34686"/>
                <a:gd name="connsiteX7" fmla="*/ 19374 w 40140"/>
                <a:gd name="connsiteY7" fmla="*/ 31156 h 34686"/>
                <a:gd name="connsiteX8" fmla="*/ 31912 w 40140"/>
                <a:gd name="connsiteY8" fmla="*/ 34392 h 34686"/>
                <a:gd name="connsiteX9" fmla="*/ 40069 w 40140"/>
                <a:gd name="connsiteY9" fmla="*/ 23876 h 34686"/>
                <a:gd name="connsiteX10" fmla="*/ 32182 w 40140"/>
                <a:gd name="connsiteY10" fmla="*/ 12281 h 34686"/>
                <a:gd name="connsiteX11" fmla="*/ 16880 w 40140"/>
                <a:gd name="connsiteY11" fmla="*/ 1462 h 34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140" h="34686">
                  <a:moveTo>
                    <a:pt x="16880" y="1462"/>
                  </a:moveTo>
                  <a:cubicBezTo>
                    <a:pt x="12667" y="-156"/>
                    <a:pt x="6667" y="-1133"/>
                    <a:pt x="3162" y="2406"/>
                  </a:cubicBezTo>
                  <a:cubicBezTo>
                    <a:pt x="2555" y="3012"/>
                    <a:pt x="2151" y="3653"/>
                    <a:pt x="1814" y="4361"/>
                  </a:cubicBezTo>
                  <a:cubicBezTo>
                    <a:pt x="61" y="6653"/>
                    <a:pt x="-580" y="9787"/>
                    <a:pt x="600" y="12618"/>
                  </a:cubicBezTo>
                  <a:cubicBezTo>
                    <a:pt x="1476" y="14742"/>
                    <a:pt x="2926" y="16461"/>
                    <a:pt x="4577" y="18045"/>
                  </a:cubicBezTo>
                  <a:cubicBezTo>
                    <a:pt x="5588" y="19359"/>
                    <a:pt x="6869" y="20404"/>
                    <a:pt x="8217" y="21382"/>
                  </a:cubicBezTo>
                  <a:cubicBezTo>
                    <a:pt x="8487" y="21618"/>
                    <a:pt x="8723" y="21854"/>
                    <a:pt x="8959" y="22089"/>
                  </a:cubicBezTo>
                  <a:cubicBezTo>
                    <a:pt x="12228" y="25291"/>
                    <a:pt x="15498" y="28662"/>
                    <a:pt x="19374" y="31156"/>
                  </a:cubicBezTo>
                  <a:cubicBezTo>
                    <a:pt x="23081" y="33549"/>
                    <a:pt x="27429" y="35436"/>
                    <a:pt x="31912" y="34392"/>
                  </a:cubicBezTo>
                  <a:cubicBezTo>
                    <a:pt x="36563" y="33313"/>
                    <a:pt x="40743" y="28864"/>
                    <a:pt x="40069" y="23876"/>
                  </a:cubicBezTo>
                  <a:cubicBezTo>
                    <a:pt x="39428" y="19022"/>
                    <a:pt x="35417" y="15551"/>
                    <a:pt x="32182" y="12281"/>
                  </a:cubicBezTo>
                  <a:cubicBezTo>
                    <a:pt x="27969" y="8034"/>
                    <a:pt x="22542" y="3619"/>
                    <a:pt x="16880" y="1462"/>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sp>
          <p:nvSpPr>
            <p:cNvPr id="371" name="Freeform: Shape 370">
              <a:extLst>
                <a:ext uri="{FF2B5EF4-FFF2-40B4-BE49-F238E27FC236}">
                  <a16:creationId xmlns:a16="http://schemas.microsoft.com/office/drawing/2014/main" id="{AA06B6DF-F880-43CA-A167-7FAD770C4CF7}"/>
                </a:ext>
              </a:extLst>
            </p:cNvPr>
            <p:cNvSpPr/>
            <p:nvPr/>
          </p:nvSpPr>
          <p:spPr>
            <a:xfrm>
              <a:off x="732154" y="3931723"/>
              <a:ext cx="49115" cy="21807"/>
            </a:xfrm>
            <a:custGeom>
              <a:avLst/>
              <a:gdLst>
                <a:gd name="connsiteX0" fmla="*/ 44763 w 49115"/>
                <a:gd name="connsiteY0" fmla="*/ 2982 h 21807"/>
                <a:gd name="connsiteX1" fmla="*/ 43887 w 49115"/>
                <a:gd name="connsiteY1" fmla="*/ 2544 h 21807"/>
                <a:gd name="connsiteX2" fmla="*/ 28922 w 49115"/>
                <a:gd name="connsiteY2" fmla="*/ 960 h 21807"/>
                <a:gd name="connsiteX3" fmla="*/ 8126 w 49115"/>
                <a:gd name="connsiteY3" fmla="*/ 5644 h 21807"/>
                <a:gd name="connsiteX4" fmla="*/ 3 w 49115"/>
                <a:gd name="connsiteY4" fmla="*/ 13700 h 21807"/>
                <a:gd name="connsiteX5" fmla="*/ 14597 w 49115"/>
                <a:gd name="connsiteY5" fmla="*/ 20845 h 21807"/>
                <a:gd name="connsiteX6" fmla="*/ 40550 w 49115"/>
                <a:gd name="connsiteY6" fmla="*/ 18250 h 21807"/>
                <a:gd name="connsiteX7" fmla="*/ 49111 w 49115"/>
                <a:gd name="connsiteY7" fmla="*/ 9015 h 21807"/>
                <a:gd name="connsiteX8" fmla="*/ 44763 w 49115"/>
                <a:gd name="connsiteY8" fmla="*/ 2982 h 21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115" h="21807">
                  <a:moveTo>
                    <a:pt x="44763" y="2982"/>
                  </a:moveTo>
                  <a:cubicBezTo>
                    <a:pt x="44493" y="2813"/>
                    <a:pt x="44190" y="2645"/>
                    <a:pt x="43887" y="2544"/>
                  </a:cubicBezTo>
                  <a:cubicBezTo>
                    <a:pt x="40146" y="-861"/>
                    <a:pt x="34180" y="-254"/>
                    <a:pt x="28922" y="960"/>
                  </a:cubicBezTo>
                  <a:cubicBezTo>
                    <a:pt x="21473" y="589"/>
                    <a:pt x="13889" y="993"/>
                    <a:pt x="8126" y="5644"/>
                  </a:cubicBezTo>
                  <a:cubicBezTo>
                    <a:pt x="4284" y="6757"/>
                    <a:pt x="-132" y="9082"/>
                    <a:pt x="3" y="13700"/>
                  </a:cubicBezTo>
                  <a:cubicBezTo>
                    <a:pt x="205" y="20812"/>
                    <a:pt x="8800" y="21183"/>
                    <a:pt x="14597" y="20845"/>
                  </a:cubicBezTo>
                  <a:cubicBezTo>
                    <a:pt x="23091" y="23238"/>
                    <a:pt x="32326" y="20711"/>
                    <a:pt x="40550" y="18250"/>
                  </a:cubicBezTo>
                  <a:cubicBezTo>
                    <a:pt x="44797" y="16969"/>
                    <a:pt x="49280" y="13970"/>
                    <a:pt x="49111" y="9015"/>
                  </a:cubicBezTo>
                  <a:cubicBezTo>
                    <a:pt x="49010" y="6116"/>
                    <a:pt x="47122" y="4161"/>
                    <a:pt x="44763" y="2982"/>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sp>
          <p:nvSpPr>
            <p:cNvPr id="372" name="Freeform: Shape 371">
              <a:extLst>
                <a:ext uri="{FF2B5EF4-FFF2-40B4-BE49-F238E27FC236}">
                  <a16:creationId xmlns:a16="http://schemas.microsoft.com/office/drawing/2014/main" id="{EBEC08CB-1AE4-4E93-9589-7A728C30EDE7}"/>
                </a:ext>
              </a:extLst>
            </p:cNvPr>
            <p:cNvSpPr/>
            <p:nvPr/>
          </p:nvSpPr>
          <p:spPr>
            <a:xfrm>
              <a:off x="899344" y="3860688"/>
              <a:ext cx="38539" cy="44746"/>
            </a:xfrm>
            <a:custGeom>
              <a:avLst/>
              <a:gdLst>
                <a:gd name="connsiteX0" fmla="*/ 31336 w 38539"/>
                <a:gd name="connsiteY0" fmla="*/ 1 h 44746"/>
                <a:gd name="connsiteX1" fmla="*/ 20045 w 38539"/>
                <a:gd name="connsiteY1" fmla="*/ 5394 h 44746"/>
                <a:gd name="connsiteX2" fmla="*/ 11686 w 38539"/>
                <a:gd name="connsiteY2" fmla="*/ 14629 h 44746"/>
                <a:gd name="connsiteX3" fmla="*/ 361 w 38539"/>
                <a:gd name="connsiteY3" fmla="*/ 30774 h 44746"/>
                <a:gd name="connsiteX4" fmla="*/ 293 w 38539"/>
                <a:gd name="connsiteY4" fmla="*/ 33403 h 44746"/>
                <a:gd name="connsiteX5" fmla="*/ 866 w 38539"/>
                <a:gd name="connsiteY5" fmla="*/ 40144 h 44746"/>
                <a:gd name="connsiteX6" fmla="*/ 5181 w 38539"/>
                <a:gd name="connsiteY6" fmla="*/ 43784 h 44746"/>
                <a:gd name="connsiteX7" fmla="*/ 6731 w 38539"/>
                <a:gd name="connsiteY7" fmla="*/ 44357 h 44746"/>
                <a:gd name="connsiteX8" fmla="*/ 19539 w 38539"/>
                <a:gd name="connsiteY8" fmla="*/ 40414 h 44746"/>
                <a:gd name="connsiteX9" fmla="*/ 30931 w 38539"/>
                <a:gd name="connsiteY9" fmla="*/ 28111 h 44746"/>
                <a:gd name="connsiteX10" fmla="*/ 33526 w 38539"/>
                <a:gd name="connsiteY10" fmla="*/ 21572 h 44746"/>
                <a:gd name="connsiteX11" fmla="*/ 34335 w 38539"/>
                <a:gd name="connsiteY11" fmla="*/ 20393 h 44746"/>
                <a:gd name="connsiteX12" fmla="*/ 37976 w 38539"/>
                <a:gd name="connsiteY12" fmla="*/ 10821 h 44746"/>
                <a:gd name="connsiteX13" fmla="*/ 31336 w 38539"/>
                <a:gd name="connsiteY13" fmla="*/ 1 h 44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8539" h="44746">
                  <a:moveTo>
                    <a:pt x="31336" y="1"/>
                  </a:moveTo>
                  <a:cubicBezTo>
                    <a:pt x="27089" y="-66"/>
                    <a:pt x="23112" y="2698"/>
                    <a:pt x="20045" y="5394"/>
                  </a:cubicBezTo>
                  <a:cubicBezTo>
                    <a:pt x="16910" y="8158"/>
                    <a:pt x="14247" y="11326"/>
                    <a:pt x="11686" y="14629"/>
                  </a:cubicBezTo>
                  <a:cubicBezTo>
                    <a:pt x="7641" y="19820"/>
                    <a:pt x="2552" y="24404"/>
                    <a:pt x="361" y="30774"/>
                  </a:cubicBezTo>
                  <a:cubicBezTo>
                    <a:pt x="57" y="31650"/>
                    <a:pt x="57" y="32560"/>
                    <a:pt x="293" y="33403"/>
                  </a:cubicBezTo>
                  <a:cubicBezTo>
                    <a:pt x="-178" y="35729"/>
                    <a:pt x="-145" y="38088"/>
                    <a:pt x="866" y="40144"/>
                  </a:cubicBezTo>
                  <a:cubicBezTo>
                    <a:pt x="1878" y="42200"/>
                    <a:pt x="3394" y="43346"/>
                    <a:pt x="5181" y="43784"/>
                  </a:cubicBezTo>
                  <a:cubicBezTo>
                    <a:pt x="5653" y="44020"/>
                    <a:pt x="6192" y="44222"/>
                    <a:pt x="6731" y="44357"/>
                  </a:cubicBezTo>
                  <a:cubicBezTo>
                    <a:pt x="11585" y="45672"/>
                    <a:pt x="15933" y="43481"/>
                    <a:pt x="19539" y="40414"/>
                  </a:cubicBezTo>
                  <a:cubicBezTo>
                    <a:pt x="23718" y="36841"/>
                    <a:pt x="28235" y="32965"/>
                    <a:pt x="30931" y="28111"/>
                  </a:cubicBezTo>
                  <a:cubicBezTo>
                    <a:pt x="32111" y="26021"/>
                    <a:pt x="32819" y="23797"/>
                    <a:pt x="33526" y="21572"/>
                  </a:cubicBezTo>
                  <a:cubicBezTo>
                    <a:pt x="33796" y="21168"/>
                    <a:pt x="34066" y="20797"/>
                    <a:pt x="34335" y="20393"/>
                  </a:cubicBezTo>
                  <a:cubicBezTo>
                    <a:pt x="36189" y="17764"/>
                    <a:pt x="37740" y="14259"/>
                    <a:pt x="37976" y="10821"/>
                  </a:cubicBezTo>
                  <a:cubicBezTo>
                    <a:pt x="39661" y="5360"/>
                    <a:pt x="37605" y="102"/>
                    <a:pt x="31336" y="1"/>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sp>
          <p:nvSpPr>
            <p:cNvPr id="373" name="Freeform: Shape 372">
              <a:extLst>
                <a:ext uri="{FF2B5EF4-FFF2-40B4-BE49-F238E27FC236}">
                  <a16:creationId xmlns:a16="http://schemas.microsoft.com/office/drawing/2014/main" id="{8507B3CD-A8E9-4AD1-A5C1-D78DC0274CFA}"/>
                </a:ext>
              </a:extLst>
            </p:cNvPr>
            <p:cNvSpPr/>
            <p:nvPr/>
          </p:nvSpPr>
          <p:spPr>
            <a:xfrm>
              <a:off x="636649" y="3703920"/>
              <a:ext cx="12753" cy="42127"/>
            </a:xfrm>
            <a:custGeom>
              <a:avLst/>
              <a:gdLst>
                <a:gd name="connsiteX0" fmla="*/ 1033 w 12753"/>
                <a:gd name="connsiteY0" fmla="*/ 2502 h 42127"/>
                <a:gd name="connsiteX1" fmla="*/ 562 w 12753"/>
                <a:gd name="connsiteY1" fmla="*/ 11838 h 42127"/>
                <a:gd name="connsiteX2" fmla="*/ 427 w 12753"/>
                <a:gd name="connsiteY2" fmla="*/ 21410 h 42127"/>
                <a:gd name="connsiteX3" fmla="*/ 5516 w 12753"/>
                <a:gd name="connsiteY3" fmla="*/ 40386 h 42127"/>
                <a:gd name="connsiteX4" fmla="*/ 12055 w 12753"/>
                <a:gd name="connsiteY4" fmla="*/ 35263 h 42127"/>
                <a:gd name="connsiteX5" fmla="*/ 9022 w 12753"/>
                <a:gd name="connsiteY5" fmla="*/ 19961 h 42127"/>
                <a:gd name="connsiteX6" fmla="*/ 9156 w 12753"/>
                <a:gd name="connsiteY6" fmla="*/ 12950 h 42127"/>
                <a:gd name="connsiteX7" fmla="*/ 8752 w 12753"/>
                <a:gd name="connsiteY7" fmla="*/ 5468 h 42127"/>
                <a:gd name="connsiteX8" fmla="*/ 1033 w 12753"/>
                <a:gd name="connsiteY8" fmla="*/ 2502 h 42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753" h="42127">
                  <a:moveTo>
                    <a:pt x="1033" y="2502"/>
                  </a:moveTo>
                  <a:cubicBezTo>
                    <a:pt x="-416" y="5737"/>
                    <a:pt x="-112" y="8467"/>
                    <a:pt x="562" y="11838"/>
                  </a:cubicBezTo>
                  <a:cubicBezTo>
                    <a:pt x="1236" y="15242"/>
                    <a:pt x="798" y="18040"/>
                    <a:pt x="427" y="21410"/>
                  </a:cubicBezTo>
                  <a:cubicBezTo>
                    <a:pt x="-281" y="27915"/>
                    <a:pt x="2078" y="34959"/>
                    <a:pt x="5516" y="40386"/>
                  </a:cubicBezTo>
                  <a:cubicBezTo>
                    <a:pt x="8381" y="44902"/>
                    <a:pt x="14886" y="39712"/>
                    <a:pt x="12055" y="35263"/>
                  </a:cubicBezTo>
                  <a:cubicBezTo>
                    <a:pt x="9123" y="30645"/>
                    <a:pt x="8314" y="25252"/>
                    <a:pt x="9022" y="19961"/>
                  </a:cubicBezTo>
                  <a:cubicBezTo>
                    <a:pt x="9325" y="17635"/>
                    <a:pt x="9460" y="15309"/>
                    <a:pt x="9156" y="12950"/>
                  </a:cubicBezTo>
                  <a:cubicBezTo>
                    <a:pt x="8819" y="10321"/>
                    <a:pt x="7606" y="8029"/>
                    <a:pt x="8752" y="5468"/>
                  </a:cubicBezTo>
                  <a:cubicBezTo>
                    <a:pt x="10976" y="580"/>
                    <a:pt x="3224" y="-2386"/>
                    <a:pt x="1033" y="2502"/>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sp>
          <p:nvSpPr>
            <p:cNvPr id="374" name="Freeform: Shape 373">
              <a:extLst>
                <a:ext uri="{FF2B5EF4-FFF2-40B4-BE49-F238E27FC236}">
                  <a16:creationId xmlns:a16="http://schemas.microsoft.com/office/drawing/2014/main" id="{F1140E11-05A2-4D81-9AC3-9B3FAD02A545}"/>
                </a:ext>
              </a:extLst>
            </p:cNvPr>
            <p:cNvSpPr/>
            <p:nvPr/>
          </p:nvSpPr>
          <p:spPr>
            <a:xfrm>
              <a:off x="650541" y="3767171"/>
              <a:ext cx="74804" cy="73454"/>
            </a:xfrm>
            <a:custGeom>
              <a:avLst/>
              <a:gdLst>
                <a:gd name="connsiteX0" fmla="*/ 17 w 74804"/>
                <a:gd name="connsiteY0" fmla="*/ 4672 h 73454"/>
                <a:gd name="connsiteX1" fmla="*/ 10263 w 74804"/>
                <a:gd name="connsiteY1" fmla="*/ 29040 h 73454"/>
                <a:gd name="connsiteX2" fmla="*/ 31733 w 74804"/>
                <a:gd name="connsiteY2" fmla="*/ 53072 h 73454"/>
                <a:gd name="connsiteX3" fmla="*/ 44979 w 74804"/>
                <a:gd name="connsiteY3" fmla="*/ 62105 h 73454"/>
                <a:gd name="connsiteX4" fmla="*/ 57416 w 74804"/>
                <a:gd name="connsiteY4" fmla="*/ 69116 h 73454"/>
                <a:gd name="connsiteX5" fmla="*/ 73999 w 74804"/>
                <a:gd name="connsiteY5" fmla="*/ 70093 h 73454"/>
                <a:gd name="connsiteX6" fmla="*/ 67326 w 74804"/>
                <a:gd name="connsiteY6" fmla="*/ 65172 h 73454"/>
                <a:gd name="connsiteX7" fmla="*/ 67292 w 74804"/>
                <a:gd name="connsiteY7" fmla="*/ 65240 h 73454"/>
                <a:gd name="connsiteX8" fmla="*/ 66079 w 74804"/>
                <a:gd name="connsiteY8" fmla="*/ 64768 h 73454"/>
                <a:gd name="connsiteX9" fmla="*/ 63214 w 74804"/>
                <a:gd name="connsiteY9" fmla="*/ 63049 h 73454"/>
                <a:gd name="connsiteX10" fmla="*/ 55529 w 74804"/>
                <a:gd name="connsiteY10" fmla="*/ 58532 h 73454"/>
                <a:gd name="connsiteX11" fmla="*/ 33284 w 74804"/>
                <a:gd name="connsiteY11" fmla="*/ 43668 h 73454"/>
                <a:gd name="connsiteX12" fmla="*/ 16633 w 74804"/>
                <a:gd name="connsiteY12" fmla="*/ 23547 h 73454"/>
                <a:gd name="connsiteX13" fmla="*/ 8207 w 74804"/>
                <a:gd name="connsiteY13" fmla="*/ 3425 h 73454"/>
                <a:gd name="connsiteX14" fmla="*/ 17 w 74804"/>
                <a:gd name="connsiteY14" fmla="*/ 4672 h 73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4804" h="73454">
                  <a:moveTo>
                    <a:pt x="17" y="4672"/>
                  </a:moveTo>
                  <a:cubicBezTo>
                    <a:pt x="691" y="13300"/>
                    <a:pt x="5915" y="21760"/>
                    <a:pt x="10263" y="29040"/>
                  </a:cubicBezTo>
                  <a:cubicBezTo>
                    <a:pt x="15656" y="38074"/>
                    <a:pt x="23307" y="46736"/>
                    <a:pt x="31733" y="53072"/>
                  </a:cubicBezTo>
                  <a:cubicBezTo>
                    <a:pt x="36014" y="56274"/>
                    <a:pt x="40530" y="59139"/>
                    <a:pt x="44979" y="62105"/>
                  </a:cubicBezTo>
                  <a:cubicBezTo>
                    <a:pt x="48956" y="64768"/>
                    <a:pt x="53473" y="66419"/>
                    <a:pt x="57416" y="69116"/>
                  </a:cubicBezTo>
                  <a:cubicBezTo>
                    <a:pt x="62371" y="72520"/>
                    <a:pt x="69483" y="76396"/>
                    <a:pt x="73999" y="70093"/>
                  </a:cubicBezTo>
                  <a:cubicBezTo>
                    <a:pt x="77100" y="65745"/>
                    <a:pt x="70460" y="60824"/>
                    <a:pt x="67326" y="65172"/>
                  </a:cubicBezTo>
                  <a:cubicBezTo>
                    <a:pt x="67292" y="65206"/>
                    <a:pt x="67292" y="65206"/>
                    <a:pt x="67292" y="65240"/>
                  </a:cubicBezTo>
                  <a:cubicBezTo>
                    <a:pt x="66887" y="65172"/>
                    <a:pt x="66416" y="64936"/>
                    <a:pt x="66079" y="64768"/>
                  </a:cubicBezTo>
                  <a:cubicBezTo>
                    <a:pt x="65101" y="64262"/>
                    <a:pt x="64157" y="63689"/>
                    <a:pt x="63214" y="63049"/>
                  </a:cubicBezTo>
                  <a:cubicBezTo>
                    <a:pt x="60719" y="61364"/>
                    <a:pt x="58225" y="59847"/>
                    <a:pt x="55529" y="58532"/>
                  </a:cubicBezTo>
                  <a:cubicBezTo>
                    <a:pt x="47743" y="54757"/>
                    <a:pt x="39856" y="49331"/>
                    <a:pt x="33284" y="43668"/>
                  </a:cubicBezTo>
                  <a:cubicBezTo>
                    <a:pt x="26913" y="38208"/>
                    <a:pt x="20678" y="30894"/>
                    <a:pt x="16633" y="23547"/>
                  </a:cubicBezTo>
                  <a:cubicBezTo>
                    <a:pt x="13229" y="17345"/>
                    <a:pt x="8780" y="10604"/>
                    <a:pt x="8207" y="3425"/>
                  </a:cubicBezTo>
                  <a:cubicBezTo>
                    <a:pt x="7803" y="-1901"/>
                    <a:pt x="-421" y="-654"/>
                    <a:pt x="17" y="4672"/>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grpSp>
      <p:grpSp>
        <p:nvGrpSpPr>
          <p:cNvPr id="397" name="Graphic 6">
            <a:extLst>
              <a:ext uri="{FF2B5EF4-FFF2-40B4-BE49-F238E27FC236}">
                <a16:creationId xmlns:a16="http://schemas.microsoft.com/office/drawing/2014/main" id="{51D6F4BB-E553-4BB1-84E6-37499D523463}"/>
              </a:ext>
            </a:extLst>
          </p:cNvPr>
          <p:cNvGrpSpPr/>
          <p:nvPr/>
        </p:nvGrpSpPr>
        <p:grpSpPr>
          <a:xfrm>
            <a:off x="534085" y="4747501"/>
            <a:ext cx="678885" cy="679641"/>
            <a:chOff x="534085" y="4747501"/>
            <a:chExt cx="678885" cy="679641"/>
          </a:xfrm>
          <a:solidFill>
            <a:srgbClr val="DAE3F3"/>
          </a:solidFill>
        </p:grpSpPr>
        <p:sp>
          <p:nvSpPr>
            <p:cNvPr id="398" name="Freeform: Shape 397">
              <a:extLst>
                <a:ext uri="{FF2B5EF4-FFF2-40B4-BE49-F238E27FC236}">
                  <a16:creationId xmlns:a16="http://schemas.microsoft.com/office/drawing/2014/main" id="{EE2F3304-6701-4249-8D7B-9C74461C00DC}"/>
                </a:ext>
              </a:extLst>
            </p:cNvPr>
            <p:cNvSpPr/>
            <p:nvPr/>
          </p:nvSpPr>
          <p:spPr>
            <a:xfrm>
              <a:off x="645300" y="4851748"/>
              <a:ext cx="481710" cy="481710"/>
            </a:xfrm>
            <a:custGeom>
              <a:avLst/>
              <a:gdLst>
                <a:gd name="connsiteX0" fmla="*/ 481710 w 481710"/>
                <a:gd name="connsiteY0" fmla="*/ 240855 h 481710"/>
                <a:gd name="connsiteX1" fmla="*/ 240855 w 481710"/>
                <a:gd name="connsiteY1" fmla="*/ 481710 h 481710"/>
                <a:gd name="connsiteX2" fmla="*/ 0 w 481710"/>
                <a:gd name="connsiteY2" fmla="*/ 240855 h 481710"/>
                <a:gd name="connsiteX3" fmla="*/ 240855 w 481710"/>
                <a:gd name="connsiteY3" fmla="*/ 0 h 481710"/>
                <a:gd name="connsiteX4" fmla="*/ 481710 w 481710"/>
                <a:gd name="connsiteY4" fmla="*/ 240855 h 4817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1710" h="481710">
                  <a:moveTo>
                    <a:pt x="481710" y="240855"/>
                  </a:moveTo>
                  <a:cubicBezTo>
                    <a:pt x="481710" y="373876"/>
                    <a:pt x="373876" y="481710"/>
                    <a:pt x="240855" y="481710"/>
                  </a:cubicBezTo>
                  <a:cubicBezTo>
                    <a:pt x="107835" y="481710"/>
                    <a:pt x="0" y="373876"/>
                    <a:pt x="0" y="240855"/>
                  </a:cubicBezTo>
                  <a:cubicBezTo>
                    <a:pt x="0" y="107834"/>
                    <a:pt x="107835" y="0"/>
                    <a:pt x="240855" y="0"/>
                  </a:cubicBezTo>
                  <a:cubicBezTo>
                    <a:pt x="373876" y="0"/>
                    <a:pt x="481710" y="107835"/>
                    <a:pt x="481710" y="240855"/>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sp>
          <p:nvSpPr>
            <p:cNvPr id="399" name="Freeform: Shape 398">
              <a:extLst>
                <a:ext uri="{FF2B5EF4-FFF2-40B4-BE49-F238E27FC236}">
                  <a16:creationId xmlns:a16="http://schemas.microsoft.com/office/drawing/2014/main" id="{6E8A306C-86E6-429E-AB38-6F08BC849DEA}"/>
                </a:ext>
              </a:extLst>
            </p:cNvPr>
            <p:cNvSpPr/>
            <p:nvPr/>
          </p:nvSpPr>
          <p:spPr>
            <a:xfrm>
              <a:off x="1090509" y="5136452"/>
              <a:ext cx="106029" cy="6877"/>
            </a:xfrm>
            <a:custGeom>
              <a:avLst/>
              <a:gdLst>
                <a:gd name="connsiteX0" fmla="*/ 105158 w 106029"/>
                <a:gd name="connsiteY0" fmla="*/ 3810 h 6877"/>
                <a:gd name="connsiteX1" fmla="*/ 50961 w 106029"/>
                <a:gd name="connsiteY1" fmla="*/ 1552 h 6877"/>
                <a:gd name="connsiteX2" fmla="*/ 25008 w 106029"/>
                <a:gd name="connsiteY2" fmla="*/ 642 h 6877"/>
                <a:gd name="connsiteX3" fmla="*/ 740 w 106029"/>
                <a:gd name="connsiteY3" fmla="*/ 4484 h 6877"/>
                <a:gd name="connsiteX4" fmla="*/ 1987 w 106029"/>
                <a:gd name="connsiteY4" fmla="*/ 6675 h 6877"/>
                <a:gd name="connsiteX5" fmla="*/ 27468 w 106029"/>
                <a:gd name="connsiteY5" fmla="*/ 3439 h 6877"/>
                <a:gd name="connsiteX6" fmla="*/ 52241 w 106029"/>
                <a:gd name="connsiteY6" fmla="*/ 4013 h 6877"/>
                <a:gd name="connsiteX7" fmla="*/ 104316 w 106029"/>
                <a:gd name="connsiteY7" fmla="*/ 6304 h 6877"/>
                <a:gd name="connsiteX8" fmla="*/ 105158 w 106029"/>
                <a:gd name="connsiteY8" fmla="*/ 3810 h 6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6029" h="6877">
                  <a:moveTo>
                    <a:pt x="105158" y="3810"/>
                  </a:moveTo>
                  <a:cubicBezTo>
                    <a:pt x="87665" y="-1852"/>
                    <a:pt x="69667" y="69"/>
                    <a:pt x="50961" y="1552"/>
                  </a:cubicBezTo>
                  <a:cubicBezTo>
                    <a:pt x="42063" y="2260"/>
                    <a:pt x="33704" y="1248"/>
                    <a:pt x="25008" y="642"/>
                  </a:cubicBezTo>
                  <a:cubicBezTo>
                    <a:pt x="16818" y="69"/>
                    <a:pt x="8425" y="338"/>
                    <a:pt x="740" y="4484"/>
                  </a:cubicBezTo>
                  <a:cubicBezTo>
                    <a:pt x="-844" y="5360"/>
                    <a:pt x="370" y="7551"/>
                    <a:pt x="1987" y="6675"/>
                  </a:cubicBezTo>
                  <a:cubicBezTo>
                    <a:pt x="10043" y="2327"/>
                    <a:pt x="19008" y="2732"/>
                    <a:pt x="27468" y="3439"/>
                  </a:cubicBezTo>
                  <a:cubicBezTo>
                    <a:pt x="35793" y="4147"/>
                    <a:pt x="43748" y="4720"/>
                    <a:pt x="52241" y="4013"/>
                  </a:cubicBezTo>
                  <a:cubicBezTo>
                    <a:pt x="70240" y="2529"/>
                    <a:pt x="87497" y="878"/>
                    <a:pt x="104316" y="6304"/>
                  </a:cubicBezTo>
                  <a:cubicBezTo>
                    <a:pt x="105933" y="6877"/>
                    <a:pt x="106776" y="4316"/>
                    <a:pt x="105158" y="3810"/>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sp>
          <p:nvSpPr>
            <p:cNvPr id="400" name="Freeform: Shape 399">
              <a:extLst>
                <a:ext uri="{FF2B5EF4-FFF2-40B4-BE49-F238E27FC236}">
                  <a16:creationId xmlns:a16="http://schemas.microsoft.com/office/drawing/2014/main" id="{E90710A8-C28F-48C1-AEB2-DED5C2AFC6F5}"/>
                </a:ext>
              </a:extLst>
            </p:cNvPr>
            <p:cNvSpPr/>
            <p:nvPr/>
          </p:nvSpPr>
          <p:spPr>
            <a:xfrm>
              <a:off x="889521" y="4763226"/>
              <a:ext cx="30817" cy="174127"/>
            </a:xfrm>
            <a:custGeom>
              <a:avLst/>
              <a:gdLst>
                <a:gd name="connsiteX0" fmla="*/ 18879 w 30817"/>
                <a:gd name="connsiteY0" fmla="*/ 170863 h 174127"/>
                <a:gd name="connsiteX1" fmla="*/ 10284 w 30817"/>
                <a:gd name="connsiteY1" fmla="*/ 88151 h 174127"/>
                <a:gd name="connsiteX2" fmla="*/ 22923 w 30817"/>
                <a:gd name="connsiteY2" fmla="*/ 40020 h 174127"/>
                <a:gd name="connsiteX3" fmla="*/ 30810 w 30817"/>
                <a:gd name="connsiteY3" fmla="*/ 1934 h 174127"/>
                <a:gd name="connsiteX4" fmla="*/ 26799 w 30817"/>
                <a:gd name="connsiteY4" fmla="*/ 1934 h 174127"/>
                <a:gd name="connsiteX5" fmla="*/ 10048 w 30817"/>
                <a:gd name="connsiteY5" fmla="*/ 72209 h 174127"/>
                <a:gd name="connsiteX6" fmla="*/ 1116 w 30817"/>
                <a:gd name="connsiteY6" fmla="*/ 146056 h 174127"/>
                <a:gd name="connsiteX7" fmla="*/ 16014 w 30817"/>
                <a:gd name="connsiteY7" fmla="*/ 173660 h 174127"/>
                <a:gd name="connsiteX8" fmla="*/ 18879 w 30817"/>
                <a:gd name="connsiteY8" fmla="*/ 170863 h 174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17" h="174127">
                  <a:moveTo>
                    <a:pt x="18879" y="170863"/>
                  </a:moveTo>
                  <a:cubicBezTo>
                    <a:pt x="-4849" y="152729"/>
                    <a:pt x="4723" y="112587"/>
                    <a:pt x="10284" y="88151"/>
                  </a:cubicBezTo>
                  <a:cubicBezTo>
                    <a:pt x="13958" y="71973"/>
                    <a:pt x="18609" y="56030"/>
                    <a:pt x="22923" y="40020"/>
                  </a:cubicBezTo>
                  <a:cubicBezTo>
                    <a:pt x="26294" y="27550"/>
                    <a:pt x="29867" y="14877"/>
                    <a:pt x="30810" y="1934"/>
                  </a:cubicBezTo>
                  <a:cubicBezTo>
                    <a:pt x="31013" y="-661"/>
                    <a:pt x="27002" y="-628"/>
                    <a:pt x="26799" y="1934"/>
                  </a:cubicBezTo>
                  <a:cubicBezTo>
                    <a:pt x="25047" y="25730"/>
                    <a:pt x="15980" y="49222"/>
                    <a:pt x="10048" y="72209"/>
                  </a:cubicBezTo>
                  <a:cubicBezTo>
                    <a:pt x="3981" y="95735"/>
                    <a:pt x="-2692" y="121620"/>
                    <a:pt x="1116" y="146056"/>
                  </a:cubicBezTo>
                  <a:cubicBezTo>
                    <a:pt x="2802" y="156774"/>
                    <a:pt x="7251" y="166953"/>
                    <a:pt x="16014" y="173660"/>
                  </a:cubicBezTo>
                  <a:cubicBezTo>
                    <a:pt x="18070" y="175244"/>
                    <a:pt x="20935" y="172413"/>
                    <a:pt x="18879" y="170863"/>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sp>
          <p:nvSpPr>
            <p:cNvPr id="401" name="Freeform: Shape 400">
              <a:extLst>
                <a:ext uri="{FF2B5EF4-FFF2-40B4-BE49-F238E27FC236}">
                  <a16:creationId xmlns:a16="http://schemas.microsoft.com/office/drawing/2014/main" id="{93A4F221-DBDB-4A77-8C62-0F21F69F0D07}"/>
                </a:ext>
              </a:extLst>
            </p:cNvPr>
            <p:cNvSpPr/>
            <p:nvPr/>
          </p:nvSpPr>
          <p:spPr>
            <a:xfrm>
              <a:off x="679782" y="4863515"/>
              <a:ext cx="163003" cy="117449"/>
            </a:xfrm>
            <a:custGeom>
              <a:avLst/>
              <a:gdLst>
                <a:gd name="connsiteX0" fmla="*/ 161950 w 163003"/>
                <a:gd name="connsiteY0" fmla="*/ 113784 h 117449"/>
                <a:gd name="connsiteX1" fmla="*/ 77721 w 163003"/>
                <a:gd name="connsiteY1" fmla="*/ 65080 h 117449"/>
                <a:gd name="connsiteX2" fmla="*/ 3436 w 163003"/>
                <a:gd name="connsiteY2" fmla="*/ 569 h 117449"/>
                <a:gd name="connsiteX3" fmla="*/ 604 w 163003"/>
                <a:gd name="connsiteY3" fmla="*/ 3400 h 117449"/>
                <a:gd name="connsiteX4" fmla="*/ 73946 w 163003"/>
                <a:gd name="connsiteY4" fmla="*/ 67237 h 117449"/>
                <a:gd name="connsiteX5" fmla="*/ 159995 w 163003"/>
                <a:gd name="connsiteY5" fmla="*/ 117255 h 117449"/>
                <a:gd name="connsiteX6" fmla="*/ 161950 w 163003"/>
                <a:gd name="connsiteY6" fmla="*/ 113784 h 117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003" h="117449">
                  <a:moveTo>
                    <a:pt x="161950" y="113784"/>
                  </a:moveTo>
                  <a:cubicBezTo>
                    <a:pt x="132188" y="100538"/>
                    <a:pt x="103944" y="84359"/>
                    <a:pt x="77721" y="65080"/>
                  </a:cubicBezTo>
                  <a:cubicBezTo>
                    <a:pt x="51263" y="45633"/>
                    <a:pt x="26995" y="23387"/>
                    <a:pt x="3436" y="569"/>
                  </a:cubicBezTo>
                  <a:cubicBezTo>
                    <a:pt x="1582" y="-1217"/>
                    <a:pt x="-1249" y="1614"/>
                    <a:pt x="604" y="3400"/>
                  </a:cubicBezTo>
                  <a:cubicBezTo>
                    <a:pt x="23895" y="25982"/>
                    <a:pt x="47859" y="47890"/>
                    <a:pt x="73946" y="67237"/>
                  </a:cubicBezTo>
                  <a:cubicBezTo>
                    <a:pt x="100708" y="87089"/>
                    <a:pt x="129559" y="103706"/>
                    <a:pt x="159995" y="117255"/>
                  </a:cubicBezTo>
                  <a:cubicBezTo>
                    <a:pt x="162287" y="118300"/>
                    <a:pt x="164309" y="114828"/>
                    <a:pt x="161950" y="113784"/>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sp>
          <p:nvSpPr>
            <p:cNvPr id="402" name="Freeform: Shape 401">
              <a:extLst>
                <a:ext uri="{FF2B5EF4-FFF2-40B4-BE49-F238E27FC236}">
                  <a16:creationId xmlns:a16="http://schemas.microsoft.com/office/drawing/2014/main" id="{53DFFFAA-E980-43B0-9845-0A0D1F2AC3C4}"/>
                </a:ext>
              </a:extLst>
            </p:cNvPr>
            <p:cNvSpPr/>
            <p:nvPr/>
          </p:nvSpPr>
          <p:spPr>
            <a:xfrm>
              <a:off x="792001" y="5316355"/>
              <a:ext cx="4071" cy="4076"/>
            </a:xfrm>
            <a:custGeom>
              <a:avLst/>
              <a:gdLst>
                <a:gd name="connsiteX0" fmla="*/ 3454 w 4071"/>
                <a:gd name="connsiteY0" fmla="*/ 623 h 4076"/>
                <a:gd name="connsiteX1" fmla="*/ 622 w 4071"/>
                <a:gd name="connsiteY1" fmla="*/ 3454 h 4076"/>
                <a:gd name="connsiteX2" fmla="*/ 3454 w 4071"/>
                <a:gd name="connsiteY2" fmla="*/ 623 h 4076"/>
              </a:gdLst>
              <a:ahLst/>
              <a:cxnLst>
                <a:cxn ang="0">
                  <a:pos x="connsiteX0" y="connsiteY0"/>
                </a:cxn>
                <a:cxn ang="0">
                  <a:pos x="connsiteX1" y="connsiteY1"/>
                </a:cxn>
                <a:cxn ang="0">
                  <a:pos x="connsiteX2" y="connsiteY2"/>
                </a:cxn>
              </a:cxnLst>
              <a:rect l="l" t="t" r="r" b="b"/>
              <a:pathLst>
                <a:path w="4071" h="4076">
                  <a:moveTo>
                    <a:pt x="3454" y="623"/>
                  </a:moveTo>
                  <a:cubicBezTo>
                    <a:pt x="1566" y="-1265"/>
                    <a:pt x="-1265" y="1566"/>
                    <a:pt x="622" y="3454"/>
                  </a:cubicBezTo>
                  <a:cubicBezTo>
                    <a:pt x="2476" y="5341"/>
                    <a:pt x="5341" y="2510"/>
                    <a:pt x="3454" y="623"/>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sp>
          <p:nvSpPr>
            <p:cNvPr id="403" name="Freeform: Shape 402">
              <a:extLst>
                <a:ext uri="{FF2B5EF4-FFF2-40B4-BE49-F238E27FC236}">
                  <a16:creationId xmlns:a16="http://schemas.microsoft.com/office/drawing/2014/main" id="{E4EB2C76-017F-4A2D-A14C-786500CD5CBE}"/>
                </a:ext>
              </a:extLst>
            </p:cNvPr>
            <p:cNvSpPr/>
            <p:nvPr/>
          </p:nvSpPr>
          <p:spPr>
            <a:xfrm>
              <a:off x="598733" y="5210695"/>
              <a:ext cx="173165" cy="127399"/>
            </a:xfrm>
            <a:custGeom>
              <a:avLst/>
              <a:gdLst>
                <a:gd name="connsiteX0" fmla="*/ 171072 w 173165"/>
                <a:gd name="connsiteY0" fmla="*/ 4088 h 127399"/>
                <a:gd name="connsiteX1" fmla="*/ 171376 w 173165"/>
                <a:gd name="connsiteY1" fmla="*/ 78 h 127399"/>
                <a:gd name="connsiteX2" fmla="*/ 103561 w 173165"/>
                <a:gd name="connsiteY2" fmla="*/ 28828 h 127399"/>
                <a:gd name="connsiteX3" fmla="*/ 33186 w 173165"/>
                <a:gd name="connsiteY3" fmla="*/ 93002 h 127399"/>
                <a:gd name="connsiteX4" fmla="*/ 694 w 173165"/>
                <a:gd name="connsiteY4" fmla="*/ 123842 h 127399"/>
                <a:gd name="connsiteX5" fmla="*/ 3289 w 173165"/>
                <a:gd name="connsiteY5" fmla="*/ 126909 h 127399"/>
                <a:gd name="connsiteX6" fmla="*/ 132447 w 173165"/>
                <a:gd name="connsiteY6" fmla="*/ 14739 h 127399"/>
                <a:gd name="connsiteX7" fmla="*/ 171072 w 173165"/>
                <a:gd name="connsiteY7" fmla="*/ 4088 h 127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3165" h="127399">
                  <a:moveTo>
                    <a:pt x="171072" y="4088"/>
                  </a:moveTo>
                  <a:cubicBezTo>
                    <a:pt x="173634" y="4223"/>
                    <a:pt x="173971" y="212"/>
                    <a:pt x="171376" y="78"/>
                  </a:cubicBezTo>
                  <a:cubicBezTo>
                    <a:pt x="146266" y="-1237"/>
                    <a:pt x="122706" y="14369"/>
                    <a:pt x="103561" y="28828"/>
                  </a:cubicBezTo>
                  <a:cubicBezTo>
                    <a:pt x="78215" y="47972"/>
                    <a:pt x="55734" y="70689"/>
                    <a:pt x="33186" y="93002"/>
                  </a:cubicBezTo>
                  <a:cubicBezTo>
                    <a:pt x="22569" y="103484"/>
                    <a:pt x="12019" y="114101"/>
                    <a:pt x="694" y="123842"/>
                  </a:cubicBezTo>
                  <a:cubicBezTo>
                    <a:pt x="-1261" y="125527"/>
                    <a:pt x="1335" y="128595"/>
                    <a:pt x="3289" y="126909"/>
                  </a:cubicBezTo>
                  <a:cubicBezTo>
                    <a:pt x="46263" y="90036"/>
                    <a:pt x="81721" y="41804"/>
                    <a:pt x="132447" y="14739"/>
                  </a:cubicBezTo>
                  <a:cubicBezTo>
                    <a:pt x="144344" y="8403"/>
                    <a:pt x="157456" y="3381"/>
                    <a:pt x="171072" y="4088"/>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sp>
          <p:nvSpPr>
            <p:cNvPr id="404" name="Freeform: Shape 403">
              <a:extLst>
                <a:ext uri="{FF2B5EF4-FFF2-40B4-BE49-F238E27FC236}">
                  <a16:creationId xmlns:a16="http://schemas.microsoft.com/office/drawing/2014/main" id="{29AA995B-2F5C-48D6-BE83-2CB951838461}"/>
                </a:ext>
              </a:extLst>
            </p:cNvPr>
            <p:cNvSpPr/>
            <p:nvPr/>
          </p:nvSpPr>
          <p:spPr>
            <a:xfrm>
              <a:off x="928952" y="5183930"/>
              <a:ext cx="105750" cy="232184"/>
            </a:xfrm>
            <a:custGeom>
              <a:avLst/>
              <a:gdLst>
                <a:gd name="connsiteX0" fmla="*/ 105605 w 105750"/>
                <a:gd name="connsiteY0" fmla="*/ 229342 h 232184"/>
                <a:gd name="connsiteX1" fmla="*/ 38465 w 105750"/>
                <a:gd name="connsiteY1" fmla="*/ 32033 h 232184"/>
                <a:gd name="connsiteX2" fmla="*/ 2637 w 105750"/>
                <a:gd name="connsiteY2" fmla="*/ 182 h 232184"/>
                <a:gd name="connsiteX3" fmla="*/ 1188 w 105750"/>
                <a:gd name="connsiteY3" fmla="*/ 3924 h 232184"/>
                <a:gd name="connsiteX4" fmla="*/ 57576 w 105750"/>
                <a:gd name="connsiteY4" fmla="*/ 78849 h 232184"/>
                <a:gd name="connsiteX5" fmla="*/ 87809 w 105750"/>
                <a:gd name="connsiteY5" fmla="*/ 183840 h 232184"/>
                <a:gd name="connsiteX6" fmla="*/ 101932 w 105750"/>
                <a:gd name="connsiteY6" fmla="*/ 230993 h 232184"/>
                <a:gd name="connsiteX7" fmla="*/ 105605 w 105750"/>
                <a:gd name="connsiteY7" fmla="*/ 229342 h 232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750" h="232184">
                  <a:moveTo>
                    <a:pt x="105605" y="229342"/>
                  </a:moveTo>
                  <a:cubicBezTo>
                    <a:pt x="80664" y="164864"/>
                    <a:pt x="78507" y="90478"/>
                    <a:pt x="38465" y="32033"/>
                  </a:cubicBezTo>
                  <a:cubicBezTo>
                    <a:pt x="29298" y="18653"/>
                    <a:pt x="17602" y="6890"/>
                    <a:pt x="2637" y="182"/>
                  </a:cubicBezTo>
                  <a:cubicBezTo>
                    <a:pt x="278" y="-863"/>
                    <a:pt x="-1138" y="2879"/>
                    <a:pt x="1188" y="3924"/>
                  </a:cubicBezTo>
                  <a:cubicBezTo>
                    <a:pt x="30781" y="17170"/>
                    <a:pt x="46554" y="50234"/>
                    <a:pt x="57576" y="78849"/>
                  </a:cubicBezTo>
                  <a:cubicBezTo>
                    <a:pt x="70687" y="112891"/>
                    <a:pt x="78743" y="148585"/>
                    <a:pt x="87809" y="183840"/>
                  </a:cubicBezTo>
                  <a:cubicBezTo>
                    <a:pt x="91887" y="199715"/>
                    <a:pt x="96033" y="215691"/>
                    <a:pt x="101932" y="230993"/>
                  </a:cubicBezTo>
                  <a:cubicBezTo>
                    <a:pt x="102875" y="233420"/>
                    <a:pt x="106515" y="231769"/>
                    <a:pt x="105605" y="229342"/>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sp>
          <p:nvSpPr>
            <p:cNvPr id="405" name="Freeform: Shape 404">
              <a:extLst>
                <a:ext uri="{FF2B5EF4-FFF2-40B4-BE49-F238E27FC236}">
                  <a16:creationId xmlns:a16="http://schemas.microsoft.com/office/drawing/2014/main" id="{615BBB22-997E-48ED-B4CF-60A6BFD0C5DF}"/>
                </a:ext>
              </a:extLst>
            </p:cNvPr>
            <p:cNvSpPr/>
            <p:nvPr/>
          </p:nvSpPr>
          <p:spPr>
            <a:xfrm>
              <a:off x="973199" y="5180524"/>
              <a:ext cx="60835" cy="60835"/>
            </a:xfrm>
            <a:custGeom>
              <a:avLst/>
              <a:gdLst>
                <a:gd name="connsiteX0" fmla="*/ 60213 w 60835"/>
                <a:gd name="connsiteY0" fmla="*/ 57381 h 60835"/>
                <a:gd name="connsiteX1" fmla="*/ 3454 w 60835"/>
                <a:gd name="connsiteY1" fmla="*/ 622 h 60835"/>
                <a:gd name="connsiteX2" fmla="*/ 622 w 60835"/>
                <a:gd name="connsiteY2" fmla="*/ 3453 h 60835"/>
                <a:gd name="connsiteX3" fmla="*/ 57381 w 60835"/>
                <a:gd name="connsiteY3" fmla="*/ 60213 h 60835"/>
                <a:gd name="connsiteX4" fmla="*/ 60213 w 60835"/>
                <a:gd name="connsiteY4" fmla="*/ 57381 h 608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835" h="60835">
                  <a:moveTo>
                    <a:pt x="60213" y="57381"/>
                  </a:moveTo>
                  <a:lnTo>
                    <a:pt x="3454" y="622"/>
                  </a:lnTo>
                  <a:cubicBezTo>
                    <a:pt x="1566" y="-1265"/>
                    <a:pt x="-1265" y="1566"/>
                    <a:pt x="622" y="3453"/>
                  </a:cubicBezTo>
                  <a:lnTo>
                    <a:pt x="57381" y="60213"/>
                  </a:lnTo>
                  <a:cubicBezTo>
                    <a:pt x="59269" y="62100"/>
                    <a:pt x="62100" y="59269"/>
                    <a:pt x="60213" y="57381"/>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sp>
          <p:nvSpPr>
            <p:cNvPr id="406" name="Freeform: Shape 405">
              <a:extLst>
                <a:ext uri="{FF2B5EF4-FFF2-40B4-BE49-F238E27FC236}">
                  <a16:creationId xmlns:a16="http://schemas.microsoft.com/office/drawing/2014/main" id="{C6285CB0-A2A3-4373-B35C-C74686F632A2}"/>
                </a:ext>
              </a:extLst>
            </p:cNvPr>
            <p:cNvSpPr/>
            <p:nvPr/>
          </p:nvSpPr>
          <p:spPr>
            <a:xfrm>
              <a:off x="543428" y="5063045"/>
              <a:ext cx="138233" cy="10342"/>
            </a:xfrm>
            <a:custGeom>
              <a:avLst/>
              <a:gdLst>
                <a:gd name="connsiteX0" fmla="*/ 135240 w 138233"/>
                <a:gd name="connsiteY0" fmla="*/ 2865 h 10342"/>
                <a:gd name="connsiteX1" fmla="*/ 107602 w 138233"/>
                <a:gd name="connsiteY1" fmla="*/ 808 h 10342"/>
                <a:gd name="connsiteX2" fmla="*/ 69482 w 138233"/>
                <a:gd name="connsiteY2" fmla="*/ 775 h 10342"/>
                <a:gd name="connsiteX3" fmla="*/ 1499 w 138233"/>
                <a:gd name="connsiteY3" fmla="*/ 3303 h 10342"/>
                <a:gd name="connsiteX4" fmla="*/ 252 w 138233"/>
                <a:gd name="connsiteY4" fmla="*/ 6235 h 10342"/>
                <a:gd name="connsiteX5" fmla="*/ 2106 w 138233"/>
                <a:gd name="connsiteY5" fmla="*/ 9370 h 10342"/>
                <a:gd name="connsiteX6" fmla="*/ 5611 w 138233"/>
                <a:gd name="connsiteY6" fmla="*/ 7381 h 10342"/>
                <a:gd name="connsiteX7" fmla="*/ 5139 w 138233"/>
                <a:gd name="connsiteY7" fmla="*/ 6572 h 10342"/>
                <a:gd name="connsiteX8" fmla="*/ 37765 w 138233"/>
                <a:gd name="connsiteY8" fmla="*/ 4651 h 10342"/>
                <a:gd name="connsiteX9" fmla="*/ 77099 w 138233"/>
                <a:gd name="connsiteY9" fmla="*/ 4550 h 10342"/>
                <a:gd name="connsiteX10" fmla="*/ 114511 w 138233"/>
                <a:gd name="connsiteY10" fmla="*/ 5898 h 10342"/>
                <a:gd name="connsiteX11" fmla="*/ 137262 w 138233"/>
                <a:gd name="connsiteY11" fmla="*/ 6336 h 10342"/>
                <a:gd name="connsiteX12" fmla="*/ 135240 w 138233"/>
                <a:gd name="connsiteY12" fmla="*/ 2865 h 10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8233" h="10342">
                  <a:moveTo>
                    <a:pt x="135240" y="2865"/>
                  </a:moveTo>
                  <a:cubicBezTo>
                    <a:pt x="127522" y="7010"/>
                    <a:pt x="115792" y="1550"/>
                    <a:pt x="107602" y="808"/>
                  </a:cubicBezTo>
                  <a:cubicBezTo>
                    <a:pt x="94963" y="-304"/>
                    <a:pt x="82121" y="573"/>
                    <a:pt x="69482" y="775"/>
                  </a:cubicBezTo>
                  <a:cubicBezTo>
                    <a:pt x="47338" y="1112"/>
                    <a:pt x="23138" y="-2427"/>
                    <a:pt x="1499" y="3303"/>
                  </a:cubicBezTo>
                  <a:cubicBezTo>
                    <a:pt x="252" y="3640"/>
                    <a:pt x="-389" y="5123"/>
                    <a:pt x="252" y="6235"/>
                  </a:cubicBezTo>
                  <a:cubicBezTo>
                    <a:pt x="859" y="7280"/>
                    <a:pt x="1465" y="8325"/>
                    <a:pt x="2106" y="9370"/>
                  </a:cubicBezTo>
                  <a:cubicBezTo>
                    <a:pt x="3420" y="11594"/>
                    <a:pt x="6892" y="9606"/>
                    <a:pt x="5611" y="7381"/>
                  </a:cubicBezTo>
                  <a:cubicBezTo>
                    <a:pt x="5442" y="7111"/>
                    <a:pt x="5308" y="6842"/>
                    <a:pt x="5139" y="6572"/>
                  </a:cubicBezTo>
                  <a:cubicBezTo>
                    <a:pt x="15824" y="4213"/>
                    <a:pt x="26879" y="4516"/>
                    <a:pt x="37765" y="4651"/>
                  </a:cubicBezTo>
                  <a:cubicBezTo>
                    <a:pt x="50877" y="4820"/>
                    <a:pt x="63988" y="4988"/>
                    <a:pt x="77099" y="4550"/>
                  </a:cubicBezTo>
                  <a:cubicBezTo>
                    <a:pt x="89469" y="4146"/>
                    <a:pt x="102310" y="3606"/>
                    <a:pt x="114511" y="5898"/>
                  </a:cubicBezTo>
                  <a:cubicBezTo>
                    <a:pt x="121590" y="7212"/>
                    <a:pt x="130454" y="9976"/>
                    <a:pt x="137262" y="6336"/>
                  </a:cubicBezTo>
                  <a:cubicBezTo>
                    <a:pt x="139487" y="5123"/>
                    <a:pt x="137498" y="1618"/>
                    <a:pt x="135240" y="2865"/>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sp>
          <p:nvSpPr>
            <p:cNvPr id="407" name="Freeform: Shape 406">
              <a:extLst>
                <a:ext uri="{FF2B5EF4-FFF2-40B4-BE49-F238E27FC236}">
                  <a16:creationId xmlns:a16="http://schemas.microsoft.com/office/drawing/2014/main" id="{814964B7-3156-4AF5-97E7-4D19F318C6BA}"/>
                </a:ext>
              </a:extLst>
            </p:cNvPr>
            <p:cNvSpPr/>
            <p:nvPr/>
          </p:nvSpPr>
          <p:spPr>
            <a:xfrm>
              <a:off x="1049729" y="4895382"/>
              <a:ext cx="44331" cy="56893"/>
            </a:xfrm>
            <a:custGeom>
              <a:avLst/>
              <a:gdLst>
                <a:gd name="connsiteX0" fmla="*/ 6231 w 44331"/>
                <a:gd name="connsiteY0" fmla="*/ 53975 h 56893"/>
                <a:gd name="connsiteX1" fmla="*/ 13175 w 44331"/>
                <a:gd name="connsiteY1" fmla="*/ 40122 h 56893"/>
                <a:gd name="connsiteX2" fmla="*/ 22140 w 44331"/>
                <a:gd name="connsiteY2" fmla="*/ 29405 h 56893"/>
                <a:gd name="connsiteX3" fmla="*/ 43745 w 44331"/>
                <a:gd name="connsiteY3" fmla="*/ 3418 h 56893"/>
                <a:gd name="connsiteX4" fmla="*/ 40914 w 44331"/>
                <a:gd name="connsiteY4" fmla="*/ 587 h 56893"/>
                <a:gd name="connsiteX5" fmla="*/ 20354 w 44331"/>
                <a:gd name="connsiteY5" fmla="*/ 24652 h 56893"/>
                <a:gd name="connsiteX6" fmla="*/ 266 w 44331"/>
                <a:gd name="connsiteY6" fmla="*/ 50200 h 56893"/>
                <a:gd name="connsiteX7" fmla="*/ 266 w 44331"/>
                <a:gd name="connsiteY7" fmla="*/ 52189 h 56893"/>
                <a:gd name="connsiteX8" fmla="*/ 2760 w 44331"/>
                <a:gd name="connsiteY8" fmla="*/ 55964 h 56893"/>
                <a:gd name="connsiteX9" fmla="*/ 6231 w 44331"/>
                <a:gd name="connsiteY9" fmla="*/ 53975 h 56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331" h="56893">
                  <a:moveTo>
                    <a:pt x="6231" y="53975"/>
                  </a:moveTo>
                  <a:cubicBezTo>
                    <a:pt x="2827" y="48785"/>
                    <a:pt x="9703" y="43931"/>
                    <a:pt x="13175" y="40122"/>
                  </a:cubicBezTo>
                  <a:cubicBezTo>
                    <a:pt x="16309" y="36685"/>
                    <a:pt x="19511" y="33280"/>
                    <a:pt x="22140" y="29405"/>
                  </a:cubicBezTo>
                  <a:cubicBezTo>
                    <a:pt x="28611" y="19832"/>
                    <a:pt x="35555" y="11608"/>
                    <a:pt x="43745" y="3418"/>
                  </a:cubicBezTo>
                  <a:cubicBezTo>
                    <a:pt x="45565" y="1598"/>
                    <a:pt x="42734" y="-1233"/>
                    <a:pt x="40914" y="587"/>
                  </a:cubicBezTo>
                  <a:cubicBezTo>
                    <a:pt x="33398" y="8103"/>
                    <a:pt x="26050" y="15619"/>
                    <a:pt x="20354" y="24652"/>
                  </a:cubicBezTo>
                  <a:cubicBezTo>
                    <a:pt x="14556" y="33887"/>
                    <a:pt x="5827" y="40796"/>
                    <a:pt x="266" y="50200"/>
                  </a:cubicBezTo>
                  <a:cubicBezTo>
                    <a:pt x="-71" y="50773"/>
                    <a:pt x="-105" y="51616"/>
                    <a:pt x="266" y="52189"/>
                  </a:cubicBezTo>
                  <a:cubicBezTo>
                    <a:pt x="1108" y="53436"/>
                    <a:pt x="1917" y="54717"/>
                    <a:pt x="2760" y="55964"/>
                  </a:cubicBezTo>
                  <a:cubicBezTo>
                    <a:pt x="4142" y="58121"/>
                    <a:pt x="7647" y="56132"/>
                    <a:pt x="6231" y="53975"/>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sp>
          <p:nvSpPr>
            <p:cNvPr id="408" name="Freeform: Shape 407">
              <a:extLst>
                <a:ext uri="{FF2B5EF4-FFF2-40B4-BE49-F238E27FC236}">
                  <a16:creationId xmlns:a16="http://schemas.microsoft.com/office/drawing/2014/main" id="{C2EDEDC1-E77D-4078-B14C-A9641D2842EB}"/>
                </a:ext>
              </a:extLst>
            </p:cNvPr>
            <p:cNvSpPr/>
            <p:nvPr/>
          </p:nvSpPr>
          <p:spPr>
            <a:xfrm>
              <a:off x="1005662" y="5387273"/>
              <a:ext cx="67519" cy="39869"/>
            </a:xfrm>
            <a:custGeom>
              <a:avLst/>
              <a:gdLst>
                <a:gd name="connsiteX0" fmla="*/ 66915 w 67519"/>
                <a:gd name="connsiteY0" fmla="*/ 14000 h 39869"/>
                <a:gd name="connsiteX1" fmla="*/ 56467 w 67519"/>
                <a:gd name="connsiteY1" fmla="*/ 855 h 39869"/>
                <a:gd name="connsiteX2" fmla="*/ 49220 w 67519"/>
                <a:gd name="connsiteY2" fmla="*/ 315 h 39869"/>
                <a:gd name="connsiteX3" fmla="*/ 48647 w 67519"/>
                <a:gd name="connsiteY3" fmla="*/ 349 h 39869"/>
                <a:gd name="connsiteX4" fmla="*/ 20436 w 67519"/>
                <a:gd name="connsiteY4" fmla="*/ 9686 h 39869"/>
                <a:gd name="connsiteX5" fmla="*/ 3314 w 67519"/>
                <a:gd name="connsiteY5" fmla="*/ 22257 h 39869"/>
                <a:gd name="connsiteX6" fmla="*/ 887 w 67519"/>
                <a:gd name="connsiteY6" fmla="*/ 34155 h 39869"/>
                <a:gd name="connsiteX7" fmla="*/ 2134 w 67519"/>
                <a:gd name="connsiteY7" fmla="*/ 36481 h 39869"/>
                <a:gd name="connsiteX8" fmla="*/ 20638 w 67519"/>
                <a:gd name="connsiteY8" fmla="*/ 38402 h 39869"/>
                <a:gd name="connsiteX9" fmla="*/ 29267 w 67519"/>
                <a:gd name="connsiteY9" fmla="*/ 35099 h 39869"/>
                <a:gd name="connsiteX10" fmla="*/ 36817 w 67519"/>
                <a:gd name="connsiteY10" fmla="*/ 34560 h 39869"/>
                <a:gd name="connsiteX11" fmla="*/ 55624 w 67519"/>
                <a:gd name="connsiteY11" fmla="*/ 25291 h 39869"/>
                <a:gd name="connsiteX12" fmla="*/ 66915 w 67519"/>
                <a:gd name="connsiteY12" fmla="*/ 14000 h 39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519" h="39869">
                  <a:moveTo>
                    <a:pt x="66915" y="14000"/>
                  </a:moveTo>
                  <a:cubicBezTo>
                    <a:pt x="69544" y="6349"/>
                    <a:pt x="63140" y="2270"/>
                    <a:pt x="56467" y="855"/>
                  </a:cubicBezTo>
                  <a:cubicBezTo>
                    <a:pt x="54242" y="-89"/>
                    <a:pt x="51680" y="-224"/>
                    <a:pt x="49220" y="315"/>
                  </a:cubicBezTo>
                  <a:cubicBezTo>
                    <a:pt x="49018" y="315"/>
                    <a:pt x="48849" y="349"/>
                    <a:pt x="48647" y="349"/>
                  </a:cubicBezTo>
                  <a:cubicBezTo>
                    <a:pt x="38906" y="1394"/>
                    <a:pt x="29065" y="5236"/>
                    <a:pt x="20436" y="9686"/>
                  </a:cubicBezTo>
                  <a:cubicBezTo>
                    <a:pt x="14639" y="12685"/>
                    <a:pt x="7392" y="16561"/>
                    <a:pt x="3314" y="22257"/>
                  </a:cubicBezTo>
                  <a:cubicBezTo>
                    <a:pt x="415" y="25392"/>
                    <a:pt x="-1068" y="29369"/>
                    <a:pt x="887" y="34155"/>
                  </a:cubicBezTo>
                  <a:cubicBezTo>
                    <a:pt x="1191" y="34998"/>
                    <a:pt x="1595" y="35773"/>
                    <a:pt x="2134" y="36481"/>
                  </a:cubicBezTo>
                  <a:cubicBezTo>
                    <a:pt x="6010" y="41503"/>
                    <a:pt x="15448" y="39851"/>
                    <a:pt x="20638" y="38402"/>
                  </a:cubicBezTo>
                  <a:cubicBezTo>
                    <a:pt x="23604" y="37560"/>
                    <a:pt x="26469" y="36413"/>
                    <a:pt x="29267" y="35099"/>
                  </a:cubicBezTo>
                  <a:cubicBezTo>
                    <a:pt x="31795" y="34863"/>
                    <a:pt x="34322" y="34829"/>
                    <a:pt x="36817" y="34560"/>
                  </a:cubicBezTo>
                  <a:cubicBezTo>
                    <a:pt x="44602" y="33717"/>
                    <a:pt x="50231" y="31021"/>
                    <a:pt x="55624" y="25291"/>
                  </a:cubicBezTo>
                  <a:cubicBezTo>
                    <a:pt x="58927" y="21785"/>
                    <a:pt x="65264" y="18853"/>
                    <a:pt x="66915" y="14000"/>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sp>
          <p:nvSpPr>
            <p:cNvPr id="409" name="Freeform: Shape 408">
              <a:extLst>
                <a:ext uri="{FF2B5EF4-FFF2-40B4-BE49-F238E27FC236}">
                  <a16:creationId xmlns:a16="http://schemas.microsoft.com/office/drawing/2014/main" id="{D3D26B4F-F29C-4C51-967D-36C466EA4179}"/>
                </a:ext>
              </a:extLst>
            </p:cNvPr>
            <p:cNvSpPr/>
            <p:nvPr/>
          </p:nvSpPr>
          <p:spPr>
            <a:xfrm>
              <a:off x="1181372" y="5111911"/>
              <a:ext cx="31598" cy="59503"/>
            </a:xfrm>
            <a:custGeom>
              <a:avLst/>
              <a:gdLst>
                <a:gd name="connsiteX0" fmla="*/ 28350 w 31598"/>
                <a:gd name="connsiteY0" fmla="*/ 43417 h 59503"/>
                <a:gd name="connsiteX1" fmla="*/ 29462 w 31598"/>
                <a:gd name="connsiteY1" fmla="*/ 12173 h 59503"/>
                <a:gd name="connsiteX2" fmla="*/ 26395 w 31598"/>
                <a:gd name="connsiteY2" fmla="*/ 6881 h 59503"/>
                <a:gd name="connsiteX3" fmla="*/ 25013 w 31598"/>
                <a:gd name="connsiteY3" fmla="*/ 3409 h 59503"/>
                <a:gd name="connsiteX4" fmla="*/ 15879 w 31598"/>
                <a:gd name="connsiteY4" fmla="*/ 882 h 59503"/>
                <a:gd name="connsiteX5" fmla="*/ 14328 w 31598"/>
                <a:gd name="connsiteY5" fmla="*/ 2028 h 59503"/>
                <a:gd name="connsiteX6" fmla="*/ 10250 w 31598"/>
                <a:gd name="connsiteY6" fmla="*/ 2736 h 59503"/>
                <a:gd name="connsiteX7" fmla="*/ 4 w 31598"/>
                <a:gd name="connsiteY7" fmla="*/ 26160 h 59503"/>
                <a:gd name="connsiteX8" fmla="*/ 4857 w 31598"/>
                <a:gd name="connsiteY8" fmla="*/ 48777 h 59503"/>
                <a:gd name="connsiteX9" fmla="*/ 6138 w 31598"/>
                <a:gd name="connsiteY9" fmla="*/ 52686 h 59503"/>
                <a:gd name="connsiteX10" fmla="*/ 23530 w 31598"/>
                <a:gd name="connsiteY10" fmla="*/ 56158 h 59503"/>
                <a:gd name="connsiteX11" fmla="*/ 28350 w 31598"/>
                <a:gd name="connsiteY11" fmla="*/ 43417 h 59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598" h="59503">
                  <a:moveTo>
                    <a:pt x="28350" y="43417"/>
                  </a:moveTo>
                  <a:cubicBezTo>
                    <a:pt x="33102" y="34620"/>
                    <a:pt x="31889" y="19521"/>
                    <a:pt x="29462" y="12173"/>
                  </a:cubicBezTo>
                  <a:cubicBezTo>
                    <a:pt x="28821" y="10184"/>
                    <a:pt x="27743" y="8398"/>
                    <a:pt x="26395" y="6881"/>
                  </a:cubicBezTo>
                  <a:cubicBezTo>
                    <a:pt x="25957" y="5735"/>
                    <a:pt x="25518" y="4556"/>
                    <a:pt x="25013" y="3409"/>
                  </a:cubicBezTo>
                  <a:cubicBezTo>
                    <a:pt x="23698" y="275"/>
                    <a:pt x="18575" y="-1006"/>
                    <a:pt x="15879" y="882"/>
                  </a:cubicBezTo>
                  <a:cubicBezTo>
                    <a:pt x="15340" y="1252"/>
                    <a:pt x="14834" y="1657"/>
                    <a:pt x="14328" y="2028"/>
                  </a:cubicBezTo>
                  <a:cubicBezTo>
                    <a:pt x="12946" y="1927"/>
                    <a:pt x="11531" y="2196"/>
                    <a:pt x="10250" y="2736"/>
                  </a:cubicBezTo>
                  <a:cubicBezTo>
                    <a:pt x="1655" y="6342"/>
                    <a:pt x="105" y="18038"/>
                    <a:pt x="4" y="26160"/>
                  </a:cubicBezTo>
                  <a:cubicBezTo>
                    <a:pt x="-64" y="33373"/>
                    <a:pt x="745" y="42373"/>
                    <a:pt x="4857" y="48777"/>
                  </a:cubicBezTo>
                  <a:cubicBezTo>
                    <a:pt x="5194" y="50158"/>
                    <a:pt x="5599" y="51473"/>
                    <a:pt x="6138" y="52686"/>
                  </a:cubicBezTo>
                  <a:cubicBezTo>
                    <a:pt x="9407" y="59899"/>
                    <a:pt x="17665" y="61921"/>
                    <a:pt x="23530" y="56158"/>
                  </a:cubicBezTo>
                  <a:cubicBezTo>
                    <a:pt x="27305" y="52450"/>
                    <a:pt x="28114" y="48035"/>
                    <a:pt x="28350" y="43417"/>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sp>
          <p:nvSpPr>
            <p:cNvPr id="410" name="Freeform: Shape 409">
              <a:extLst>
                <a:ext uri="{FF2B5EF4-FFF2-40B4-BE49-F238E27FC236}">
                  <a16:creationId xmlns:a16="http://schemas.microsoft.com/office/drawing/2014/main" id="{BEDF3BB4-1357-4FC2-B424-831EED7ADFB8}"/>
                </a:ext>
              </a:extLst>
            </p:cNvPr>
            <p:cNvSpPr/>
            <p:nvPr/>
          </p:nvSpPr>
          <p:spPr>
            <a:xfrm>
              <a:off x="1078183" y="4868873"/>
              <a:ext cx="43830" cy="42667"/>
            </a:xfrm>
            <a:custGeom>
              <a:avLst/>
              <a:gdLst>
                <a:gd name="connsiteX0" fmla="*/ 43806 w 43830"/>
                <a:gd name="connsiteY0" fmla="*/ 36297 h 42667"/>
                <a:gd name="connsiteX1" fmla="*/ 39390 w 43830"/>
                <a:gd name="connsiteY1" fmla="*/ 26827 h 42667"/>
                <a:gd name="connsiteX2" fmla="*/ 34166 w 43830"/>
                <a:gd name="connsiteY2" fmla="*/ 15131 h 42667"/>
                <a:gd name="connsiteX3" fmla="*/ 32919 w 43830"/>
                <a:gd name="connsiteY3" fmla="*/ 13345 h 42667"/>
                <a:gd name="connsiteX4" fmla="*/ 158 w 43830"/>
                <a:gd name="connsiteY4" fmla="*/ 6873 h 42667"/>
                <a:gd name="connsiteX5" fmla="*/ 42390 w 43830"/>
                <a:gd name="connsiteY5" fmla="*/ 42668 h 42667"/>
                <a:gd name="connsiteX6" fmla="*/ 43806 w 43830"/>
                <a:gd name="connsiteY6" fmla="*/ 36297 h 42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30" h="42667">
                  <a:moveTo>
                    <a:pt x="43806" y="36297"/>
                  </a:moveTo>
                  <a:cubicBezTo>
                    <a:pt x="43570" y="33028"/>
                    <a:pt x="41952" y="29893"/>
                    <a:pt x="39390" y="26827"/>
                  </a:cubicBezTo>
                  <a:cubicBezTo>
                    <a:pt x="39188" y="22681"/>
                    <a:pt x="36862" y="18636"/>
                    <a:pt x="34166" y="15131"/>
                  </a:cubicBezTo>
                  <a:cubicBezTo>
                    <a:pt x="33863" y="14524"/>
                    <a:pt x="33458" y="13917"/>
                    <a:pt x="32919" y="13345"/>
                  </a:cubicBezTo>
                  <a:cubicBezTo>
                    <a:pt x="27762" y="7817"/>
                    <a:pt x="3629" y="-9507"/>
                    <a:pt x="158" y="6873"/>
                  </a:cubicBezTo>
                  <a:cubicBezTo>
                    <a:pt x="-2673" y="20288"/>
                    <a:pt x="33425" y="41623"/>
                    <a:pt x="42390" y="42668"/>
                  </a:cubicBezTo>
                  <a:cubicBezTo>
                    <a:pt x="43536" y="40511"/>
                    <a:pt x="43940" y="38387"/>
                    <a:pt x="43806" y="36297"/>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sp>
          <p:nvSpPr>
            <p:cNvPr id="411" name="Freeform: Shape 410">
              <a:extLst>
                <a:ext uri="{FF2B5EF4-FFF2-40B4-BE49-F238E27FC236}">
                  <a16:creationId xmlns:a16="http://schemas.microsoft.com/office/drawing/2014/main" id="{DBF77701-6D91-4778-AA97-DA17DC284DE0}"/>
                </a:ext>
              </a:extLst>
            </p:cNvPr>
            <p:cNvSpPr/>
            <p:nvPr/>
          </p:nvSpPr>
          <p:spPr>
            <a:xfrm>
              <a:off x="851523" y="5312844"/>
              <a:ext cx="10980" cy="68956"/>
            </a:xfrm>
            <a:custGeom>
              <a:avLst/>
              <a:gdLst>
                <a:gd name="connsiteX0" fmla="*/ 3893 w 10980"/>
                <a:gd name="connsiteY0" fmla="*/ 3729 h 68956"/>
                <a:gd name="connsiteX1" fmla="*/ 5646 w 10980"/>
                <a:gd name="connsiteY1" fmla="*/ 19132 h 68956"/>
                <a:gd name="connsiteX2" fmla="*/ 3994 w 10980"/>
                <a:gd name="connsiteY2" fmla="*/ 33018 h 68956"/>
                <a:gd name="connsiteX3" fmla="*/ 51 w 10980"/>
                <a:gd name="connsiteY3" fmla="*/ 66588 h 68956"/>
                <a:gd name="connsiteX4" fmla="*/ 3960 w 10980"/>
                <a:gd name="connsiteY4" fmla="*/ 67431 h 68956"/>
                <a:gd name="connsiteX5" fmla="*/ 8039 w 10980"/>
                <a:gd name="connsiteY5" fmla="*/ 36052 h 68956"/>
                <a:gd name="connsiteX6" fmla="*/ 10937 w 10980"/>
                <a:gd name="connsiteY6" fmla="*/ 3661 h 68956"/>
                <a:gd name="connsiteX7" fmla="*/ 9859 w 10980"/>
                <a:gd name="connsiteY7" fmla="*/ 2010 h 68956"/>
                <a:gd name="connsiteX8" fmla="*/ 5713 w 10980"/>
                <a:gd name="connsiteY8" fmla="*/ 189 h 68956"/>
                <a:gd name="connsiteX9" fmla="*/ 3893 w 10980"/>
                <a:gd name="connsiteY9" fmla="*/ 3729 h 68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980" h="68956">
                  <a:moveTo>
                    <a:pt x="3893" y="3729"/>
                  </a:moveTo>
                  <a:cubicBezTo>
                    <a:pt x="9589" y="6223"/>
                    <a:pt x="6488" y="14042"/>
                    <a:pt x="5646" y="19132"/>
                  </a:cubicBezTo>
                  <a:cubicBezTo>
                    <a:pt x="4904" y="23749"/>
                    <a:pt x="4061" y="28333"/>
                    <a:pt x="3994" y="33018"/>
                  </a:cubicBezTo>
                  <a:cubicBezTo>
                    <a:pt x="3792" y="44579"/>
                    <a:pt x="2477" y="55263"/>
                    <a:pt x="51" y="66588"/>
                  </a:cubicBezTo>
                  <a:cubicBezTo>
                    <a:pt x="-489" y="69116"/>
                    <a:pt x="3455" y="69958"/>
                    <a:pt x="3960" y="67431"/>
                  </a:cubicBezTo>
                  <a:cubicBezTo>
                    <a:pt x="6151" y="57050"/>
                    <a:pt x="8241" y="46702"/>
                    <a:pt x="8039" y="36052"/>
                  </a:cubicBezTo>
                  <a:cubicBezTo>
                    <a:pt x="7870" y="25131"/>
                    <a:pt x="11409" y="14615"/>
                    <a:pt x="10937" y="3661"/>
                  </a:cubicBezTo>
                  <a:cubicBezTo>
                    <a:pt x="10904" y="2987"/>
                    <a:pt x="10465" y="2279"/>
                    <a:pt x="9859" y="2010"/>
                  </a:cubicBezTo>
                  <a:cubicBezTo>
                    <a:pt x="8477" y="1403"/>
                    <a:pt x="7095" y="796"/>
                    <a:pt x="5713" y="189"/>
                  </a:cubicBezTo>
                  <a:cubicBezTo>
                    <a:pt x="3354" y="-856"/>
                    <a:pt x="1500" y="2717"/>
                    <a:pt x="3893" y="3729"/>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sp>
          <p:nvSpPr>
            <p:cNvPr id="412" name="Freeform: Shape 411">
              <a:extLst>
                <a:ext uri="{FF2B5EF4-FFF2-40B4-BE49-F238E27FC236}">
                  <a16:creationId xmlns:a16="http://schemas.microsoft.com/office/drawing/2014/main" id="{FFE11047-C421-4115-8CF9-7E669985C2DA}"/>
                </a:ext>
              </a:extLst>
            </p:cNvPr>
            <p:cNvSpPr/>
            <p:nvPr/>
          </p:nvSpPr>
          <p:spPr>
            <a:xfrm>
              <a:off x="820764" y="5379132"/>
              <a:ext cx="57424" cy="30365"/>
            </a:xfrm>
            <a:custGeom>
              <a:avLst/>
              <a:gdLst>
                <a:gd name="connsiteX0" fmla="*/ 1722 w 57424"/>
                <a:gd name="connsiteY0" fmla="*/ 22377 h 30365"/>
                <a:gd name="connsiteX1" fmla="*/ 56054 w 57424"/>
                <a:gd name="connsiteY1" fmla="*/ 11355 h 30365"/>
                <a:gd name="connsiteX2" fmla="*/ 1351 w 57424"/>
                <a:gd name="connsiteY2" fmla="*/ 5727 h 30365"/>
                <a:gd name="connsiteX3" fmla="*/ 1722 w 57424"/>
                <a:gd name="connsiteY3" fmla="*/ 22377 h 30365"/>
              </a:gdLst>
              <a:ahLst/>
              <a:cxnLst>
                <a:cxn ang="0">
                  <a:pos x="connsiteX0" y="connsiteY0"/>
                </a:cxn>
                <a:cxn ang="0">
                  <a:pos x="connsiteX1" y="connsiteY1"/>
                </a:cxn>
                <a:cxn ang="0">
                  <a:pos x="connsiteX2" y="connsiteY2"/>
                </a:cxn>
                <a:cxn ang="0">
                  <a:pos x="connsiteX3" y="connsiteY3"/>
                </a:cxn>
              </a:cxnLst>
              <a:rect l="l" t="t" r="r" b="b"/>
              <a:pathLst>
                <a:path w="57424" h="30365">
                  <a:moveTo>
                    <a:pt x="1722" y="22377"/>
                  </a:moveTo>
                  <a:cubicBezTo>
                    <a:pt x="15204" y="31477"/>
                    <a:pt x="66402" y="38117"/>
                    <a:pt x="56054" y="11355"/>
                  </a:cubicBezTo>
                  <a:cubicBezTo>
                    <a:pt x="49145" y="-6407"/>
                    <a:pt x="13889" y="738"/>
                    <a:pt x="1351" y="5727"/>
                  </a:cubicBezTo>
                  <a:cubicBezTo>
                    <a:pt x="172" y="6165"/>
                    <a:pt x="-1143" y="20456"/>
                    <a:pt x="1722" y="22377"/>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sp>
          <p:nvSpPr>
            <p:cNvPr id="413" name="Freeform: Shape 412">
              <a:extLst>
                <a:ext uri="{FF2B5EF4-FFF2-40B4-BE49-F238E27FC236}">
                  <a16:creationId xmlns:a16="http://schemas.microsoft.com/office/drawing/2014/main" id="{64B0ACDC-5124-4A59-8D70-310297904AFE}"/>
                </a:ext>
              </a:extLst>
            </p:cNvPr>
            <p:cNvSpPr/>
            <p:nvPr/>
          </p:nvSpPr>
          <p:spPr>
            <a:xfrm>
              <a:off x="875286" y="4747501"/>
              <a:ext cx="86701" cy="44362"/>
            </a:xfrm>
            <a:custGeom>
              <a:avLst/>
              <a:gdLst>
                <a:gd name="connsiteX0" fmla="*/ 78313 w 86701"/>
                <a:gd name="connsiteY0" fmla="*/ 39904 h 44362"/>
                <a:gd name="connsiteX1" fmla="*/ 86200 w 86701"/>
                <a:gd name="connsiteY1" fmla="*/ 34141 h 44362"/>
                <a:gd name="connsiteX2" fmla="*/ 10397 w 86701"/>
                <a:gd name="connsiteY2" fmla="*/ 1211 h 44362"/>
                <a:gd name="connsiteX3" fmla="*/ 589 w 86701"/>
                <a:gd name="connsiteY3" fmla="*/ 9503 h 44362"/>
                <a:gd name="connsiteX4" fmla="*/ 2477 w 86701"/>
                <a:gd name="connsiteY4" fmla="*/ 18333 h 44362"/>
                <a:gd name="connsiteX5" fmla="*/ 5072 w 86701"/>
                <a:gd name="connsiteY5" fmla="*/ 24838 h 44362"/>
                <a:gd name="connsiteX6" fmla="*/ 67190 w 86701"/>
                <a:gd name="connsiteY6" fmla="*/ 44320 h 44362"/>
                <a:gd name="connsiteX7" fmla="*/ 78313 w 86701"/>
                <a:gd name="connsiteY7" fmla="*/ 39904 h 44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6701" h="44362">
                  <a:moveTo>
                    <a:pt x="78313" y="39904"/>
                  </a:moveTo>
                  <a:cubicBezTo>
                    <a:pt x="82121" y="39702"/>
                    <a:pt x="85256" y="38320"/>
                    <a:pt x="86200" y="34141"/>
                  </a:cubicBezTo>
                  <a:cubicBezTo>
                    <a:pt x="92974" y="3570"/>
                    <a:pt x="29238" y="-3171"/>
                    <a:pt x="10397" y="1211"/>
                  </a:cubicBezTo>
                  <a:cubicBezTo>
                    <a:pt x="6151" y="2188"/>
                    <a:pt x="2645" y="4683"/>
                    <a:pt x="589" y="9503"/>
                  </a:cubicBezTo>
                  <a:cubicBezTo>
                    <a:pt x="-590" y="12266"/>
                    <a:pt x="-17" y="15738"/>
                    <a:pt x="2477" y="18333"/>
                  </a:cubicBezTo>
                  <a:cubicBezTo>
                    <a:pt x="2308" y="20591"/>
                    <a:pt x="3151" y="23086"/>
                    <a:pt x="5072" y="24838"/>
                  </a:cubicBezTo>
                  <a:cubicBezTo>
                    <a:pt x="19127" y="37747"/>
                    <a:pt x="48113" y="44994"/>
                    <a:pt x="67190" y="44320"/>
                  </a:cubicBezTo>
                  <a:cubicBezTo>
                    <a:pt x="71943" y="44185"/>
                    <a:pt x="76189" y="43005"/>
                    <a:pt x="78313" y="39904"/>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sp>
          <p:nvSpPr>
            <p:cNvPr id="414" name="Freeform: Shape 413">
              <a:extLst>
                <a:ext uri="{FF2B5EF4-FFF2-40B4-BE49-F238E27FC236}">
                  <a16:creationId xmlns:a16="http://schemas.microsoft.com/office/drawing/2014/main" id="{A1E3FB8E-BAB5-459A-9A8C-7878AF62AC9C}"/>
                </a:ext>
              </a:extLst>
            </p:cNvPr>
            <p:cNvSpPr/>
            <p:nvPr/>
          </p:nvSpPr>
          <p:spPr>
            <a:xfrm>
              <a:off x="648076" y="4836988"/>
              <a:ext cx="60416" cy="60533"/>
            </a:xfrm>
            <a:custGeom>
              <a:avLst/>
              <a:gdLst>
                <a:gd name="connsiteX0" fmla="*/ 56173 w 60416"/>
                <a:gd name="connsiteY0" fmla="*/ 28983 h 60533"/>
                <a:gd name="connsiteX1" fmla="*/ 57926 w 60416"/>
                <a:gd name="connsiteY1" fmla="*/ 6873 h 60533"/>
                <a:gd name="connsiteX2" fmla="*/ 55129 w 60416"/>
                <a:gd name="connsiteY2" fmla="*/ 4278 h 60533"/>
                <a:gd name="connsiteX3" fmla="*/ 42253 w 60416"/>
                <a:gd name="connsiteY3" fmla="*/ 368 h 60533"/>
                <a:gd name="connsiteX4" fmla="*/ 32647 w 60416"/>
                <a:gd name="connsiteY4" fmla="*/ 5390 h 60533"/>
                <a:gd name="connsiteX5" fmla="*/ 26446 w 60416"/>
                <a:gd name="connsiteY5" fmla="*/ 10412 h 60533"/>
                <a:gd name="connsiteX6" fmla="*/ 25131 w 60416"/>
                <a:gd name="connsiteY6" fmla="*/ 11423 h 60533"/>
                <a:gd name="connsiteX7" fmla="*/ 8211 w 60416"/>
                <a:gd name="connsiteY7" fmla="*/ 25815 h 60533"/>
                <a:gd name="connsiteX8" fmla="*/ 55 w 60416"/>
                <a:gd name="connsiteY8" fmla="*/ 44993 h 60533"/>
                <a:gd name="connsiteX9" fmla="*/ 14885 w 60416"/>
                <a:gd name="connsiteY9" fmla="*/ 60531 h 60533"/>
                <a:gd name="connsiteX10" fmla="*/ 35243 w 60416"/>
                <a:gd name="connsiteY10" fmla="*/ 50723 h 60533"/>
                <a:gd name="connsiteX11" fmla="*/ 56173 w 60416"/>
                <a:gd name="connsiteY11" fmla="*/ 28983 h 60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416" h="60533">
                  <a:moveTo>
                    <a:pt x="56173" y="28983"/>
                  </a:moveTo>
                  <a:cubicBezTo>
                    <a:pt x="59746" y="22647"/>
                    <a:pt x="62712" y="13344"/>
                    <a:pt x="57926" y="6873"/>
                  </a:cubicBezTo>
                  <a:cubicBezTo>
                    <a:pt x="57117" y="5794"/>
                    <a:pt x="56173" y="4952"/>
                    <a:pt x="55129" y="4278"/>
                  </a:cubicBezTo>
                  <a:cubicBezTo>
                    <a:pt x="51893" y="941"/>
                    <a:pt x="47073" y="-812"/>
                    <a:pt x="42253" y="368"/>
                  </a:cubicBezTo>
                  <a:cubicBezTo>
                    <a:pt x="38647" y="1244"/>
                    <a:pt x="35580" y="3165"/>
                    <a:pt x="32647" y="5390"/>
                  </a:cubicBezTo>
                  <a:cubicBezTo>
                    <a:pt x="30322" y="6670"/>
                    <a:pt x="28333" y="8457"/>
                    <a:pt x="26446" y="10412"/>
                  </a:cubicBezTo>
                  <a:cubicBezTo>
                    <a:pt x="26007" y="10749"/>
                    <a:pt x="25569" y="11086"/>
                    <a:pt x="25131" y="11423"/>
                  </a:cubicBezTo>
                  <a:cubicBezTo>
                    <a:pt x="19233" y="15872"/>
                    <a:pt x="13132" y="20254"/>
                    <a:pt x="8211" y="25815"/>
                  </a:cubicBezTo>
                  <a:cubicBezTo>
                    <a:pt x="3493" y="31140"/>
                    <a:pt x="-518" y="37612"/>
                    <a:pt x="55" y="44993"/>
                  </a:cubicBezTo>
                  <a:cubicBezTo>
                    <a:pt x="661" y="52678"/>
                    <a:pt x="6762" y="60396"/>
                    <a:pt x="14885" y="60531"/>
                  </a:cubicBezTo>
                  <a:cubicBezTo>
                    <a:pt x="22772" y="60666"/>
                    <a:pt x="29277" y="55138"/>
                    <a:pt x="35243" y="50723"/>
                  </a:cubicBezTo>
                  <a:cubicBezTo>
                    <a:pt x="43028" y="45060"/>
                    <a:pt x="51354" y="37477"/>
                    <a:pt x="56173" y="28983"/>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sp>
          <p:nvSpPr>
            <p:cNvPr id="415" name="Freeform: Shape 414">
              <a:extLst>
                <a:ext uri="{FF2B5EF4-FFF2-40B4-BE49-F238E27FC236}">
                  <a16:creationId xmlns:a16="http://schemas.microsoft.com/office/drawing/2014/main" id="{91917E13-F7EB-4714-8D58-3D79188C03F1}"/>
                </a:ext>
              </a:extLst>
            </p:cNvPr>
            <p:cNvSpPr/>
            <p:nvPr/>
          </p:nvSpPr>
          <p:spPr>
            <a:xfrm>
              <a:off x="534085" y="5017816"/>
              <a:ext cx="34197" cy="79571"/>
            </a:xfrm>
            <a:custGeom>
              <a:avLst/>
              <a:gdLst>
                <a:gd name="connsiteX0" fmla="*/ 25200 w 34197"/>
                <a:gd name="connsiteY0" fmla="*/ 74013 h 79571"/>
                <a:gd name="connsiteX1" fmla="*/ 26143 w 34197"/>
                <a:gd name="connsiteY1" fmla="*/ 72732 h 79571"/>
                <a:gd name="connsiteX2" fmla="*/ 32278 w 34197"/>
                <a:gd name="connsiteY2" fmla="*/ 49240 h 79571"/>
                <a:gd name="connsiteX3" fmla="*/ 29784 w 34197"/>
                <a:gd name="connsiteY3" fmla="*/ 14995 h 79571"/>
                <a:gd name="connsiteX4" fmla="*/ 18863 w 34197"/>
                <a:gd name="connsiteY4" fmla="*/ 98 h 79571"/>
                <a:gd name="connsiteX5" fmla="*/ 3966 w 34197"/>
                <a:gd name="connsiteY5" fmla="*/ 21669 h 79571"/>
                <a:gd name="connsiteX6" fmla="*/ 1876 w 34197"/>
                <a:gd name="connsiteY6" fmla="*/ 63665 h 79571"/>
                <a:gd name="connsiteX7" fmla="*/ 14549 w 34197"/>
                <a:gd name="connsiteY7" fmla="*/ 79507 h 79571"/>
                <a:gd name="connsiteX8" fmla="*/ 25200 w 34197"/>
                <a:gd name="connsiteY8" fmla="*/ 74013 h 79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197" h="79571">
                  <a:moveTo>
                    <a:pt x="25200" y="74013"/>
                  </a:moveTo>
                  <a:cubicBezTo>
                    <a:pt x="25537" y="73608"/>
                    <a:pt x="25840" y="73204"/>
                    <a:pt x="26143" y="72732"/>
                  </a:cubicBezTo>
                  <a:cubicBezTo>
                    <a:pt x="32446" y="67575"/>
                    <a:pt x="32884" y="57935"/>
                    <a:pt x="32278" y="49240"/>
                  </a:cubicBezTo>
                  <a:cubicBezTo>
                    <a:pt x="34637" y="37443"/>
                    <a:pt x="35817" y="25276"/>
                    <a:pt x="29784" y="14995"/>
                  </a:cubicBezTo>
                  <a:cubicBezTo>
                    <a:pt x="28907" y="8591"/>
                    <a:pt x="26278" y="1008"/>
                    <a:pt x="18863" y="98"/>
                  </a:cubicBezTo>
                  <a:cubicBezTo>
                    <a:pt x="7505" y="-1284"/>
                    <a:pt x="4842" y="12299"/>
                    <a:pt x="3966" y="21669"/>
                  </a:cubicBezTo>
                  <a:cubicBezTo>
                    <a:pt x="-1865" y="34645"/>
                    <a:pt x="-79" y="49981"/>
                    <a:pt x="1876" y="63665"/>
                  </a:cubicBezTo>
                  <a:cubicBezTo>
                    <a:pt x="2887" y="70743"/>
                    <a:pt x="6595" y="78630"/>
                    <a:pt x="14549" y="79507"/>
                  </a:cubicBezTo>
                  <a:cubicBezTo>
                    <a:pt x="19167" y="80012"/>
                    <a:pt x="22739" y="77484"/>
                    <a:pt x="25200" y="74013"/>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sp>
          <p:nvSpPr>
            <p:cNvPr id="416" name="Freeform: Shape 415">
              <a:extLst>
                <a:ext uri="{FF2B5EF4-FFF2-40B4-BE49-F238E27FC236}">
                  <a16:creationId xmlns:a16="http://schemas.microsoft.com/office/drawing/2014/main" id="{0BF19B92-20C3-42AD-85A9-48A5CD9A8E89}"/>
                </a:ext>
              </a:extLst>
            </p:cNvPr>
            <p:cNvSpPr/>
            <p:nvPr/>
          </p:nvSpPr>
          <p:spPr>
            <a:xfrm>
              <a:off x="574077" y="5295839"/>
              <a:ext cx="66547" cy="68669"/>
            </a:xfrm>
            <a:custGeom>
              <a:avLst/>
              <a:gdLst>
                <a:gd name="connsiteX0" fmla="*/ 66336 w 66547"/>
                <a:gd name="connsiteY0" fmla="*/ 58786 h 68669"/>
                <a:gd name="connsiteX1" fmla="*/ 60438 w 66547"/>
                <a:gd name="connsiteY1" fmla="*/ 39507 h 68669"/>
                <a:gd name="connsiteX2" fmla="*/ 47731 w 66547"/>
                <a:gd name="connsiteY2" fmla="*/ 24003 h 68669"/>
                <a:gd name="connsiteX3" fmla="*/ 24677 w 66547"/>
                <a:gd name="connsiteY3" fmla="*/ 2061 h 68669"/>
                <a:gd name="connsiteX4" fmla="*/ 20497 w 66547"/>
                <a:gd name="connsiteY4" fmla="*/ 1319 h 68669"/>
                <a:gd name="connsiteX5" fmla="*/ 9644 w 66547"/>
                <a:gd name="connsiteY5" fmla="*/ 611 h 68669"/>
                <a:gd name="connsiteX6" fmla="*/ 2802 w 66547"/>
                <a:gd name="connsiteY6" fmla="*/ 6577 h 68669"/>
                <a:gd name="connsiteX7" fmla="*/ 1522 w 66547"/>
                <a:gd name="connsiteY7" fmla="*/ 8903 h 68669"/>
                <a:gd name="connsiteX8" fmla="*/ 4757 w 66547"/>
                <a:gd name="connsiteY8" fmla="*/ 30238 h 68669"/>
                <a:gd name="connsiteX9" fmla="*/ 21610 w 66547"/>
                <a:gd name="connsiteY9" fmla="*/ 51337 h 68669"/>
                <a:gd name="connsiteX10" fmla="*/ 31418 w 66547"/>
                <a:gd name="connsiteY10" fmla="*/ 57033 h 68669"/>
                <a:gd name="connsiteX11" fmla="*/ 33069 w 66547"/>
                <a:gd name="connsiteY11" fmla="*/ 58584 h 68669"/>
                <a:gd name="connsiteX12" fmla="*/ 47461 w 66547"/>
                <a:gd name="connsiteY12" fmla="*/ 66673 h 68669"/>
                <a:gd name="connsiteX13" fmla="*/ 66336 w 66547"/>
                <a:gd name="connsiteY13" fmla="*/ 58786 h 68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547" h="68669">
                  <a:moveTo>
                    <a:pt x="66336" y="58786"/>
                  </a:moveTo>
                  <a:cubicBezTo>
                    <a:pt x="67448" y="52011"/>
                    <a:pt x="63977" y="45035"/>
                    <a:pt x="60438" y="39507"/>
                  </a:cubicBezTo>
                  <a:cubicBezTo>
                    <a:pt x="56798" y="33844"/>
                    <a:pt x="52382" y="28856"/>
                    <a:pt x="47731" y="24003"/>
                  </a:cubicBezTo>
                  <a:cubicBezTo>
                    <a:pt x="40417" y="16318"/>
                    <a:pt x="34316" y="7083"/>
                    <a:pt x="24677" y="2061"/>
                  </a:cubicBezTo>
                  <a:cubicBezTo>
                    <a:pt x="23362" y="1387"/>
                    <a:pt x="21913" y="1151"/>
                    <a:pt x="20497" y="1319"/>
                  </a:cubicBezTo>
                  <a:cubicBezTo>
                    <a:pt x="16891" y="5"/>
                    <a:pt x="13150" y="-501"/>
                    <a:pt x="9644" y="611"/>
                  </a:cubicBezTo>
                  <a:cubicBezTo>
                    <a:pt x="6105" y="1758"/>
                    <a:pt x="3948" y="3881"/>
                    <a:pt x="2802" y="6577"/>
                  </a:cubicBezTo>
                  <a:cubicBezTo>
                    <a:pt x="2330" y="7285"/>
                    <a:pt x="1892" y="8060"/>
                    <a:pt x="1522" y="8903"/>
                  </a:cubicBezTo>
                  <a:cubicBezTo>
                    <a:pt x="-1748" y="16284"/>
                    <a:pt x="679" y="23767"/>
                    <a:pt x="4757" y="30238"/>
                  </a:cubicBezTo>
                  <a:cubicBezTo>
                    <a:pt x="9442" y="37721"/>
                    <a:pt x="14565" y="45877"/>
                    <a:pt x="21610" y="51337"/>
                  </a:cubicBezTo>
                  <a:cubicBezTo>
                    <a:pt x="24643" y="53697"/>
                    <a:pt x="28014" y="55348"/>
                    <a:pt x="31418" y="57033"/>
                  </a:cubicBezTo>
                  <a:cubicBezTo>
                    <a:pt x="31991" y="57539"/>
                    <a:pt x="32530" y="58078"/>
                    <a:pt x="33069" y="58584"/>
                  </a:cubicBezTo>
                  <a:cubicBezTo>
                    <a:pt x="36844" y="62157"/>
                    <a:pt x="42035" y="65493"/>
                    <a:pt x="47461" y="66673"/>
                  </a:cubicBezTo>
                  <a:cubicBezTo>
                    <a:pt x="55786" y="70785"/>
                    <a:pt x="64685" y="68729"/>
                    <a:pt x="66336" y="58786"/>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sp>
          <p:nvSpPr>
            <p:cNvPr id="417" name="Freeform: Shape 416">
              <a:extLst>
                <a:ext uri="{FF2B5EF4-FFF2-40B4-BE49-F238E27FC236}">
                  <a16:creationId xmlns:a16="http://schemas.microsoft.com/office/drawing/2014/main" id="{144BB05D-07DA-4A71-BCAA-7345C340EF5B}"/>
                </a:ext>
              </a:extLst>
            </p:cNvPr>
            <p:cNvSpPr/>
            <p:nvPr/>
          </p:nvSpPr>
          <p:spPr>
            <a:xfrm>
              <a:off x="891454" y="4917950"/>
              <a:ext cx="68148" cy="19374"/>
            </a:xfrm>
            <a:custGeom>
              <a:avLst/>
              <a:gdLst>
                <a:gd name="connsiteX0" fmla="*/ 65009 w 68148"/>
                <a:gd name="connsiteY0" fmla="*/ 6702 h 19374"/>
                <a:gd name="connsiteX1" fmla="*/ 50246 w 68148"/>
                <a:gd name="connsiteY1" fmla="*/ 3702 h 19374"/>
                <a:gd name="connsiteX2" fmla="*/ 35012 w 68148"/>
                <a:gd name="connsiteY2" fmla="*/ 1208 h 19374"/>
                <a:gd name="connsiteX3" fmla="*/ 3531 w 68148"/>
                <a:gd name="connsiteY3" fmla="*/ 4781 h 19374"/>
                <a:gd name="connsiteX4" fmla="*/ 10138 w 68148"/>
                <a:gd name="connsiteY4" fmla="*/ 16409 h 19374"/>
                <a:gd name="connsiteX5" fmla="*/ 35248 w 68148"/>
                <a:gd name="connsiteY5" fmla="*/ 15263 h 19374"/>
                <a:gd name="connsiteX6" fmla="*/ 46404 w 68148"/>
                <a:gd name="connsiteY6" fmla="*/ 17151 h 19374"/>
                <a:gd name="connsiteX7" fmla="*/ 58403 w 68148"/>
                <a:gd name="connsiteY7" fmla="*/ 18296 h 19374"/>
                <a:gd name="connsiteX8" fmla="*/ 65009 w 68148"/>
                <a:gd name="connsiteY8" fmla="*/ 6702 h 19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148" h="19374">
                  <a:moveTo>
                    <a:pt x="65009" y="6702"/>
                  </a:moveTo>
                  <a:cubicBezTo>
                    <a:pt x="60223" y="3635"/>
                    <a:pt x="55774" y="3433"/>
                    <a:pt x="50246" y="3702"/>
                  </a:cubicBezTo>
                  <a:cubicBezTo>
                    <a:pt x="44685" y="3972"/>
                    <a:pt x="40303" y="2624"/>
                    <a:pt x="35012" y="1208"/>
                  </a:cubicBezTo>
                  <a:cubicBezTo>
                    <a:pt x="24833" y="-1488"/>
                    <a:pt x="13002" y="601"/>
                    <a:pt x="3531" y="4781"/>
                  </a:cubicBezTo>
                  <a:cubicBezTo>
                    <a:pt x="-4356" y="8286"/>
                    <a:pt x="2352" y="19881"/>
                    <a:pt x="10138" y="16409"/>
                  </a:cubicBezTo>
                  <a:cubicBezTo>
                    <a:pt x="18193" y="12836"/>
                    <a:pt x="26990" y="12836"/>
                    <a:pt x="35248" y="15263"/>
                  </a:cubicBezTo>
                  <a:cubicBezTo>
                    <a:pt x="38888" y="16342"/>
                    <a:pt x="42562" y="17049"/>
                    <a:pt x="46404" y="17151"/>
                  </a:cubicBezTo>
                  <a:cubicBezTo>
                    <a:pt x="50684" y="17252"/>
                    <a:pt x="54628" y="15870"/>
                    <a:pt x="58403" y="18296"/>
                  </a:cubicBezTo>
                  <a:cubicBezTo>
                    <a:pt x="65649" y="22948"/>
                    <a:pt x="72256" y="11320"/>
                    <a:pt x="65009" y="6702"/>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sp>
          <p:nvSpPr>
            <p:cNvPr id="418" name="Freeform: Shape 417">
              <a:extLst>
                <a:ext uri="{FF2B5EF4-FFF2-40B4-BE49-F238E27FC236}">
                  <a16:creationId xmlns:a16="http://schemas.microsoft.com/office/drawing/2014/main" id="{2704EB66-74AC-4C23-8A5B-B82478BB08E9}"/>
                </a:ext>
              </a:extLst>
            </p:cNvPr>
            <p:cNvSpPr/>
            <p:nvPr/>
          </p:nvSpPr>
          <p:spPr>
            <a:xfrm>
              <a:off x="723092" y="4929337"/>
              <a:ext cx="132458" cy="104214"/>
            </a:xfrm>
            <a:custGeom>
              <a:avLst/>
              <a:gdLst>
                <a:gd name="connsiteX0" fmla="*/ 126021 w 132458"/>
                <a:gd name="connsiteY0" fmla="*/ 101 h 104214"/>
                <a:gd name="connsiteX1" fmla="*/ 84732 w 132458"/>
                <a:gd name="connsiteY1" fmla="*/ 10617 h 104214"/>
                <a:gd name="connsiteX2" fmla="*/ 41287 w 132458"/>
                <a:gd name="connsiteY2" fmla="*/ 39064 h 104214"/>
                <a:gd name="connsiteX3" fmla="*/ 23693 w 132458"/>
                <a:gd name="connsiteY3" fmla="*/ 58006 h 104214"/>
                <a:gd name="connsiteX4" fmla="*/ 9537 w 132458"/>
                <a:gd name="connsiteY4" fmla="*/ 76140 h 104214"/>
                <a:gd name="connsiteX5" fmla="*/ 4009 w 132458"/>
                <a:gd name="connsiteY5" fmla="*/ 102295 h 104214"/>
                <a:gd name="connsiteX6" fmla="*/ 13480 w 132458"/>
                <a:gd name="connsiteY6" fmla="*/ 92823 h 104214"/>
                <a:gd name="connsiteX7" fmla="*/ 13379 w 132458"/>
                <a:gd name="connsiteY7" fmla="*/ 92756 h 104214"/>
                <a:gd name="connsiteX8" fmla="*/ 14424 w 132458"/>
                <a:gd name="connsiteY8" fmla="*/ 90970 h 104214"/>
                <a:gd name="connsiteX9" fmla="*/ 17828 w 132458"/>
                <a:gd name="connsiteY9" fmla="*/ 86824 h 104214"/>
                <a:gd name="connsiteX10" fmla="*/ 26895 w 132458"/>
                <a:gd name="connsiteY10" fmla="*/ 75634 h 104214"/>
                <a:gd name="connsiteX11" fmla="*/ 55881 w 132458"/>
                <a:gd name="connsiteY11" fmla="*/ 43749 h 104214"/>
                <a:gd name="connsiteX12" fmla="*/ 91945 w 132458"/>
                <a:gd name="connsiteY12" fmla="*/ 22043 h 104214"/>
                <a:gd name="connsiteX13" fmla="*/ 126055 w 132458"/>
                <a:gd name="connsiteY13" fmla="*/ 13448 h 104214"/>
                <a:gd name="connsiteX14" fmla="*/ 126021 w 132458"/>
                <a:gd name="connsiteY14" fmla="*/ 101 h 104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2458" h="104214">
                  <a:moveTo>
                    <a:pt x="126021" y="101"/>
                  </a:moveTo>
                  <a:cubicBezTo>
                    <a:pt x="112101" y="-876"/>
                    <a:pt x="97372" y="5427"/>
                    <a:pt x="84732" y="10617"/>
                  </a:cubicBezTo>
                  <a:cubicBezTo>
                    <a:pt x="69026" y="17055"/>
                    <a:pt x="53387" y="27132"/>
                    <a:pt x="41287" y="39064"/>
                  </a:cubicBezTo>
                  <a:cubicBezTo>
                    <a:pt x="35152" y="45097"/>
                    <a:pt x="29490" y="51636"/>
                    <a:pt x="23693" y="58006"/>
                  </a:cubicBezTo>
                  <a:cubicBezTo>
                    <a:pt x="18469" y="63703"/>
                    <a:pt x="14795" y="70511"/>
                    <a:pt x="9537" y="76140"/>
                  </a:cubicBezTo>
                  <a:cubicBezTo>
                    <a:pt x="2931" y="83251"/>
                    <a:pt x="-4923" y="93599"/>
                    <a:pt x="4009" y="102295"/>
                  </a:cubicBezTo>
                  <a:cubicBezTo>
                    <a:pt x="10177" y="108294"/>
                    <a:pt x="19648" y="98857"/>
                    <a:pt x="13480" y="92823"/>
                  </a:cubicBezTo>
                  <a:cubicBezTo>
                    <a:pt x="13446" y="92790"/>
                    <a:pt x="13413" y="92756"/>
                    <a:pt x="13379" y="92756"/>
                  </a:cubicBezTo>
                  <a:cubicBezTo>
                    <a:pt x="13581" y="92116"/>
                    <a:pt x="14087" y="91408"/>
                    <a:pt x="14424" y="90970"/>
                  </a:cubicBezTo>
                  <a:cubicBezTo>
                    <a:pt x="15469" y="89520"/>
                    <a:pt x="16581" y="88172"/>
                    <a:pt x="17828" y="86824"/>
                  </a:cubicBezTo>
                  <a:cubicBezTo>
                    <a:pt x="21131" y="83285"/>
                    <a:pt x="24131" y="79679"/>
                    <a:pt x="26895" y="75634"/>
                  </a:cubicBezTo>
                  <a:cubicBezTo>
                    <a:pt x="34748" y="64107"/>
                    <a:pt x="45331" y="52883"/>
                    <a:pt x="55881" y="43749"/>
                  </a:cubicBezTo>
                  <a:cubicBezTo>
                    <a:pt x="66094" y="34885"/>
                    <a:pt x="79238" y="26728"/>
                    <a:pt x="91945" y="22043"/>
                  </a:cubicBezTo>
                  <a:cubicBezTo>
                    <a:pt x="102630" y="18100"/>
                    <a:pt x="114426" y="12640"/>
                    <a:pt x="126055" y="13448"/>
                  </a:cubicBezTo>
                  <a:cubicBezTo>
                    <a:pt x="134616" y="14089"/>
                    <a:pt x="134582" y="708"/>
                    <a:pt x="126021" y="101"/>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grpSp>
      <p:grpSp>
        <p:nvGrpSpPr>
          <p:cNvPr id="419" name="Graphic 6">
            <a:extLst>
              <a:ext uri="{FF2B5EF4-FFF2-40B4-BE49-F238E27FC236}">
                <a16:creationId xmlns:a16="http://schemas.microsoft.com/office/drawing/2014/main" id="{51D6F4BB-E553-4BB1-84E6-37499D523463}"/>
              </a:ext>
            </a:extLst>
          </p:cNvPr>
          <p:cNvGrpSpPr/>
          <p:nvPr/>
        </p:nvGrpSpPr>
        <p:grpSpPr>
          <a:xfrm>
            <a:off x="5754935" y="1252498"/>
            <a:ext cx="371904" cy="381406"/>
            <a:chOff x="5754935" y="1252498"/>
            <a:chExt cx="371904" cy="381406"/>
          </a:xfrm>
          <a:solidFill>
            <a:srgbClr val="DAE3F3"/>
          </a:solidFill>
        </p:grpSpPr>
        <p:sp>
          <p:nvSpPr>
            <p:cNvPr id="420" name="Freeform: Shape 419">
              <a:extLst>
                <a:ext uri="{FF2B5EF4-FFF2-40B4-BE49-F238E27FC236}">
                  <a16:creationId xmlns:a16="http://schemas.microsoft.com/office/drawing/2014/main" id="{339DAD52-D423-4633-BF5E-18E441A10489}"/>
                </a:ext>
              </a:extLst>
            </p:cNvPr>
            <p:cNvSpPr/>
            <p:nvPr/>
          </p:nvSpPr>
          <p:spPr>
            <a:xfrm rot="-4846898">
              <a:off x="5801376" y="1289213"/>
              <a:ext cx="264924" cy="264924"/>
            </a:xfrm>
            <a:custGeom>
              <a:avLst/>
              <a:gdLst>
                <a:gd name="connsiteX0" fmla="*/ 264925 w 264924"/>
                <a:gd name="connsiteY0" fmla="*/ 132462 h 264924"/>
                <a:gd name="connsiteX1" fmla="*/ 132462 w 264924"/>
                <a:gd name="connsiteY1" fmla="*/ 264925 h 264924"/>
                <a:gd name="connsiteX2" fmla="*/ 0 w 264924"/>
                <a:gd name="connsiteY2" fmla="*/ 132462 h 264924"/>
                <a:gd name="connsiteX3" fmla="*/ 132462 w 264924"/>
                <a:gd name="connsiteY3" fmla="*/ 0 h 264924"/>
                <a:gd name="connsiteX4" fmla="*/ 264925 w 264924"/>
                <a:gd name="connsiteY4" fmla="*/ 132462 h 2649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924" h="264924">
                  <a:moveTo>
                    <a:pt x="264925" y="132462"/>
                  </a:moveTo>
                  <a:cubicBezTo>
                    <a:pt x="264925" y="205619"/>
                    <a:pt x="205619" y="264925"/>
                    <a:pt x="132462" y="264925"/>
                  </a:cubicBezTo>
                  <a:cubicBezTo>
                    <a:pt x="59305" y="264925"/>
                    <a:pt x="0" y="205619"/>
                    <a:pt x="0" y="132462"/>
                  </a:cubicBezTo>
                  <a:cubicBezTo>
                    <a:pt x="0" y="59305"/>
                    <a:pt x="59305" y="0"/>
                    <a:pt x="132462" y="0"/>
                  </a:cubicBezTo>
                  <a:cubicBezTo>
                    <a:pt x="205619" y="0"/>
                    <a:pt x="264925" y="59305"/>
                    <a:pt x="264925" y="132462"/>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sp>
          <p:nvSpPr>
            <p:cNvPr id="421" name="Freeform: Shape 420">
              <a:extLst>
                <a:ext uri="{FF2B5EF4-FFF2-40B4-BE49-F238E27FC236}">
                  <a16:creationId xmlns:a16="http://schemas.microsoft.com/office/drawing/2014/main" id="{0D4F0D3F-6ACA-4F9F-BFB5-8FA82710C1E7}"/>
                </a:ext>
              </a:extLst>
            </p:cNvPr>
            <p:cNvSpPr/>
            <p:nvPr/>
          </p:nvSpPr>
          <p:spPr>
            <a:xfrm>
              <a:off x="6032250" y="1319825"/>
              <a:ext cx="41461" cy="41891"/>
            </a:xfrm>
            <a:custGeom>
              <a:avLst/>
              <a:gdLst>
                <a:gd name="connsiteX0" fmla="*/ 40415 w 41461"/>
                <a:gd name="connsiteY0" fmla="*/ 88 h 41891"/>
                <a:gd name="connsiteX1" fmla="*/ 18439 w 41461"/>
                <a:gd name="connsiteY1" fmla="*/ 20311 h 41891"/>
                <a:gd name="connsiteX2" fmla="*/ 7990 w 41461"/>
                <a:gd name="connsiteY2" fmla="*/ 30052 h 41891"/>
                <a:gd name="connsiteX3" fmla="*/ 36 w 41461"/>
                <a:gd name="connsiteY3" fmla="*/ 40972 h 41891"/>
                <a:gd name="connsiteX4" fmla="*/ 1384 w 41461"/>
                <a:gd name="connsiteY4" fmla="*/ 41343 h 41891"/>
                <a:gd name="connsiteX5" fmla="*/ 10046 w 41461"/>
                <a:gd name="connsiteY5" fmla="*/ 30187 h 41891"/>
                <a:gd name="connsiteX6" fmla="*/ 19922 w 41461"/>
                <a:gd name="connsiteY6" fmla="*/ 20783 h 41891"/>
                <a:gd name="connsiteX7" fmla="*/ 41089 w 41461"/>
                <a:gd name="connsiteY7" fmla="*/ 1436 h 41891"/>
                <a:gd name="connsiteX8" fmla="*/ 40415 w 41461"/>
                <a:gd name="connsiteY8" fmla="*/ 88 h 41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461" h="41891">
                  <a:moveTo>
                    <a:pt x="40415" y="88"/>
                  </a:moveTo>
                  <a:cubicBezTo>
                    <a:pt x="31416" y="4706"/>
                    <a:pt x="25180" y="12424"/>
                    <a:pt x="18439" y="20311"/>
                  </a:cubicBezTo>
                  <a:cubicBezTo>
                    <a:pt x="15271" y="24052"/>
                    <a:pt x="11631" y="26917"/>
                    <a:pt x="7990" y="30052"/>
                  </a:cubicBezTo>
                  <a:cubicBezTo>
                    <a:pt x="4586" y="33018"/>
                    <a:pt x="1418" y="36388"/>
                    <a:pt x="36" y="40972"/>
                  </a:cubicBezTo>
                  <a:cubicBezTo>
                    <a:pt x="-233" y="41916"/>
                    <a:pt x="1081" y="42287"/>
                    <a:pt x="1384" y="41343"/>
                  </a:cubicBezTo>
                  <a:cubicBezTo>
                    <a:pt x="2834" y="36523"/>
                    <a:pt x="6474" y="33186"/>
                    <a:pt x="10046" y="30187"/>
                  </a:cubicBezTo>
                  <a:cubicBezTo>
                    <a:pt x="13552" y="27221"/>
                    <a:pt x="16889" y="24356"/>
                    <a:pt x="19922" y="20783"/>
                  </a:cubicBezTo>
                  <a:cubicBezTo>
                    <a:pt x="26360" y="13199"/>
                    <a:pt x="32393" y="5852"/>
                    <a:pt x="41089" y="1436"/>
                  </a:cubicBezTo>
                  <a:cubicBezTo>
                    <a:pt x="41898" y="964"/>
                    <a:pt x="41257" y="-350"/>
                    <a:pt x="40415" y="88"/>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sp>
          <p:nvSpPr>
            <p:cNvPr id="422" name="Freeform: Shape 421">
              <a:extLst>
                <a:ext uri="{FF2B5EF4-FFF2-40B4-BE49-F238E27FC236}">
                  <a16:creationId xmlns:a16="http://schemas.microsoft.com/office/drawing/2014/main" id="{457B2D42-EDDE-4048-9ACE-A84D2FD381EC}"/>
                </a:ext>
              </a:extLst>
            </p:cNvPr>
            <p:cNvSpPr/>
            <p:nvPr/>
          </p:nvSpPr>
          <p:spPr>
            <a:xfrm>
              <a:off x="5817933" y="1280791"/>
              <a:ext cx="63907" cy="73047"/>
            </a:xfrm>
            <a:custGeom>
              <a:avLst/>
              <a:gdLst>
                <a:gd name="connsiteX0" fmla="*/ 62850 w 63907"/>
                <a:gd name="connsiteY0" fmla="*/ 70669 h 73047"/>
                <a:gd name="connsiteX1" fmla="*/ 27359 w 63907"/>
                <a:gd name="connsiteY1" fmla="*/ 41852 h 73047"/>
                <a:gd name="connsiteX2" fmla="*/ 13574 w 63907"/>
                <a:gd name="connsiteY2" fmla="*/ 18224 h 73047"/>
                <a:gd name="connsiteX3" fmla="*/ 1844 w 63907"/>
                <a:gd name="connsiteY3" fmla="*/ 361 h 73047"/>
                <a:gd name="connsiteX4" fmla="*/ 294 w 63907"/>
                <a:gd name="connsiteY4" fmla="*/ 1911 h 73047"/>
                <a:gd name="connsiteX5" fmla="*/ 21124 w 63907"/>
                <a:gd name="connsiteY5" fmla="*/ 35751 h 73047"/>
                <a:gd name="connsiteX6" fmla="*/ 46369 w 63907"/>
                <a:gd name="connsiteY6" fmla="*/ 67939 h 73047"/>
                <a:gd name="connsiteX7" fmla="*/ 62918 w 63907"/>
                <a:gd name="connsiteY7" fmla="*/ 72894 h 73047"/>
                <a:gd name="connsiteX8" fmla="*/ 62850 w 63907"/>
                <a:gd name="connsiteY8" fmla="*/ 70669 h 73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907" h="73047">
                  <a:moveTo>
                    <a:pt x="62850" y="70669"/>
                  </a:moveTo>
                  <a:cubicBezTo>
                    <a:pt x="46571" y="72826"/>
                    <a:pt x="34673" y="53513"/>
                    <a:pt x="27359" y="41852"/>
                  </a:cubicBezTo>
                  <a:cubicBezTo>
                    <a:pt x="22506" y="34133"/>
                    <a:pt x="18124" y="26111"/>
                    <a:pt x="13574" y="18224"/>
                  </a:cubicBezTo>
                  <a:cubicBezTo>
                    <a:pt x="10035" y="12056"/>
                    <a:pt x="6496" y="5754"/>
                    <a:pt x="1844" y="361"/>
                  </a:cubicBezTo>
                  <a:cubicBezTo>
                    <a:pt x="901" y="-718"/>
                    <a:pt x="-650" y="866"/>
                    <a:pt x="294" y="1911"/>
                  </a:cubicBezTo>
                  <a:cubicBezTo>
                    <a:pt x="8855" y="11854"/>
                    <a:pt x="14484" y="24527"/>
                    <a:pt x="21124" y="35751"/>
                  </a:cubicBezTo>
                  <a:cubicBezTo>
                    <a:pt x="27898" y="47278"/>
                    <a:pt x="35381" y="59917"/>
                    <a:pt x="46369" y="67939"/>
                  </a:cubicBezTo>
                  <a:cubicBezTo>
                    <a:pt x="51188" y="71444"/>
                    <a:pt x="56884" y="73669"/>
                    <a:pt x="62918" y="72894"/>
                  </a:cubicBezTo>
                  <a:cubicBezTo>
                    <a:pt x="64232" y="72692"/>
                    <a:pt x="64266" y="70467"/>
                    <a:pt x="62850" y="70669"/>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sp>
          <p:nvSpPr>
            <p:cNvPr id="423" name="Freeform: Shape 422">
              <a:extLst>
                <a:ext uri="{FF2B5EF4-FFF2-40B4-BE49-F238E27FC236}">
                  <a16:creationId xmlns:a16="http://schemas.microsoft.com/office/drawing/2014/main" id="{32D0846A-F271-4448-8EBA-DCC3D2A6EF63}"/>
                </a:ext>
              </a:extLst>
            </p:cNvPr>
            <p:cNvSpPr/>
            <p:nvPr/>
          </p:nvSpPr>
          <p:spPr>
            <a:xfrm>
              <a:off x="5764889" y="1394121"/>
              <a:ext cx="108087" cy="19896"/>
            </a:xfrm>
            <a:custGeom>
              <a:avLst/>
              <a:gdLst>
                <a:gd name="connsiteX0" fmla="*/ 106760 w 108087"/>
                <a:gd name="connsiteY0" fmla="*/ 77 h 19896"/>
                <a:gd name="connsiteX1" fmla="*/ 55057 w 108087"/>
                <a:gd name="connsiteY1" fmla="*/ 13896 h 19896"/>
                <a:gd name="connsiteX2" fmla="*/ 1062 w 108087"/>
                <a:gd name="connsiteY2" fmla="*/ 17705 h 19896"/>
                <a:gd name="connsiteX3" fmla="*/ 1062 w 108087"/>
                <a:gd name="connsiteY3" fmla="*/ 19896 h 19896"/>
                <a:gd name="connsiteX4" fmla="*/ 54417 w 108087"/>
                <a:gd name="connsiteY4" fmla="*/ 16188 h 19896"/>
                <a:gd name="connsiteX5" fmla="*/ 107333 w 108087"/>
                <a:gd name="connsiteY5" fmla="*/ 2167 h 19896"/>
                <a:gd name="connsiteX6" fmla="*/ 106760 w 108087"/>
                <a:gd name="connsiteY6" fmla="*/ 77 h 19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087" h="19896">
                  <a:moveTo>
                    <a:pt x="106760" y="77"/>
                  </a:moveTo>
                  <a:cubicBezTo>
                    <a:pt x="90043" y="6481"/>
                    <a:pt x="72786" y="11200"/>
                    <a:pt x="55057" y="13896"/>
                  </a:cubicBezTo>
                  <a:cubicBezTo>
                    <a:pt x="37193" y="16626"/>
                    <a:pt x="19127" y="17402"/>
                    <a:pt x="1062" y="17705"/>
                  </a:cubicBezTo>
                  <a:cubicBezTo>
                    <a:pt x="-354" y="17739"/>
                    <a:pt x="-354" y="19929"/>
                    <a:pt x="1062" y="19896"/>
                  </a:cubicBezTo>
                  <a:cubicBezTo>
                    <a:pt x="18892" y="19626"/>
                    <a:pt x="36755" y="18817"/>
                    <a:pt x="54417" y="16188"/>
                  </a:cubicBezTo>
                  <a:cubicBezTo>
                    <a:pt x="72550" y="13492"/>
                    <a:pt x="90245" y="8739"/>
                    <a:pt x="107333" y="2167"/>
                  </a:cubicBezTo>
                  <a:cubicBezTo>
                    <a:pt x="108648" y="1695"/>
                    <a:pt x="108108" y="-428"/>
                    <a:pt x="106760" y="77"/>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sp>
          <p:nvSpPr>
            <p:cNvPr id="424" name="Freeform: Shape 423">
              <a:extLst>
                <a:ext uri="{FF2B5EF4-FFF2-40B4-BE49-F238E27FC236}">
                  <a16:creationId xmlns:a16="http://schemas.microsoft.com/office/drawing/2014/main" id="{87D45166-B586-4B49-BC20-076101CC3F55}"/>
                </a:ext>
              </a:extLst>
            </p:cNvPr>
            <p:cNvSpPr/>
            <p:nvPr/>
          </p:nvSpPr>
          <p:spPr>
            <a:xfrm>
              <a:off x="5984628" y="1544286"/>
              <a:ext cx="2224" cy="2190"/>
            </a:xfrm>
            <a:custGeom>
              <a:avLst/>
              <a:gdLst>
                <a:gd name="connsiteX0" fmla="*/ 1112 w 2224"/>
                <a:gd name="connsiteY0" fmla="*/ 0 h 2190"/>
                <a:gd name="connsiteX1" fmla="*/ 1112 w 2224"/>
                <a:gd name="connsiteY1" fmla="*/ 2191 h 2190"/>
                <a:gd name="connsiteX2" fmla="*/ 1112 w 2224"/>
                <a:gd name="connsiteY2" fmla="*/ 0 h 2190"/>
              </a:gdLst>
              <a:ahLst/>
              <a:cxnLst>
                <a:cxn ang="0">
                  <a:pos x="connsiteX0" y="connsiteY0"/>
                </a:cxn>
                <a:cxn ang="0">
                  <a:pos x="connsiteX1" y="connsiteY1"/>
                </a:cxn>
                <a:cxn ang="0">
                  <a:pos x="connsiteX2" y="connsiteY2"/>
                </a:cxn>
              </a:cxnLst>
              <a:rect l="l" t="t" r="r" b="b"/>
              <a:pathLst>
                <a:path w="2224" h="2190">
                  <a:moveTo>
                    <a:pt x="1112" y="0"/>
                  </a:moveTo>
                  <a:cubicBezTo>
                    <a:pt x="-371" y="0"/>
                    <a:pt x="-371" y="2191"/>
                    <a:pt x="1112" y="2191"/>
                  </a:cubicBezTo>
                  <a:cubicBezTo>
                    <a:pt x="2595" y="2191"/>
                    <a:pt x="2595" y="0"/>
                    <a:pt x="1112" y="0"/>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sp>
          <p:nvSpPr>
            <p:cNvPr id="425" name="Freeform: Shape 424">
              <a:extLst>
                <a:ext uri="{FF2B5EF4-FFF2-40B4-BE49-F238E27FC236}">
                  <a16:creationId xmlns:a16="http://schemas.microsoft.com/office/drawing/2014/main" id="{BBD9F5D4-ACBD-4A36-96B3-09AB91B800A8}"/>
                </a:ext>
              </a:extLst>
            </p:cNvPr>
            <p:cNvSpPr/>
            <p:nvPr/>
          </p:nvSpPr>
          <p:spPr>
            <a:xfrm>
              <a:off x="5916338" y="1512561"/>
              <a:ext cx="20086" cy="115957"/>
            </a:xfrm>
            <a:custGeom>
              <a:avLst/>
              <a:gdLst>
                <a:gd name="connsiteX0" fmla="*/ 19721 w 20086"/>
                <a:gd name="connsiteY0" fmla="*/ 1963 h 115957"/>
                <a:gd name="connsiteX1" fmla="*/ 18272 w 20086"/>
                <a:gd name="connsiteY1" fmla="*/ 278 h 115957"/>
                <a:gd name="connsiteX2" fmla="*/ 3071 w 20086"/>
                <a:gd name="connsiteY2" fmla="*/ 37859 h 115957"/>
                <a:gd name="connsiteX3" fmla="*/ 644 w 20086"/>
                <a:gd name="connsiteY3" fmla="*/ 90169 h 115957"/>
                <a:gd name="connsiteX4" fmla="*/ 3 w 20086"/>
                <a:gd name="connsiteY4" fmla="*/ 114807 h 115957"/>
                <a:gd name="connsiteX5" fmla="*/ 2194 w 20086"/>
                <a:gd name="connsiteY5" fmla="*/ 114976 h 115957"/>
                <a:gd name="connsiteX6" fmla="*/ 8800 w 20086"/>
                <a:gd name="connsiteY6" fmla="*/ 21108 h 115957"/>
                <a:gd name="connsiteX7" fmla="*/ 19721 w 20086"/>
                <a:gd name="connsiteY7" fmla="*/ 1963 h 115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086" h="115957">
                  <a:moveTo>
                    <a:pt x="19721" y="1963"/>
                  </a:moveTo>
                  <a:cubicBezTo>
                    <a:pt x="20766" y="1020"/>
                    <a:pt x="19350" y="-666"/>
                    <a:pt x="18272" y="278"/>
                  </a:cubicBezTo>
                  <a:cubicBezTo>
                    <a:pt x="7991" y="9513"/>
                    <a:pt x="4891" y="24748"/>
                    <a:pt x="3071" y="37859"/>
                  </a:cubicBezTo>
                  <a:cubicBezTo>
                    <a:pt x="678" y="55183"/>
                    <a:pt x="745" y="72744"/>
                    <a:pt x="644" y="90169"/>
                  </a:cubicBezTo>
                  <a:cubicBezTo>
                    <a:pt x="610" y="98359"/>
                    <a:pt x="610" y="106617"/>
                    <a:pt x="3" y="114807"/>
                  </a:cubicBezTo>
                  <a:cubicBezTo>
                    <a:pt x="-97" y="116223"/>
                    <a:pt x="2093" y="116391"/>
                    <a:pt x="2194" y="114976"/>
                  </a:cubicBezTo>
                  <a:cubicBezTo>
                    <a:pt x="4554" y="83934"/>
                    <a:pt x="-401" y="51375"/>
                    <a:pt x="8800" y="21108"/>
                  </a:cubicBezTo>
                  <a:cubicBezTo>
                    <a:pt x="10991" y="14030"/>
                    <a:pt x="14126" y="6985"/>
                    <a:pt x="19721" y="1963"/>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sp>
          <p:nvSpPr>
            <p:cNvPr id="426" name="Freeform: Shape 425">
              <a:extLst>
                <a:ext uri="{FF2B5EF4-FFF2-40B4-BE49-F238E27FC236}">
                  <a16:creationId xmlns:a16="http://schemas.microsoft.com/office/drawing/2014/main" id="{39A841FF-DD86-4F8D-A39F-00D4896EFECD}"/>
                </a:ext>
              </a:extLst>
            </p:cNvPr>
            <p:cNvSpPr/>
            <p:nvPr/>
          </p:nvSpPr>
          <p:spPr>
            <a:xfrm>
              <a:off x="5986372" y="1437013"/>
              <a:ext cx="130485" cy="53892"/>
            </a:xfrm>
            <a:custGeom>
              <a:avLst/>
              <a:gdLst>
                <a:gd name="connsiteX0" fmla="*/ 129806 w 130485"/>
                <a:gd name="connsiteY0" fmla="*/ 51727 h 53892"/>
                <a:gd name="connsiteX1" fmla="*/ 26972 w 130485"/>
                <a:gd name="connsiteY1" fmla="*/ 1102 h 53892"/>
                <a:gd name="connsiteX2" fmla="*/ 649 w 130485"/>
                <a:gd name="connsiteY2" fmla="*/ 2653 h 53892"/>
                <a:gd name="connsiteX3" fmla="*/ 1559 w 130485"/>
                <a:gd name="connsiteY3" fmla="*/ 4675 h 53892"/>
                <a:gd name="connsiteX4" fmla="*/ 52622 w 130485"/>
                <a:gd name="connsiteY4" fmla="*/ 11888 h 53892"/>
                <a:gd name="connsiteX5" fmla="*/ 105201 w 130485"/>
                <a:gd name="connsiteY5" fmla="*/ 40942 h 53892"/>
                <a:gd name="connsiteX6" fmla="*/ 129031 w 130485"/>
                <a:gd name="connsiteY6" fmla="*/ 53783 h 53892"/>
                <a:gd name="connsiteX7" fmla="*/ 129806 w 130485"/>
                <a:gd name="connsiteY7" fmla="*/ 51727 h 53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0485" h="53892">
                  <a:moveTo>
                    <a:pt x="129806" y="51727"/>
                  </a:moveTo>
                  <a:cubicBezTo>
                    <a:pt x="95023" y="36324"/>
                    <a:pt x="65261" y="8282"/>
                    <a:pt x="26972" y="1102"/>
                  </a:cubicBezTo>
                  <a:cubicBezTo>
                    <a:pt x="18209" y="-549"/>
                    <a:pt x="9075" y="-583"/>
                    <a:pt x="649" y="2653"/>
                  </a:cubicBezTo>
                  <a:cubicBezTo>
                    <a:pt x="-666" y="3158"/>
                    <a:pt x="211" y="5181"/>
                    <a:pt x="1559" y="4675"/>
                  </a:cubicBezTo>
                  <a:cubicBezTo>
                    <a:pt x="18209" y="-1695"/>
                    <a:pt x="37219" y="5046"/>
                    <a:pt x="52622" y="11888"/>
                  </a:cubicBezTo>
                  <a:cubicBezTo>
                    <a:pt x="70957" y="20011"/>
                    <a:pt x="87978" y="30763"/>
                    <a:pt x="105201" y="40942"/>
                  </a:cubicBezTo>
                  <a:cubicBezTo>
                    <a:pt x="112953" y="45525"/>
                    <a:pt x="120773" y="50143"/>
                    <a:pt x="129031" y="53783"/>
                  </a:cubicBezTo>
                  <a:cubicBezTo>
                    <a:pt x="130345" y="54390"/>
                    <a:pt x="131120" y="52300"/>
                    <a:pt x="129806" y="51727"/>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sp>
          <p:nvSpPr>
            <p:cNvPr id="427" name="Freeform: Shape 426">
              <a:extLst>
                <a:ext uri="{FF2B5EF4-FFF2-40B4-BE49-F238E27FC236}">
                  <a16:creationId xmlns:a16="http://schemas.microsoft.com/office/drawing/2014/main" id="{AB5933CD-5FBE-4B35-9AD5-29ADD6C6BD9F}"/>
                </a:ext>
              </a:extLst>
            </p:cNvPr>
            <p:cNvSpPr/>
            <p:nvPr/>
          </p:nvSpPr>
          <p:spPr>
            <a:xfrm>
              <a:off x="6002289" y="1420994"/>
              <a:ext cx="46352" cy="2190"/>
            </a:xfrm>
            <a:custGeom>
              <a:avLst/>
              <a:gdLst>
                <a:gd name="connsiteX0" fmla="*/ 45266 w 46352"/>
                <a:gd name="connsiteY0" fmla="*/ 0 h 2190"/>
                <a:gd name="connsiteX1" fmla="*/ 1112 w 46352"/>
                <a:gd name="connsiteY1" fmla="*/ 0 h 2190"/>
                <a:gd name="connsiteX2" fmla="*/ 1112 w 46352"/>
                <a:gd name="connsiteY2" fmla="*/ 2191 h 2190"/>
                <a:gd name="connsiteX3" fmla="*/ 45266 w 46352"/>
                <a:gd name="connsiteY3" fmla="*/ 2191 h 2190"/>
                <a:gd name="connsiteX4" fmla="*/ 45266 w 46352"/>
                <a:gd name="connsiteY4" fmla="*/ 0 h 21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352" h="2190">
                  <a:moveTo>
                    <a:pt x="45266" y="0"/>
                  </a:moveTo>
                  <a:lnTo>
                    <a:pt x="1112" y="0"/>
                  </a:lnTo>
                  <a:cubicBezTo>
                    <a:pt x="-371" y="0"/>
                    <a:pt x="-371" y="2191"/>
                    <a:pt x="1112" y="2191"/>
                  </a:cubicBezTo>
                  <a:lnTo>
                    <a:pt x="45266" y="2191"/>
                  </a:lnTo>
                  <a:cubicBezTo>
                    <a:pt x="46715" y="2191"/>
                    <a:pt x="46715" y="0"/>
                    <a:pt x="45266" y="0"/>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sp>
          <p:nvSpPr>
            <p:cNvPr id="428" name="Freeform: Shape 427">
              <a:extLst>
                <a:ext uri="{FF2B5EF4-FFF2-40B4-BE49-F238E27FC236}">
                  <a16:creationId xmlns:a16="http://schemas.microsoft.com/office/drawing/2014/main" id="{69C25EC7-24E8-4C20-B0E2-79AAE96B413D}"/>
                </a:ext>
              </a:extLst>
            </p:cNvPr>
            <p:cNvSpPr/>
            <p:nvPr/>
          </p:nvSpPr>
          <p:spPr>
            <a:xfrm>
              <a:off x="5790721" y="1491275"/>
              <a:ext cx="54124" cy="55144"/>
            </a:xfrm>
            <a:custGeom>
              <a:avLst/>
              <a:gdLst>
                <a:gd name="connsiteX0" fmla="*/ 51976 w 54124"/>
                <a:gd name="connsiteY0" fmla="*/ 769 h 55144"/>
                <a:gd name="connsiteX1" fmla="*/ 40415 w 54124"/>
                <a:gd name="connsiteY1" fmla="*/ 10712 h 55144"/>
                <a:gd name="connsiteX2" fmla="*/ 25585 w 54124"/>
                <a:gd name="connsiteY2" fmla="*/ 25542 h 55144"/>
                <a:gd name="connsiteX3" fmla="*/ 138 w 54124"/>
                <a:gd name="connsiteY3" fmla="*/ 52978 h 55144"/>
                <a:gd name="connsiteX4" fmla="*/ 812 w 54124"/>
                <a:gd name="connsiteY4" fmla="*/ 54596 h 55144"/>
                <a:gd name="connsiteX5" fmla="*/ 2733 w 54124"/>
                <a:gd name="connsiteY5" fmla="*/ 55101 h 55144"/>
                <a:gd name="connsiteX6" fmla="*/ 3306 w 54124"/>
                <a:gd name="connsiteY6" fmla="*/ 52978 h 55144"/>
                <a:gd name="connsiteX7" fmla="*/ 2800 w 54124"/>
                <a:gd name="connsiteY7" fmla="*/ 52843 h 55144"/>
                <a:gd name="connsiteX8" fmla="*/ 14732 w 54124"/>
                <a:gd name="connsiteY8" fmla="*/ 39395 h 55144"/>
                <a:gd name="connsiteX9" fmla="*/ 30000 w 54124"/>
                <a:gd name="connsiteY9" fmla="*/ 24059 h 55144"/>
                <a:gd name="connsiteX10" fmla="*/ 45067 w 54124"/>
                <a:gd name="connsiteY10" fmla="*/ 10038 h 55144"/>
                <a:gd name="connsiteX11" fmla="*/ 54065 w 54124"/>
                <a:gd name="connsiteY11" fmla="*/ 1342 h 55144"/>
                <a:gd name="connsiteX12" fmla="*/ 51976 w 54124"/>
                <a:gd name="connsiteY12" fmla="*/ 769 h 55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4124" h="55144">
                  <a:moveTo>
                    <a:pt x="51976" y="769"/>
                  </a:moveTo>
                  <a:cubicBezTo>
                    <a:pt x="50594" y="5387"/>
                    <a:pt x="43887" y="7813"/>
                    <a:pt x="40415" y="10712"/>
                  </a:cubicBezTo>
                  <a:cubicBezTo>
                    <a:pt x="35056" y="15195"/>
                    <a:pt x="30405" y="20520"/>
                    <a:pt x="25585" y="25542"/>
                  </a:cubicBezTo>
                  <a:cubicBezTo>
                    <a:pt x="17091" y="34305"/>
                    <a:pt x="6339" y="42327"/>
                    <a:pt x="138" y="52978"/>
                  </a:cubicBezTo>
                  <a:cubicBezTo>
                    <a:pt x="-199" y="53585"/>
                    <a:pt x="104" y="54427"/>
                    <a:pt x="812" y="54596"/>
                  </a:cubicBezTo>
                  <a:cubicBezTo>
                    <a:pt x="1452" y="54764"/>
                    <a:pt x="2093" y="54933"/>
                    <a:pt x="2733" y="55101"/>
                  </a:cubicBezTo>
                  <a:cubicBezTo>
                    <a:pt x="4115" y="55472"/>
                    <a:pt x="4688" y="53315"/>
                    <a:pt x="3306" y="52978"/>
                  </a:cubicBezTo>
                  <a:cubicBezTo>
                    <a:pt x="3137" y="52944"/>
                    <a:pt x="2969" y="52877"/>
                    <a:pt x="2800" y="52843"/>
                  </a:cubicBezTo>
                  <a:cubicBezTo>
                    <a:pt x="6036" y="47787"/>
                    <a:pt x="10452" y="43574"/>
                    <a:pt x="14732" y="39395"/>
                  </a:cubicBezTo>
                  <a:cubicBezTo>
                    <a:pt x="19889" y="34373"/>
                    <a:pt x="25079" y="29317"/>
                    <a:pt x="30000" y="24059"/>
                  </a:cubicBezTo>
                  <a:cubicBezTo>
                    <a:pt x="34651" y="19104"/>
                    <a:pt x="39438" y="13880"/>
                    <a:pt x="45067" y="10038"/>
                  </a:cubicBezTo>
                  <a:cubicBezTo>
                    <a:pt x="48336" y="7813"/>
                    <a:pt x="52852" y="5420"/>
                    <a:pt x="54065" y="1342"/>
                  </a:cubicBezTo>
                  <a:cubicBezTo>
                    <a:pt x="54504" y="-6"/>
                    <a:pt x="52380" y="-579"/>
                    <a:pt x="51976" y="769"/>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sp>
          <p:nvSpPr>
            <p:cNvPr id="429" name="Freeform: Shape 428">
              <a:extLst>
                <a:ext uri="{FF2B5EF4-FFF2-40B4-BE49-F238E27FC236}">
                  <a16:creationId xmlns:a16="http://schemas.microsoft.com/office/drawing/2014/main" id="{585D7DD3-B501-4670-8F8D-7CB9E652145B}"/>
                </a:ext>
              </a:extLst>
            </p:cNvPr>
            <p:cNvSpPr/>
            <p:nvPr/>
          </p:nvSpPr>
          <p:spPr>
            <a:xfrm>
              <a:off x="5936868" y="1264721"/>
              <a:ext cx="8030" cy="37481"/>
            </a:xfrm>
            <a:custGeom>
              <a:avLst/>
              <a:gdLst>
                <a:gd name="connsiteX0" fmla="*/ 7246 w 8030"/>
                <a:gd name="connsiteY0" fmla="*/ 35306 h 37481"/>
                <a:gd name="connsiteX1" fmla="*/ 4550 w 8030"/>
                <a:gd name="connsiteY1" fmla="*/ 27217 h 37481"/>
                <a:gd name="connsiteX2" fmla="*/ 3876 w 8030"/>
                <a:gd name="connsiteY2" fmla="*/ 19566 h 37481"/>
                <a:gd name="connsiteX3" fmla="*/ 2190 w 8030"/>
                <a:gd name="connsiteY3" fmla="*/ 1062 h 37481"/>
                <a:gd name="connsiteX4" fmla="*/ 0 w 8030"/>
                <a:gd name="connsiteY4" fmla="*/ 1062 h 37481"/>
                <a:gd name="connsiteX5" fmla="*/ 1348 w 8030"/>
                <a:gd name="connsiteY5" fmla="*/ 18420 h 37481"/>
                <a:gd name="connsiteX6" fmla="*/ 3471 w 8030"/>
                <a:gd name="connsiteY6" fmla="*/ 36182 h 37481"/>
                <a:gd name="connsiteX7" fmla="*/ 4247 w 8030"/>
                <a:gd name="connsiteY7" fmla="*/ 36957 h 37481"/>
                <a:gd name="connsiteX8" fmla="*/ 6674 w 8030"/>
                <a:gd name="connsiteY8" fmla="*/ 37463 h 37481"/>
                <a:gd name="connsiteX9" fmla="*/ 7246 w 8030"/>
                <a:gd name="connsiteY9" fmla="*/ 35306 h 37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30" h="37481">
                  <a:moveTo>
                    <a:pt x="7246" y="35306"/>
                  </a:moveTo>
                  <a:cubicBezTo>
                    <a:pt x="3909" y="34632"/>
                    <a:pt x="4685" y="30048"/>
                    <a:pt x="4550" y="27217"/>
                  </a:cubicBezTo>
                  <a:cubicBezTo>
                    <a:pt x="4449" y="24655"/>
                    <a:pt x="4348" y="22094"/>
                    <a:pt x="3876" y="19566"/>
                  </a:cubicBezTo>
                  <a:cubicBezTo>
                    <a:pt x="2662" y="13330"/>
                    <a:pt x="2190" y="7432"/>
                    <a:pt x="2190" y="1062"/>
                  </a:cubicBezTo>
                  <a:cubicBezTo>
                    <a:pt x="2190" y="-354"/>
                    <a:pt x="0" y="-354"/>
                    <a:pt x="0" y="1062"/>
                  </a:cubicBezTo>
                  <a:cubicBezTo>
                    <a:pt x="0" y="6893"/>
                    <a:pt x="67" y="12690"/>
                    <a:pt x="1348" y="18420"/>
                  </a:cubicBezTo>
                  <a:cubicBezTo>
                    <a:pt x="2696" y="24284"/>
                    <a:pt x="1988" y="30351"/>
                    <a:pt x="3471" y="36182"/>
                  </a:cubicBezTo>
                  <a:cubicBezTo>
                    <a:pt x="3573" y="36519"/>
                    <a:pt x="3876" y="36890"/>
                    <a:pt x="4247" y="36957"/>
                  </a:cubicBezTo>
                  <a:cubicBezTo>
                    <a:pt x="5056" y="37126"/>
                    <a:pt x="5865" y="37294"/>
                    <a:pt x="6674" y="37463"/>
                  </a:cubicBezTo>
                  <a:cubicBezTo>
                    <a:pt x="8022" y="37699"/>
                    <a:pt x="8628" y="35576"/>
                    <a:pt x="7246" y="35306"/>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sp>
          <p:nvSpPr>
            <p:cNvPr id="430" name="Freeform: Shape 429">
              <a:extLst>
                <a:ext uri="{FF2B5EF4-FFF2-40B4-BE49-F238E27FC236}">
                  <a16:creationId xmlns:a16="http://schemas.microsoft.com/office/drawing/2014/main" id="{F176BE6B-4EDA-4B1F-A95C-FBF4E6EE7190}"/>
                </a:ext>
              </a:extLst>
            </p:cNvPr>
            <p:cNvSpPr/>
            <p:nvPr/>
          </p:nvSpPr>
          <p:spPr>
            <a:xfrm>
              <a:off x="6104632" y="1466495"/>
              <a:ext cx="22207" cy="36803"/>
            </a:xfrm>
            <a:custGeom>
              <a:avLst/>
              <a:gdLst>
                <a:gd name="connsiteX0" fmla="*/ 21691 w 22207"/>
                <a:gd name="connsiteY0" fmla="*/ 2798 h 36803"/>
                <a:gd name="connsiteX1" fmla="*/ 12523 w 22207"/>
                <a:gd name="connsiteY1" fmla="*/ 1753 h 36803"/>
                <a:gd name="connsiteX2" fmla="*/ 9490 w 22207"/>
                <a:gd name="connsiteY2" fmla="*/ 4348 h 36803"/>
                <a:gd name="connsiteX3" fmla="*/ 9287 w 22207"/>
                <a:gd name="connsiteY3" fmla="*/ 4584 h 36803"/>
                <a:gd name="connsiteX4" fmla="*/ 1940 w 22207"/>
                <a:gd name="connsiteY4" fmla="*/ 19212 h 36803"/>
                <a:gd name="connsiteX5" fmla="*/ 153 w 22207"/>
                <a:gd name="connsiteY5" fmla="*/ 30773 h 36803"/>
                <a:gd name="connsiteX6" fmla="*/ 3827 w 22207"/>
                <a:gd name="connsiteY6" fmla="*/ 36334 h 36803"/>
                <a:gd name="connsiteX7" fmla="*/ 5209 w 22207"/>
                <a:gd name="connsiteY7" fmla="*/ 36772 h 36803"/>
                <a:gd name="connsiteX8" fmla="*/ 13164 w 22207"/>
                <a:gd name="connsiteY8" fmla="*/ 30335 h 36803"/>
                <a:gd name="connsiteX9" fmla="*/ 15219 w 22207"/>
                <a:gd name="connsiteY9" fmla="*/ 25683 h 36803"/>
                <a:gd name="connsiteX10" fmla="*/ 17950 w 22207"/>
                <a:gd name="connsiteY10" fmla="*/ 22549 h 36803"/>
                <a:gd name="connsiteX11" fmla="*/ 21657 w 22207"/>
                <a:gd name="connsiteY11" fmla="*/ 11629 h 36803"/>
                <a:gd name="connsiteX12" fmla="*/ 21691 w 22207"/>
                <a:gd name="connsiteY12" fmla="*/ 2798 h 3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2207" h="36803">
                  <a:moveTo>
                    <a:pt x="21691" y="2798"/>
                  </a:moveTo>
                  <a:cubicBezTo>
                    <a:pt x="19736" y="-1213"/>
                    <a:pt x="15658" y="-303"/>
                    <a:pt x="12523" y="1753"/>
                  </a:cubicBezTo>
                  <a:cubicBezTo>
                    <a:pt x="11276" y="2258"/>
                    <a:pt x="10231" y="3202"/>
                    <a:pt x="9490" y="4348"/>
                  </a:cubicBezTo>
                  <a:cubicBezTo>
                    <a:pt x="9422" y="4416"/>
                    <a:pt x="9355" y="4517"/>
                    <a:pt x="9287" y="4584"/>
                  </a:cubicBezTo>
                  <a:cubicBezTo>
                    <a:pt x="5917" y="8764"/>
                    <a:pt x="3558" y="14089"/>
                    <a:pt x="1940" y="19212"/>
                  </a:cubicBezTo>
                  <a:cubicBezTo>
                    <a:pt x="861" y="22650"/>
                    <a:pt x="-453" y="26964"/>
                    <a:pt x="153" y="30773"/>
                  </a:cubicBezTo>
                  <a:cubicBezTo>
                    <a:pt x="255" y="33132"/>
                    <a:pt x="1199" y="35256"/>
                    <a:pt x="3827" y="36334"/>
                  </a:cubicBezTo>
                  <a:cubicBezTo>
                    <a:pt x="4265" y="36536"/>
                    <a:pt x="4737" y="36705"/>
                    <a:pt x="5209" y="36772"/>
                  </a:cubicBezTo>
                  <a:cubicBezTo>
                    <a:pt x="8681" y="37211"/>
                    <a:pt x="11681" y="32896"/>
                    <a:pt x="13164" y="30335"/>
                  </a:cubicBezTo>
                  <a:cubicBezTo>
                    <a:pt x="14006" y="28852"/>
                    <a:pt x="14681" y="27301"/>
                    <a:pt x="15219" y="25683"/>
                  </a:cubicBezTo>
                  <a:cubicBezTo>
                    <a:pt x="16096" y="24605"/>
                    <a:pt x="17073" y="23594"/>
                    <a:pt x="17950" y="22549"/>
                  </a:cubicBezTo>
                  <a:cubicBezTo>
                    <a:pt x="20646" y="19212"/>
                    <a:pt x="21792" y="15976"/>
                    <a:pt x="21657" y="11629"/>
                  </a:cubicBezTo>
                  <a:cubicBezTo>
                    <a:pt x="21590" y="8932"/>
                    <a:pt x="22904" y="5326"/>
                    <a:pt x="21691" y="2798"/>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sp>
          <p:nvSpPr>
            <p:cNvPr id="431" name="Freeform: Shape 430">
              <a:extLst>
                <a:ext uri="{FF2B5EF4-FFF2-40B4-BE49-F238E27FC236}">
                  <a16:creationId xmlns:a16="http://schemas.microsoft.com/office/drawing/2014/main" id="{048AC0AE-5B1F-48A3-ACCB-CFE837079F0A}"/>
                </a:ext>
              </a:extLst>
            </p:cNvPr>
            <p:cNvSpPr/>
            <p:nvPr/>
          </p:nvSpPr>
          <p:spPr>
            <a:xfrm>
              <a:off x="6060662" y="1305880"/>
              <a:ext cx="26462" cy="27106"/>
            </a:xfrm>
            <a:custGeom>
              <a:avLst/>
              <a:gdLst>
                <a:gd name="connsiteX0" fmla="*/ 23327 w 26462"/>
                <a:gd name="connsiteY0" fmla="*/ 14438 h 27106"/>
                <a:gd name="connsiteX1" fmla="*/ 11598 w 26462"/>
                <a:gd name="connsiteY1" fmla="*/ 1866 h 27106"/>
                <a:gd name="connsiteX2" fmla="*/ 8363 w 26462"/>
                <a:gd name="connsiteY2" fmla="*/ 989 h 27106"/>
                <a:gd name="connsiteX3" fmla="*/ 6475 w 26462"/>
                <a:gd name="connsiteY3" fmla="*/ 180 h 27106"/>
                <a:gd name="connsiteX4" fmla="*/ 1959 w 26462"/>
                <a:gd name="connsiteY4" fmla="*/ 2742 h 27106"/>
                <a:gd name="connsiteX5" fmla="*/ 1824 w 26462"/>
                <a:gd name="connsiteY5" fmla="*/ 3787 h 27106"/>
                <a:gd name="connsiteX6" fmla="*/ 510 w 26462"/>
                <a:gd name="connsiteY6" fmla="*/ 5641 h 27106"/>
                <a:gd name="connsiteX7" fmla="*/ 5632 w 26462"/>
                <a:gd name="connsiteY7" fmla="*/ 18718 h 27106"/>
                <a:gd name="connsiteX8" fmla="*/ 16317 w 26462"/>
                <a:gd name="connsiteY8" fmla="*/ 25628 h 27106"/>
                <a:gd name="connsiteX9" fmla="*/ 18339 w 26462"/>
                <a:gd name="connsiteY9" fmla="*/ 26639 h 27106"/>
                <a:gd name="connsiteX10" fmla="*/ 26462 w 26462"/>
                <a:gd name="connsiteY10" fmla="*/ 21212 h 27106"/>
                <a:gd name="connsiteX11" fmla="*/ 23327 w 26462"/>
                <a:gd name="connsiteY11" fmla="*/ 14438 h 27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6462" h="27106">
                  <a:moveTo>
                    <a:pt x="23327" y="14438"/>
                  </a:moveTo>
                  <a:cubicBezTo>
                    <a:pt x="21743" y="9180"/>
                    <a:pt x="15407" y="3787"/>
                    <a:pt x="11598" y="1866"/>
                  </a:cubicBezTo>
                  <a:cubicBezTo>
                    <a:pt x="10587" y="1360"/>
                    <a:pt x="9475" y="1057"/>
                    <a:pt x="8363" y="989"/>
                  </a:cubicBezTo>
                  <a:cubicBezTo>
                    <a:pt x="7756" y="720"/>
                    <a:pt x="7116" y="416"/>
                    <a:pt x="6475" y="180"/>
                  </a:cubicBezTo>
                  <a:cubicBezTo>
                    <a:pt x="4756" y="-527"/>
                    <a:pt x="2262" y="956"/>
                    <a:pt x="1959" y="2742"/>
                  </a:cubicBezTo>
                  <a:cubicBezTo>
                    <a:pt x="1891" y="3079"/>
                    <a:pt x="1857" y="3450"/>
                    <a:pt x="1824" y="3787"/>
                  </a:cubicBezTo>
                  <a:cubicBezTo>
                    <a:pt x="1251" y="4292"/>
                    <a:pt x="779" y="4933"/>
                    <a:pt x="510" y="5641"/>
                  </a:cubicBezTo>
                  <a:cubicBezTo>
                    <a:pt x="-1412" y="10393"/>
                    <a:pt x="2498" y="15550"/>
                    <a:pt x="5632" y="18718"/>
                  </a:cubicBezTo>
                  <a:cubicBezTo>
                    <a:pt x="8396" y="21549"/>
                    <a:pt x="12239" y="24751"/>
                    <a:pt x="16317" y="25628"/>
                  </a:cubicBezTo>
                  <a:cubicBezTo>
                    <a:pt x="16991" y="26032"/>
                    <a:pt x="17665" y="26403"/>
                    <a:pt x="18339" y="26639"/>
                  </a:cubicBezTo>
                  <a:cubicBezTo>
                    <a:pt x="22418" y="28189"/>
                    <a:pt x="26428" y="25762"/>
                    <a:pt x="26462" y="21212"/>
                  </a:cubicBezTo>
                  <a:cubicBezTo>
                    <a:pt x="26428" y="18347"/>
                    <a:pt x="25046" y="16325"/>
                    <a:pt x="23327" y="14438"/>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sp>
          <p:nvSpPr>
            <p:cNvPr id="432" name="Freeform: Shape 431">
              <a:extLst>
                <a:ext uri="{FF2B5EF4-FFF2-40B4-BE49-F238E27FC236}">
                  <a16:creationId xmlns:a16="http://schemas.microsoft.com/office/drawing/2014/main" id="{1AAB29E1-1836-450B-A9CE-BFBC468200A0}"/>
                </a:ext>
              </a:extLst>
            </p:cNvPr>
            <p:cNvSpPr/>
            <p:nvPr/>
          </p:nvSpPr>
          <p:spPr>
            <a:xfrm>
              <a:off x="5923236" y="1252498"/>
              <a:ext cx="31326" cy="13103"/>
            </a:xfrm>
            <a:custGeom>
              <a:avLst/>
              <a:gdLst>
                <a:gd name="connsiteX0" fmla="*/ 29372 w 31326"/>
                <a:gd name="connsiteY0" fmla="*/ 4656 h 13103"/>
                <a:gd name="connsiteX1" fmla="*/ 23979 w 31326"/>
                <a:gd name="connsiteY1" fmla="*/ 2701 h 13103"/>
                <a:gd name="connsiteX2" fmla="*/ 17407 w 31326"/>
                <a:gd name="connsiteY2" fmla="*/ 207 h 13103"/>
                <a:gd name="connsiteX3" fmla="*/ 16227 w 31326"/>
                <a:gd name="connsiteY3" fmla="*/ 5 h 13103"/>
                <a:gd name="connsiteX4" fmla="*/ 959 w 31326"/>
                <a:gd name="connsiteY4" fmla="*/ 10251 h 13103"/>
                <a:gd name="connsiteX5" fmla="*/ 31327 w 31326"/>
                <a:gd name="connsiteY5" fmla="*/ 7757 h 13103"/>
                <a:gd name="connsiteX6" fmla="*/ 29372 w 31326"/>
                <a:gd name="connsiteY6" fmla="*/ 4656 h 13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326" h="13103">
                  <a:moveTo>
                    <a:pt x="29372" y="4656"/>
                  </a:moveTo>
                  <a:cubicBezTo>
                    <a:pt x="28023" y="3477"/>
                    <a:pt x="26170" y="2870"/>
                    <a:pt x="23979" y="2701"/>
                  </a:cubicBezTo>
                  <a:cubicBezTo>
                    <a:pt x="22294" y="1185"/>
                    <a:pt x="19800" y="477"/>
                    <a:pt x="17407" y="207"/>
                  </a:cubicBezTo>
                  <a:cubicBezTo>
                    <a:pt x="17069" y="72"/>
                    <a:pt x="16665" y="5"/>
                    <a:pt x="16227" y="5"/>
                  </a:cubicBezTo>
                  <a:cubicBezTo>
                    <a:pt x="12081" y="-130"/>
                    <a:pt x="-4063" y="2499"/>
                    <a:pt x="959" y="10251"/>
                  </a:cubicBezTo>
                  <a:cubicBezTo>
                    <a:pt x="5070" y="16588"/>
                    <a:pt x="27417" y="10824"/>
                    <a:pt x="31327" y="7757"/>
                  </a:cubicBezTo>
                  <a:cubicBezTo>
                    <a:pt x="30889" y="6409"/>
                    <a:pt x="30214" y="5398"/>
                    <a:pt x="29372" y="4656"/>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sp>
          <p:nvSpPr>
            <p:cNvPr id="433" name="Freeform: Shape 432">
              <a:extLst>
                <a:ext uri="{FF2B5EF4-FFF2-40B4-BE49-F238E27FC236}">
                  <a16:creationId xmlns:a16="http://schemas.microsoft.com/office/drawing/2014/main" id="{71A96A2E-F7E2-47E9-A41E-82BA8ED34C27}"/>
                </a:ext>
              </a:extLst>
            </p:cNvPr>
            <p:cNvSpPr/>
            <p:nvPr/>
          </p:nvSpPr>
          <p:spPr>
            <a:xfrm>
              <a:off x="6007535" y="1517741"/>
              <a:ext cx="26386" cy="29493"/>
            </a:xfrm>
            <a:custGeom>
              <a:avLst/>
              <a:gdLst>
                <a:gd name="connsiteX0" fmla="*/ 1394 w 26386"/>
                <a:gd name="connsiteY0" fmla="*/ 3087 h 29493"/>
                <a:gd name="connsiteX1" fmla="*/ 8068 w 26386"/>
                <a:gd name="connsiteY1" fmla="*/ 8379 h 29493"/>
                <a:gd name="connsiteX2" fmla="*/ 12820 w 26386"/>
                <a:gd name="connsiteY2" fmla="*/ 14412 h 29493"/>
                <a:gd name="connsiteX3" fmla="*/ 24347 w 26386"/>
                <a:gd name="connsiteY3" fmla="*/ 29006 h 29493"/>
                <a:gd name="connsiteX4" fmla="*/ 26201 w 26386"/>
                <a:gd name="connsiteY4" fmla="*/ 27793 h 29493"/>
                <a:gd name="connsiteX5" fmla="*/ 15584 w 26386"/>
                <a:gd name="connsiteY5" fmla="*/ 14007 h 29493"/>
                <a:gd name="connsiteX6" fmla="*/ 4124 w 26386"/>
                <a:gd name="connsiteY6" fmla="*/ 290 h 29493"/>
                <a:gd name="connsiteX7" fmla="*/ 3046 w 26386"/>
                <a:gd name="connsiteY7" fmla="*/ 54 h 29493"/>
                <a:gd name="connsiteX8" fmla="*/ 720 w 26386"/>
                <a:gd name="connsiteY8" fmla="*/ 964 h 29493"/>
                <a:gd name="connsiteX9" fmla="*/ 1394 w 26386"/>
                <a:gd name="connsiteY9" fmla="*/ 3087 h 29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386" h="29493">
                  <a:moveTo>
                    <a:pt x="1394" y="3087"/>
                  </a:moveTo>
                  <a:cubicBezTo>
                    <a:pt x="4563" y="1840"/>
                    <a:pt x="6416" y="6087"/>
                    <a:pt x="8068" y="8379"/>
                  </a:cubicBezTo>
                  <a:cubicBezTo>
                    <a:pt x="9551" y="10468"/>
                    <a:pt x="11034" y="12558"/>
                    <a:pt x="12820" y="14412"/>
                  </a:cubicBezTo>
                  <a:cubicBezTo>
                    <a:pt x="17236" y="18996"/>
                    <a:pt x="20876" y="23647"/>
                    <a:pt x="24347" y="29006"/>
                  </a:cubicBezTo>
                  <a:cubicBezTo>
                    <a:pt x="25122" y="30186"/>
                    <a:pt x="26976" y="29006"/>
                    <a:pt x="26201" y="27793"/>
                  </a:cubicBezTo>
                  <a:cubicBezTo>
                    <a:pt x="23033" y="22905"/>
                    <a:pt x="19797" y="18086"/>
                    <a:pt x="15584" y="14007"/>
                  </a:cubicBezTo>
                  <a:cubicBezTo>
                    <a:pt x="11270" y="9828"/>
                    <a:pt x="8540" y="4368"/>
                    <a:pt x="4124" y="290"/>
                  </a:cubicBezTo>
                  <a:cubicBezTo>
                    <a:pt x="3855" y="54"/>
                    <a:pt x="3417" y="-81"/>
                    <a:pt x="3046" y="54"/>
                  </a:cubicBezTo>
                  <a:cubicBezTo>
                    <a:pt x="2271" y="357"/>
                    <a:pt x="1495" y="660"/>
                    <a:pt x="720" y="964"/>
                  </a:cubicBezTo>
                  <a:cubicBezTo>
                    <a:pt x="-594" y="1503"/>
                    <a:pt x="46" y="3593"/>
                    <a:pt x="1394" y="3087"/>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sp>
          <p:nvSpPr>
            <p:cNvPr id="434" name="Freeform: Shape 433">
              <a:extLst>
                <a:ext uri="{FF2B5EF4-FFF2-40B4-BE49-F238E27FC236}">
                  <a16:creationId xmlns:a16="http://schemas.microsoft.com/office/drawing/2014/main" id="{947AA668-0EDA-4958-B511-91E1E85FAFE3}"/>
                </a:ext>
              </a:extLst>
            </p:cNvPr>
            <p:cNvSpPr/>
            <p:nvPr/>
          </p:nvSpPr>
          <p:spPr>
            <a:xfrm>
              <a:off x="6022533" y="1540539"/>
              <a:ext cx="28184" cy="26109"/>
            </a:xfrm>
            <a:custGeom>
              <a:avLst/>
              <a:gdLst>
                <a:gd name="connsiteX0" fmla="*/ 6620 w 28184"/>
                <a:gd name="connsiteY0" fmla="*/ 26093 h 26109"/>
                <a:gd name="connsiteX1" fmla="*/ 23472 w 28184"/>
                <a:gd name="connsiteY1" fmla="*/ 680 h 26109"/>
                <a:gd name="connsiteX2" fmla="*/ 13 w 28184"/>
                <a:gd name="connsiteY2" fmla="*/ 19757 h 26109"/>
                <a:gd name="connsiteX3" fmla="*/ 6620 w 28184"/>
                <a:gd name="connsiteY3" fmla="*/ 26093 h 26109"/>
              </a:gdLst>
              <a:ahLst/>
              <a:cxnLst>
                <a:cxn ang="0">
                  <a:pos x="connsiteX0" y="connsiteY0"/>
                </a:cxn>
                <a:cxn ang="0">
                  <a:pos x="connsiteX1" y="connsiteY1"/>
                </a:cxn>
                <a:cxn ang="0">
                  <a:pos x="connsiteX2" y="connsiteY2"/>
                </a:cxn>
                <a:cxn ang="0">
                  <a:pos x="connsiteX3" y="connsiteY3"/>
                </a:cxn>
              </a:cxnLst>
              <a:rect l="l" t="t" r="r" b="b"/>
              <a:pathLst>
                <a:path w="28184" h="26109">
                  <a:moveTo>
                    <a:pt x="6620" y="26093"/>
                  </a:moveTo>
                  <a:cubicBezTo>
                    <a:pt x="15417" y="24374"/>
                    <a:pt x="37897" y="7050"/>
                    <a:pt x="23472" y="680"/>
                  </a:cubicBezTo>
                  <a:cubicBezTo>
                    <a:pt x="13866" y="-3534"/>
                    <a:pt x="2945" y="12948"/>
                    <a:pt x="13" y="19757"/>
                  </a:cubicBezTo>
                  <a:cubicBezTo>
                    <a:pt x="-290" y="20397"/>
                    <a:pt x="4732" y="26464"/>
                    <a:pt x="6620" y="26093"/>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sp>
          <p:nvSpPr>
            <p:cNvPr id="435" name="Freeform: Shape 434">
              <a:extLst>
                <a:ext uri="{FF2B5EF4-FFF2-40B4-BE49-F238E27FC236}">
                  <a16:creationId xmlns:a16="http://schemas.microsoft.com/office/drawing/2014/main" id="{26BF91C4-BDAC-4DA7-819F-FC47CDE9A8F7}"/>
                </a:ext>
              </a:extLst>
            </p:cNvPr>
            <p:cNvSpPr/>
            <p:nvPr/>
          </p:nvSpPr>
          <p:spPr>
            <a:xfrm>
              <a:off x="5798661" y="1266739"/>
              <a:ext cx="44133" cy="32753"/>
            </a:xfrm>
            <a:custGeom>
              <a:avLst/>
              <a:gdLst>
                <a:gd name="connsiteX0" fmla="*/ 42653 w 44133"/>
                <a:gd name="connsiteY0" fmla="*/ 10099 h 32753"/>
                <a:gd name="connsiteX1" fmla="*/ 43462 w 44133"/>
                <a:gd name="connsiteY1" fmla="*/ 4807 h 32753"/>
                <a:gd name="connsiteX2" fmla="*/ 1196 w 44133"/>
                <a:gd name="connsiteY2" fmla="*/ 21491 h 32753"/>
                <a:gd name="connsiteX3" fmla="*/ 623 w 44133"/>
                <a:gd name="connsiteY3" fmla="*/ 28536 h 32753"/>
                <a:gd name="connsiteX4" fmla="*/ 4803 w 44133"/>
                <a:gd name="connsiteY4" fmla="*/ 31232 h 32753"/>
                <a:gd name="connsiteX5" fmla="*/ 8342 w 44133"/>
                <a:gd name="connsiteY5" fmla="*/ 32749 h 32753"/>
                <a:gd name="connsiteX6" fmla="*/ 40092 w 44133"/>
                <a:gd name="connsiteY6" fmla="*/ 16166 h 32753"/>
                <a:gd name="connsiteX7" fmla="*/ 42653 w 44133"/>
                <a:gd name="connsiteY7" fmla="*/ 10099 h 32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133" h="32753">
                  <a:moveTo>
                    <a:pt x="42653" y="10099"/>
                  </a:moveTo>
                  <a:cubicBezTo>
                    <a:pt x="44035" y="8549"/>
                    <a:pt x="44743" y="6796"/>
                    <a:pt x="43462" y="4807"/>
                  </a:cubicBezTo>
                  <a:cubicBezTo>
                    <a:pt x="34227" y="-9719"/>
                    <a:pt x="6792" y="12458"/>
                    <a:pt x="1196" y="21491"/>
                  </a:cubicBezTo>
                  <a:cubicBezTo>
                    <a:pt x="-51" y="23514"/>
                    <a:pt x="-455" y="25839"/>
                    <a:pt x="623" y="28536"/>
                  </a:cubicBezTo>
                  <a:cubicBezTo>
                    <a:pt x="1230" y="30086"/>
                    <a:pt x="2814" y="31198"/>
                    <a:pt x="4803" y="31232"/>
                  </a:cubicBezTo>
                  <a:cubicBezTo>
                    <a:pt x="5612" y="32176"/>
                    <a:pt x="6926" y="32816"/>
                    <a:pt x="8342" y="32749"/>
                  </a:cubicBezTo>
                  <a:cubicBezTo>
                    <a:pt x="18824" y="32311"/>
                    <a:pt x="32913" y="23851"/>
                    <a:pt x="40092" y="16166"/>
                  </a:cubicBezTo>
                  <a:cubicBezTo>
                    <a:pt x="41844" y="14245"/>
                    <a:pt x="43024" y="12121"/>
                    <a:pt x="42653" y="10099"/>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sp>
          <p:nvSpPr>
            <p:cNvPr id="436" name="Freeform: Shape 435">
              <a:extLst>
                <a:ext uri="{FF2B5EF4-FFF2-40B4-BE49-F238E27FC236}">
                  <a16:creationId xmlns:a16="http://schemas.microsoft.com/office/drawing/2014/main" id="{A0537A58-EAA7-4A8B-B16B-00DF20B0D3AD}"/>
                </a:ext>
              </a:extLst>
            </p:cNvPr>
            <p:cNvSpPr/>
            <p:nvPr/>
          </p:nvSpPr>
          <p:spPr>
            <a:xfrm>
              <a:off x="5754935" y="1395016"/>
              <a:ext cx="20958" cy="39783"/>
            </a:xfrm>
            <a:custGeom>
              <a:avLst/>
              <a:gdLst>
                <a:gd name="connsiteX0" fmla="*/ 19947 w 20958"/>
                <a:gd name="connsiteY0" fmla="*/ 9328 h 39783"/>
                <a:gd name="connsiteX1" fmla="*/ 12027 w 20958"/>
                <a:gd name="connsiteY1" fmla="*/ 59 h 39783"/>
                <a:gd name="connsiteX2" fmla="*/ 9937 w 20958"/>
                <a:gd name="connsiteY2" fmla="*/ 126 h 39783"/>
                <a:gd name="connsiteX3" fmla="*/ 3398 w 20958"/>
                <a:gd name="connsiteY3" fmla="*/ 3598 h 39783"/>
                <a:gd name="connsiteX4" fmla="*/ 1612 w 20958"/>
                <a:gd name="connsiteY4" fmla="*/ 9294 h 39783"/>
                <a:gd name="connsiteX5" fmla="*/ 1140 w 20958"/>
                <a:gd name="connsiteY5" fmla="*/ 13676 h 39783"/>
                <a:gd name="connsiteX6" fmla="*/ 1039 w 20958"/>
                <a:gd name="connsiteY6" fmla="*/ 14586 h 39783"/>
                <a:gd name="connsiteX7" fmla="*/ 61 w 20958"/>
                <a:gd name="connsiteY7" fmla="*/ 26787 h 39783"/>
                <a:gd name="connsiteX8" fmla="*/ 4342 w 20958"/>
                <a:gd name="connsiteY8" fmla="*/ 37438 h 39783"/>
                <a:gd name="connsiteX9" fmla="*/ 16139 w 20958"/>
                <a:gd name="connsiteY9" fmla="*/ 37707 h 39783"/>
                <a:gd name="connsiteX10" fmla="*/ 20250 w 20958"/>
                <a:gd name="connsiteY10" fmla="*/ 25978 h 39783"/>
                <a:gd name="connsiteX11" fmla="*/ 19947 w 20958"/>
                <a:gd name="connsiteY11" fmla="*/ 9328 h 39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958" h="39783">
                  <a:moveTo>
                    <a:pt x="19947" y="9328"/>
                  </a:moveTo>
                  <a:cubicBezTo>
                    <a:pt x="18869" y="5485"/>
                    <a:pt x="16408" y="699"/>
                    <a:pt x="12027" y="59"/>
                  </a:cubicBezTo>
                  <a:cubicBezTo>
                    <a:pt x="11285" y="-42"/>
                    <a:pt x="10611" y="-9"/>
                    <a:pt x="9937" y="126"/>
                  </a:cubicBezTo>
                  <a:cubicBezTo>
                    <a:pt x="7375" y="93"/>
                    <a:pt x="4814" y="1272"/>
                    <a:pt x="3398" y="3598"/>
                  </a:cubicBezTo>
                  <a:cubicBezTo>
                    <a:pt x="2353" y="5350"/>
                    <a:pt x="1881" y="7272"/>
                    <a:pt x="1612" y="9294"/>
                  </a:cubicBezTo>
                  <a:cubicBezTo>
                    <a:pt x="1207" y="10710"/>
                    <a:pt x="1140" y="12159"/>
                    <a:pt x="1140" y="13676"/>
                  </a:cubicBezTo>
                  <a:cubicBezTo>
                    <a:pt x="1106" y="13979"/>
                    <a:pt x="1073" y="14282"/>
                    <a:pt x="1039" y="14586"/>
                  </a:cubicBezTo>
                  <a:cubicBezTo>
                    <a:pt x="466" y="18597"/>
                    <a:pt x="-208" y="22708"/>
                    <a:pt x="61" y="26787"/>
                  </a:cubicBezTo>
                  <a:cubicBezTo>
                    <a:pt x="297" y="30697"/>
                    <a:pt x="1241" y="34775"/>
                    <a:pt x="4342" y="37438"/>
                  </a:cubicBezTo>
                  <a:cubicBezTo>
                    <a:pt x="7544" y="40201"/>
                    <a:pt x="12937" y="40808"/>
                    <a:pt x="16139" y="37707"/>
                  </a:cubicBezTo>
                  <a:cubicBezTo>
                    <a:pt x="19240" y="34707"/>
                    <a:pt x="19644" y="30022"/>
                    <a:pt x="20250" y="25978"/>
                  </a:cubicBezTo>
                  <a:cubicBezTo>
                    <a:pt x="21093" y="20720"/>
                    <a:pt x="21397" y="14518"/>
                    <a:pt x="19947" y="9328"/>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sp>
          <p:nvSpPr>
            <p:cNvPr id="437" name="Freeform: Shape 436">
              <a:extLst>
                <a:ext uri="{FF2B5EF4-FFF2-40B4-BE49-F238E27FC236}">
                  <a16:creationId xmlns:a16="http://schemas.microsoft.com/office/drawing/2014/main" id="{EBEB7DDA-C8B3-488D-9A79-65C8F3DDF5D7}"/>
                </a:ext>
              </a:extLst>
            </p:cNvPr>
            <p:cNvSpPr/>
            <p:nvPr/>
          </p:nvSpPr>
          <p:spPr>
            <a:xfrm>
              <a:off x="5772888" y="1521109"/>
              <a:ext cx="33615" cy="35221"/>
            </a:xfrm>
            <a:custGeom>
              <a:avLst/>
              <a:gdLst>
                <a:gd name="connsiteX0" fmla="*/ 33474 w 33615"/>
                <a:gd name="connsiteY0" fmla="*/ 27457 h 35221"/>
                <a:gd name="connsiteX1" fmla="*/ 33340 w 33615"/>
                <a:gd name="connsiteY1" fmla="*/ 26615 h 35221"/>
                <a:gd name="connsiteX2" fmla="*/ 26599 w 33615"/>
                <a:gd name="connsiteY2" fmla="*/ 15088 h 35221"/>
                <a:gd name="connsiteX3" fmla="*/ 12308 w 33615"/>
                <a:gd name="connsiteY3" fmla="*/ 2752 h 35221"/>
                <a:gd name="connsiteX4" fmla="*/ 2264 w 33615"/>
                <a:gd name="connsiteY4" fmla="*/ 1201 h 35221"/>
                <a:gd name="connsiteX5" fmla="*/ 4859 w 33615"/>
                <a:gd name="connsiteY5" fmla="*/ 15391 h 35221"/>
                <a:gd name="connsiteX6" fmla="*/ 20397 w 33615"/>
                <a:gd name="connsiteY6" fmla="*/ 32547 h 35221"/>
                <a:gd name="connsiteX7" fmla="*/ 31486 w 33615"/>
                <a:gd name="connsiteY7" fmla="*/ 33794 h 35221"/>
                <a:gd name="connsiteX8" fmla="*/ 33474 w 33615"/>
                <a:gd name="connsiteY8" fmla="*/ 27457 h 35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615" h="35221">
                  <a:moveTo>
                    <a:pt x="33474" y="27457"/>
                  </a:moveTo>
                  <a:cubicBezTo>
                    <a:pt x="33441" y="27188"/>
                    <a:pt x="33407" y="26884"/>
                    <a:pt x="33340" y="26615"/>
                  </a:cubicBezTo>
                  <a:cubicBezTo>
                    <a:pt x="33778" y="22166"/>
                    <a:pt x="30205" y="18222"/>
                    <a:pt x="26599" y="15088"/>
                  </a:cubicBezTo>
                  <a:cubicBezTo>
                    <a:pt x="22925" y="9594"/>
                    <a:pt x="18644" y="4403"/>
                    <a:pt x="12308" y="2752"/>
                  </a:cubicBezTo>
                  <a:cubicBezTo>
                    <a:pt x="9476" y="594"/>
                    <a:pt x="5499" y="-1327"/>
                    <a:pt x="2264" y="1201"/>
                  </a:cubicBezTo>
                  <a:cubicBezTo>
                    <a:pt x="-2691" y="5077"/>
                    <a:pt x="1556" y="11414"/>
                    <a:pt x="4859" y="15391"/>
                  </a:cubicBezTo>
                  <a:cubicBezTo>
                    <a:pt x="7623" y="22705"/>
                    <a:pt x="14296" y="27963"/>
                    <a:pt x="20397" y="32547"/>
                  </a:cubicBezTo>
                  <a:cubicBezTo>
                    <a:pt x="23531" y="34906"/>
                    <a:pt x="28048" y="36524"/>
                    <a:pt x="31486" y="33794"/>
                  </a:cubicBezTo>
                  <a:cubicBezTo>
                    <a:pt x="33474" y="32142"/>
                    <a:pt x="33879" y="29749"/>
                    <a:pt x="33474" y="27457"/>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sp>
          <p:nvSpPr>
            <p:cNvPr id="438" name="Freeform: Shape 437">
              <a:extLst>
                <a:ext uri="{FF2B5EF4-FFF2-40B4-BE49-F238E27FC236}">
                  <a16:creationId xmlns:a16="http://schemas.microsoft.com/office/drawing/2014/main" id="{4C6727BE-7811-47C3-BE5E-4346E57014E8}"/>
                </a:ext>
              </a:extLst>
            </p:cNvPr>
            <p:cNvSpPr/>
            <p:nvPr/>
          </p:nvSpPr>
          <p:spPr>
            <a:xfrm>
              <a:off x="5894688" y="1612416"/>
              <a:ext cx="46836" cy="21488"/>
            </a:xfrm>
            <a:custGeom>
              <a:avLst/>
              <a:gdLst>
                <a:gd name="connsiteX0" fmla="*/ 45416 w 46836"/>
                <a:gd name="connsiteY0" fmla="*/ 6797 h 21488"/>
                <a:gd name="connsiteX1" fmla="*/ 35608 w 46836"/>
                <a:gd name="connsiteY1" fmla="*/ 1606 h 21488"/>
                <a:gd name="connsiteX2" fmla="*/ 24654 w 46836"/>
                <a:gd name="connsiteY2" fmla="*/ 527 h 21488"/>
                <a:gd name="connsiteX3" fmla="*/ 7161 w 46836"/>
                <a:gd name="connsiteY3" fmla="*/ 966 h 21488"/>
                <a:gd name="connsiteX4" fmla="*/ 5240 w 46836"/>
                <a:gd name="connsiteY4" fmla="*/ 2280 h 21488"/>
                <a:gd name="connsiteX5" fmla="*/ 757 w 46836"/>
                <a:gd name="connsiteY5" fmla="*/ 6224 h 21488"/>
                <a:gd name="connsiteX6" fmla="*/ 420 w 46836"/>
                <a:gd name="connsiteY6" fmla="*/ 11212 h 21488"/>
                <a:gd name="connsiteX7" fmla="*/ 824 w 46836"/>
                <a:gd name="connsiteY7" fmla="*/ 12628 h 21488"/>
                <a:gd name="connsiteX8" fmla="*/ 10396 w 46836"/>
                <a:gd name="connsiteY8" fmla="*/ 19672 h 21488"/>
                <a:gd name="connsiteX9" fmla="*/ 25159 w 46836"/>
                <a:gd name="connsiteY9" fmla="*/ 21323 h 21488"/>
                <a:gd name="connsiteX10" fmla="*/ 31193 w 46836"/>
                <a:gd name="connsiteY10" fmla="*/ 19706 h 21488"/>
                <a:gd name="connsiteX11" fmla="*/ 32440 w 46836"/>
                <a:gd name="connsiteY11" fmla="*/ 19672 h 21488"/>
                <a:gd name="connsiteX12" fmla="*/ 41169 w 46836"/>
                <a:gd name="connsiteY12" fmla="*/ 17211 h 21488"/>
                <a:gd name="connsiteX13" fmla="*/ 45416 w 46836"/>
                <a:gd name="connsiteY13" fmla="*/ 6797 h 21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836" h="21488">
                  <a:moveTo>
                    <a:pt x="45416" y="6797"/>
                  </a:moveTo>
                  <a:cubicBezTo>
                    <a:pt x="43225" y="3729"/>
                    <a:pt x="39147" y="2348"/>
                    <a:pt x="35608" y="1606"/>
                  </a:cubicBezTo>
                  <a:cubicBezTo>
                    <a:pt x="31968" y="831"/>
                    <a:pt x="28328" y="595"/>
                    <a:pt x="24654" y="527"/>
                  </a:cubicBezTo>
                  <a:cubicBezTo>
                    <a:pt x="18823" y="393"/>
                    <a:pt x="12857" y="-821"/>
                    <a:pt x="7161" y="966"/>
                  </a:cubicBezTo>
                  <a:cubicBezTo>
                    <a:pt x="6386" y="1202"/>
                    <a:pt x="5711" y="1673"/>
                    <a:pt x="5240" y="2280"/>
                  </a:cubicBezTo>
                  <a:cubicBezTo>
                    <a:pt x="3319" y="3156"/>
                    <a:pt x="1667" y="4437"/>
                    <a:pt x="757" y="6224"/>
                  </a:cubicBezTo>
                  <a:cubicBezTo>
                    <a:pt x="-187" y="8044"/>
                    <a:pt x="-187" y="9695"/>
                    <a:pt x="420" y="11212"/>
                  </a:cubicBezTo>
                  <a:cubicBezTo>
                    <a:pt x="521" y="11684"/>
                    <a:pt x="656" y="12156"/>
                    <a:pt x="824" y="12628"/>
                  </a:cubicBezTo>
                  <a:cubicBezTo>
                    <a:pt x="2442" y="16773"/>
                    <a:pt x="6285" y="18728"/>
                    <a:pt x="10396" y="19672"/>
                  </a:cubicBezTo>
                  <a:cubicBezTo>
                    <a:pt x="15149" y="20750"/>
                    <a:pt x="20306" y="21930"/>
                    <a:pt x="25159" y="21323"/>
                  </a:cubicBezTo>
                  <a:cubicBezTo>
                    <a:pt x="27249" y="21054"/>
                    <a:pt x="29204" y="20380"/>
                    <a:pt x="31193" y="19706"/>
                  </a:cubicBezTo>
                  <a:cubicBezTo>
                    <a:pt x="31597" y="19706"/>
                    <a:pt x="32035" y="19672"/>
                    <a:pt x="32440" y="19672"/>
                  </a:cubicBezTo>
                  <a:cubicBezTo>
                    <a:pt x="35304" y="19604"/>
                    <a:pt x="38607" y="18863"/>
                    <a:pt x="41169" y="17211"/>
                  </a:cubicBezTo>
                  <a:cubicBezTo>
                    <a:pt x="45989" y="15560"/>
                    <a:pt x="48651" y="11313"/>
                    <a:pt x="45416" y="6797"/>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sp>
          <p:nvSpPr>
            <p:cNvPr id="439" name="Freeform: Shape 438">
              <a:extLst>
                <a:ext uri="{FF2B5EF4-FFF2-40B4-BE49-F238E27FC236}">
                  <a16:creationId xmlns:a16="http://schemas.microsoft.com/office/drawing/2014/main" id="{B1D1126D-2D93-491A-ADB5-43BDC954F828}"/>
                </a:ext>
              </a:extLst>
            </p:cNvPr>
            <p:cNvSpPr/>
            <p:nvPr/>
          </p:nvSpPr>
          <p:spPr>
            <a:xfrm>
              <a:off x="5870878" y="1328982"/>
              <a:ext cx="29495" cy="27719"/>
            </a:xfrm>
            <a:custGeom>
              <a:avLst/>
              <a:gdLst>
                <a:gd name="connsiteX0" fmla="*/ 24904 w 29495"/>
                <a:gd name="connsiteY0" fmla="*/ 99 h 27719"/>
                <a:gd name="connsiteX1" fmla="*/ 17995 w 29495"/>
                <a:gd name="connsiteY1" fmla="*/ 4682 h 27719"/>
                <a:gd name="connsiteX2" fmla="*/ 11119 w 29495"/>
                <a:gd name="connsiteY2" fmla="*/ 9637 h 27719"/>
                <a:gd name="connsiteX3" fmla="*/ 266 w 29495"/>
                <a:gd name="connsiteY3" fmla="*/ 23288 h 27719"/>
                <a:gd name="connsiteX4" fmla="*/ 7344 w 29495"/>
                <a:gd name="connsiteY4" fmla="*/ 25242 h 27719"/>
                <a:gd name="connsiteX5" fmla="*/ 16646 w 29495"/>
                <a:gd name="connsiteY5" fmla="*/ 15030 h 27719"/>
                <a:gd name="connsiteX6" fmla="*/ 21736 w 29495"/>
                <a:gd name="connsiteY6" fmla="*/ 11423 h 27719"/>
                <a:gd name="connsiteX7" fmla="*/ 26859 w 29495"/>
                <a:gd name="connsiteY7" fmla="*/ 7210 h 27719"/>
                <a:gd name="connsiteX8" fmla="*/ 24904 w 29495"/>
                <a:gd name="connsiteY8" fmla="*/ 99 h 27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495" h="27719">
                  <a:moveTo>
                    <a:pt x="24904" y="99"/>
                  </a:moveTo>
                  <a:cubicBezTo>
                    <a:pt x="21837" y="773"/>
                    <a:pt x="20051" y="2424"/>
                    <a:pt x="17995" y="4682"/>
                  </a:cubicBezTo>
                  <a:cubicBezTo>
                    <a:pt x="15938" y="6974"/>
                    <a:pt x="13714" y="8120"/>
                    <a:pt x="11119" y="9637"/>
                  </a:cubicBezTo>
                  <a:cubicBezTo>
                    <a:pt x="6097" y="12569"/>
                    <a:pt x="2322" y="17962"/>
                    <a:pt x="266" y="23288"/>
                  </a:cubicBezTo>
                  <a:cubicBezTo>
                    <a:pt x="-1453" y="27703"/>
                    <a:pt x="5659" y="29624"/>
                    <a:pt x="7344" y="25242"/>
                  </a:cubicBezTo>
                  <a:cubicBezTo>
                    <a:pt x="9097" y="20726"/>
                    <a:pt x="12501" y="17322"/>
                    <a:pt x="16646" y="15030"/>
                  </a:cubicBezTo>
                  <a:cubicBezTo>
                    <a:pt x="18466" y="14019"/>
                    <a:pt x="20185" y="12873"/>
                    <a:pt x="21736" y="11423"/>
                  </a:cubicBezTo>
                  <a:cubicBezTo>
                    <a:pt x="23455" y="9806"/>
                    <a:pt x="24432" y="7716"/>
                    <a:pt x="26859" y="7210"/>
                  </a:cubicBezTo>
                  <a:cubicBezTo>
                    <a:pt x="31477" y="6165"/>
                    <a:pt x="29522" y="-913"/>
                    <a:pt x="24904" y="99"/>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sp>
          <p:nvSpPr>
            <p:cNvPr id="440" name="Freeform: Shape 439">
              <a:extLst>
                <a:ext uri="{FF2B5EF4-FFF2-40B4-BE49-F238E27FC236}">
                  <a16:creationId xmlns:a16="http://schemas.microsoft.com/office/drawing/2014/main" id="{1912F82E-B2EC-4B85-A83F-93E5084A165C}"/>
                </a:ext>
              </a:extLst>
            </p:cNvPr>
            <p:cNvSpPr/>
            <p:nvPr/>
          </p:nvSpPr>
          <p:spPr>
            <a:xfrm>
              <a:off x="5838110" y="1371741"/>
              <a:ext cx="24204" cy="88182"/>
            </a:xfrm>
            <a:custGeom>
              <a:avLst/>
              <a:gdLst>
                <a:gd name="connsiteX0" fmla="*/ 17799 w 24204"/>
                <a:gd name="connsiteY0" fmla="*/ 953 h 88182"/>
                <a:gd name="connsiteX1" fmla="*/ 5833 w 24204"/>
                <a:gd name="connsiteY1" fmla="*/ 21109 h 88182"/>
                <a:gd name="connsiteX2" fmla="*/ 2 w 24204"/>
                <a:gd name="connsiteY2" fmla="*/ 49084 h 88182"/>
                <a:gd name="connsiteX3" fmla="*/ 508 w 24204"/>
                <a:gd name="connsiteY3" fmla="*/ 63273 h 88182"/>
                <a:gd name="connsiteX4" fmla="*/ 2058 w 24204"/>
                <a:gd name="connsiteY4" fmla="*/ 75845 h 88182"/>
                <a:gd name="connsiteX5" fmla="*/ 10080 w 24204"/>
                <a:gd name="connsiteY5" fmla="*/ 88181 h 88182"/>
                <a:gd name="connsiteX6" fmla="*/ 10080 w 24204"/>
                <a:gd name="connsiteY6" fmla="*/ 80834 h 88182"/>
                <a:gd name="connsiteX7" fmla="*/ 10013 w 24204"/>
                <a:gd name="connsiteY7" fmla="*/ 80834 h 88182"/>
                <a:gd name="connsiteX8" fmla="*/ 9709 w 24204"/>
                <a:gd name="connsiteY8" fmla="*/ 79721 h 88182"/>
                <a:gd name="connsiteX9" fmla="*/ 9440 w 24204"/>
                <a:gd name="connsiteY9" fmla="*/ 76789 h 88182"/>
                <a:gd name="connsiteX10" fmla="*/ 8631 w 24204"/>
                <a:gd name="connsiteY10" fmla="*/ 68936 h 88182"/>
                <a:gd name="connsiteX11" fmla="*/ 7485 w 24204"/>
                <a:gd name="connsiteY11" fmla="*/ 45241 h 88182"/>
                <a:gd name="connsiteX12" fmla="*/ 13080 w 24204"/>
                <a:gd name="connsiteY12" fmla="*/ 22794 h 88182"/>
                <a:gd name="connsiteX13" fmla="*/ 22989 w 24204"/>
                <a:gd name="connsiteY13" fmla="*/ 6177 h 88182"/>
                <a:gd name="connsiteX14" fmla="*/ 17799 w 24204"/>
                <a:gd name="connsiteY14" fmla="*/ 953 h 88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204" h="88182">
                  <a:moveTo>
                    <a:pt x="17799" y="953"/>
                  </a:moveTo>
                  <a:cubicBezTo>
                    <a:pt x="12001" y="5975"/>
                    <a:pt x="8732" y="14165"/>
                    <a:pt x="5833" y="21109"/>
                  </a:cubicBezTo>
                  <a:cubicBezTo>
                    <a:pt x="2227" y="29737"/>
                    <a:pt x="70" y="39714"/>
                    <a:pt x="2" y="49084"/>
                  </a:cubicBezTo>
                  <a:cubicBezTo>
                    <a:pt x="-31" y="53802"/>
                    <a:pt x="306" y="58555"/>
                    <a:pt x="508" y="63273"/>
                  </a:cubicBezTo>
                  <a:cubicBezTo>
                    <a:pt x="710" y="67520"/>
                    <a:pt x="1923" y="71599"/>
                    <a:pt x="2058" y="75845"/>
                  </a:cubicBezTo>
                  <a:cubicBezTo>
                    <a:pt x="2261" y="81171"/>
                    <a:pt x="3238" y="88282"/>
                    <a:pt x="10080" y="88181"/>
                  </a:cubicBezTo>
                  <a:cubicBezTo>
                    <a:pt x="14799" y="88114"/>
                    <a:pt x="14833" y="80766"/>
                    <a:pt x="10080" y="80834"/>
                  </a:cubicBezTo>
                  <a:cubicBezTo>
                    <a:pt x="10046" y="80834"/>
                    <a:pt x="10046" y="80834"/>
                    <a:pt x="10013" y="80834"/>
                  </a:cubicBezTo>
                  <a:cubicBezTo>
                    <a:pt x="9844" y="80497"/>
                    <a:pt x="9777" y="80025"/>
                    <a:pt x="9709" y="79721"/>
                  </a:cubicBezTo>
                  <a:cubicBezTo>
                    <a:pt x="9541" y="78744"/>
                    <a:pt x="9474" y="77800"/>
                    <a:pt x="9440" y="76789"/>
                  </a:cubicBezTo>
                  <a:cubicBezTo>
                    <a:pt x="9339" y="74126"/>
                    <a:pt x="9103" y="71565"/>
                    <a:pt x="8631" y="68936"/>
                  </a:cubicBezTo>
                  <a:cubicBezTo>
                    <a:pt x="7215" y="61386"/>
                    <a:pt x="6946" y="52926"/>
                    <a:pt x="7485" y="45241"/>
                  </a:cubicBezTo>
                  <a:cubicBezTo>
                    <a:pt x="8024" y="37826"/>
                    <a:pt x="9945" y="29535"/>
                    <a:pt x="13080" y="22794"/>
                  </a:cubicBezTo>
                  <a:cubicBezTo>
                    <a:pt x="15709" y="17098"/>
                    <a:pt x="18169" y="10390"/>
                    <a:pt x="22989" y="6177"/>
                  </a:cubicBezTo>
                  <a:cubicBezTo>
                    <a:pt x="26596" y="3043"/>
                    <a:pt x="21371" y="-2148"/>
                    <a:pt x="17799" y="953"/>
                  </a:cubicBezTo>
                  <a:close/>
                </a:path>
              </a:pathLst>
            </a:custGeom>
            <a:solidFill>
              <a:schemeClr val="accent1">
                <a:lumMod val="20000"/>
                <a:lumOff val="80000"/>
              </a:schemeClr>
            </a:solidFill>
            <a:ln w="3370" cap="flat">
              <a:noFill/>
              <a:prstDash val="solid"/>
              <a:miter/>
            </a:ln>
          </p:spPr>
          <p:txBody>
            <a:bodyPr rtlCol="0" anchor="ctr"/>
            <a:lstStyle/>
            <a:p>
              <a:endParaRPr lang="en-US" dirty="0">
                <a:latin typeface="Open Sans"/>
              </a:endParaRPr>
            </a:p>
          </p:txBody>
        </p:sp>
      </p:grpSp>
      <p:sp>
        <p:nvSpPr>
          <p:cNvPr id="2" name="Title 1">
            <a:extLst>
              <a:ext uri="{FF2B5EF4-FFF2-40B4-BE49-F238E27FC236}">
                <a16:creationId xmlns:a16="http://schemas.microsoft.com/office/drawing/2014/main" id="{1A35E98D-82D0-4469-85B6-09477C1F916A}"/>
              </a:ext>
            </a:extLst>
          </p:cNvPr>
          <p:cNvSpPr>
            <a:spLocks noGrp="1"/>
          </p:cNvSpPr>
          <p:nvPr>
            <p:ph type="title"/>
          </p:nvPr>
        </p:nvSpPr>
        <p:spPr>
          <a:xfrm>
            <a:off x="925920" y="2191635"/>
            <a:ext cx="11725484" cy="314028"/>
          </a:xfrm>
        </p:spPr>
        <p:txBody>
          <a:bodyPr wrap="square">
            <a:spAutoFit/>
          </a:bodyPr>
          <a:lstStyle/>
          <a:p>
            <a:r>
              <a:rPr lang="en-US" sz="9600" b="1" dirty="0"/>
              <a:t>COVID-19 Update</a:t>
            </a:r>
            <a:endParaRPr lang="en-US" sz="9600" b="1" dirty="0">
              <a:latin typeface="Open Sans"/>
            </a:endParaRPr>
          </a:p>
        </p:txBody>
      </p:sp>
      <p:sp>
        <p:nvSpPr>
          <p:cNvPr id="129" name="Freeform: Shape 128">
            <a:extLst>
              <a:ext uri="{FF2B5EF4-FFF2-40B4-BE49-F238E27FC236}">
                <a16:creationId xmlns:a16="http://schemas.microsoft.com/office/drawing/2014/main" id="{98552D75-7DD0-473E-8531-AE1EF4055298}"/>
              </a:ext>
            </a:extLst>
          </p:cNvPr>
          <p:cNvSpPr/>
          <p:nvPr/>
        </p:nvSpPr>
        <p:spPr>
          <a:xfrm>
            <a:off x="9185280" y="3299706"/>
            <a:ext cx="85907" cy="60607"/>
          </a:xfrm>
          <a:custGeom>
            <a:avLst/>
            <a:gdLst>
              <a:gd name="connsiteX0" fmla="*/ 9243 w 85907"/>
              <a:gd name="connsiteY0" fmla="*/ 68 h 60607"/>
              <a:gd name="connsiteX1" fmla="*/ 9243 w 85907"/>
              <a:gd name="connsiteY1" fmla="*/ 68 h 60607"/>
              <a:gd name="connsiteX2" fmla="*/ 14842 w 85907"/>
              <a:gd name="connsiteY2" fmla="*/ 1668 h 60607"/>
              <a:gd name="connsiteX3" fmla="*/ 73139 w 85907"/>
              <a:gd name="connsiteY3" fmla="*/ 18559 h 60607"/>
              <a:gd name="connsiteX4" fmla="*/ 83631 w 85907"/>
              <a:gd name="connsiteY4" fmla="*/ 21617 h 60607"/>
              <a:gd name="connsiteX5" fmla="*/ 81655 w 85907"/>
              <a:gd name="connsiteY5" fmla="*/ 41896 h 60607"/>
              <a:gd name="connsiteX6" fmla="*/ 39685 w 85907"/>
              <a:gd name="connsiteY6" fmla="*/ 60481 h 60607"/>
              <a:gd name="connsiteX7" fmla="*/ 25523 w 85907"/>
              <a:gd name="connsiteY7" fmla="*/ 56294 h 60607"/>
              <a:gd name="connsiteX8" fmla="*/ 398 w 85907"/>
              <a:gd name="connsiteY8" fmla="*/ 18041 h 60607"/>
              <a:gd name="connsiteX9" fmla="*/ 9243 w 85907"/>
              <a:gd name="connsiteY9" fmla="*/ 68 h 60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907" h="60607">
                <a:moveTo>
                  <a:pt x="9243" y="68"/>
                </a:moveTo>
                <a:lnTo>
                  <a:pt x="9243" y="68"/>
                </a:lnTo>
                <a:cubicBezTo>
                  <a:pt x="11266" y="-214"/>
                  <a:pt x="13196" y="397"/>
                  <a:pt x="14842" y="1668"/>
                </a:cubicBezTo>
                <a:lnTo>
                  <a:pt x="73139" y="18559"/>
                </a:lnTo>
                <a:cubicBezTo>
                  <a:pt x="76856" y="16489"/>
                  <a:pt x="81043" y="17430"/>
                  <a:pt x="83631" y="21617"/>
                </a:cubicBezTo>
                <a:cubicBezTo>
                  <a:pt x="87301" y="27499"/>
                  <a:pt x="86454" y="37097"/>
                  <a:pt x="81655" y="41896"/>
                </a:cubicBezTo>
                <a:cubicBezTo>
                  <a:pt x="68245" y="55118"/>
                  <a:pt x="53424" y="61611"/>
                  <a:pt x="39685" y="60481"/>
                </a:cubicBezTo>
                <a:cubicBezTo>
                  <a:pt x="34792" y="60058"/>
                  <a:pt x="30040" y="58694"/>
                  <a:pt x="25523" y="56294"/>
                </a:cubicBezTo>
                <a:cubicBezTo>
                  <a:pt x="13007" y="49613"/>
                  <a:pt x="4162" y="35827"/>
                  <a:pt x="398" y="18041"/>
                </a:cubicBezTo>
                <a:cubicBezTo>
                  <a:pt x="-1390" y="9760"/>
                  <a:pt x="3080" y="962"/>
                  <a:pt x="9243" y="68"/>
                </a:cubicBezTo>
                <a:close/>
              </a:path>
            </a:pathLst>
          </a:custGeom>
          <a:solidFill>
            <a:srgbClr val="FFFFFF"/>
          </a:solidFill>
          <a:ln w="4702" cap="flat">
            <a:noFill/>
            <a:prstDash val="solid"/>
            <a:miter/>
          </a:ln>
        </p:spPr>
        <p:txBody>
          <a:bodyPr rtlCol="0" anchor="ctr"/>
          <a:lstStyle/>
          <a:p>
            <a:endParaRPr lang="en-US" dirty="0"/>
          </a:p>
        </p:txBody>
      </p:sp>
      <p:pic>
        <p:nvPicPr>
          <p:cNvPr id="197" name="Picture 196">
            <a:extLst>
              <a:ext uri="{FF2B5EF4-FFF2-40B4-BE49-F238E27FC236}">
                <a16:creationId xmlns:a16="http://schemas.microsoft.com/office/drawing/2014/main" id="{CC4C001E-9C65-4D29-B496-73F7863E87FE}"/>
              </a:ext>
            </a:extLst>
          </p:cNvPr>
          <p:cNvPicPr>
            <a:picLocks noChangeAspect="1"/>
          </p:cNvPicPr>
          <p:nvPr/>
        </p:nvPicPr>
        <p:blipFill>
          <a:blip r:embed="rId7">
            <a:biLevel thresh="75000"/>
          </a:blip>
          <a:stretch>
            <a:fillRect/>
          </a:stretch>
        </p:blipFill>
        <p:spPr>
          <a:xfrm>
            <a:off x="838099" y="419003"/>
            <a:ext cx="686545" cy="730913"/>
          </a:xfrm>
          <a:prstGeom prst="rect">
            <a:avLst/>
          </a:prstGeom>
        </p:spPr>
      </p:pic>
      <p:sp>
        <p:nvSpPr>
          <p:cNvPr id="8" name="TextBox 7">
            <a:extLst>
              <a:ext uri="{FF2B5EF4-FFF2-40B4-BE49-F238E27FC236}">
                <a16:creationId xmlns:a16="http://schemas.microsoft.com/office/drawing/2014/main" id="{EE25B3E1-E44B-4A8B-857A-6A0B160E7E14}"/>
              </a:ext>
            </a:extLst>
          </p:cNvPr>
          <p:cNvSpPr txBox="1"/>
          <p:nvPr/>
        </p:nvSpPr>
        <p:spPr>
          <a:xfrm>
            <a:off x="3590251" y="4612674"/>
            <a:ext cx="4834978" cy="1323439"/>
          </a:xfrm>
          <a:prstGeom prst="rect">
            <a:avLst/>
          </a:prstGeom>
          <a:noFill/>
        </p:spPr>
        <p:txBody>
          <a:bodyPr wrap="none" rtlCol="0">
            <a:spAutoFit/>
          </a:bodyPr>
          <a:lstStyle/>
          <a:p>
            <a:pPr algn="ctr"/>
            <a:r>
              <a:rPr lang="en-US" sz="4000" dirty="0"/>
              <a:t>Meg Fisher, MD</a:t>
            </a:r>
          </a:p>
          <a:p>
            <a:pPr algn="ctr"/>
            <a:r>
              <a:rPr lang="en-US" sz="4000" dirty="0"/>
              <a:t>September 21, 2021</a:t>
            </a:r>
          </a:p>
        </p:txBody>
      </p:sp>
    </p:spTree>
    <p:extLst>
      <p:ext uri="{BB962C8B-B14F-4D97-AF65-F5344CB8AC3E}">
        <p14:creationId xmlns:p14="http://schemas.microsoft.com/office/powerpoint/2010/main" val="40915379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2F52DF9-E224-41E3-90ED-40D7126DCEEE}"/>
              </a:ext>
            </a:extLst>
          </p:cNvPr>
          <p:cNvGraphicFramePr>
            <a:graphicFrameLocks noChangeAspect="1"/>
          </p:cNvGraphicFramePr>
          <p:nvPr>
            <p:custDataLst>
              <p:tags r:id="rId1"/>
            </p:custDataLst>
          </p:nvPr>
        </p:nvGraphicFramePr>
        <p:xfrm>
          <a:off x="1678" y="1639"/>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5" progId="TCLayout.ActiveDocument.1">
                  <p:embed/>
                </p:oleObj>
              </mc:Choice>
              <mc:Fallback>
                <p:oleObj name="think-cell Slide" r:id="rId6" imgW="592" imgH="595" progId="TCLayout.ActiveDocument.1">
                  <p:embed/>
                  <p:pic>
                    <p:nvPicPr>
                      <p:cNvPr id="6" name="Object 5" hidden="1">
                        <a:extLst>
                          <a:ext uri="{FF2B5EF4-FFF2-40B4-BE49-F238E27FC236}">
                            <a16:creationId xmlns:a16="http://schemas.microsoft.com/office/drawing/2014/main" id="{02F52DF9-E224-41E3-90ED-40D7126DCEEE}"/>
                          </a:ext>
                        </a:extLst>
                      </p:cNvPr>
                      <p:cNvPicPr/>
                      <p:nvPr/>
                    </p:nvPicPr>
                    <p:blipFill>
                      <a:blip r:embed="rId7"/>
                      <a:stretch>
                        <a:fillRect/>
                      </a:stretch>
                    </p:blipFill>
                    <p:spPr>
                      <a:xfrm>
                        <a:off x="1678" y="1639"/>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4056D97-53EF-4BB5-A9F6-31E0D083A213}"/>
              </a:ext>
            </a:extLst>
          </p:cNvPr>
          <p:cNvSpPr/>
          <p:nvPr>
            <p:custDataLst>
              <p:tags r:id="rId2"/>
            </p:custDataLst>
          </p:nvPr>
        </p:nvSpPr>
        <p:spPr>
          <a:xfrm>
            <a:off x="91" y="51"/>
            <a:ext cx="158747" cy="15874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dirty="0">
              <a:ln>
                <a:noFill/>
              </a:ln>
              <a:solidFill>
                <a:prstClr val="white"/>
              </a:solidFill>
              <a:effectLst/>
              <a:uLnTx/>
              <a:uFillTx/>
              <a:latin typeface="Calibri Light" panose="020F0302020204030204" pitchFamily="34" charset="0"/>
              <a:ea typeface="+mn-ea"/>
              <a:cs typeface="+mn-cs"/>
              <a:sym typeface="Calibri Light" panose="020F0302020204030204" pitchFamily="34" charset="0"/>
            </a:endParaRPr>
          </a:p>
        </p:txBody>
      </p:sp>
      <p:sp>
        <p:nvSpPr>
          <p:cNvPr id="2" name="Title 1">
            <a:extLst>
              <a:ext uri="{FF2B5EF4-FFF2-40B4-BE49-F238E27FC236}">
                <a16:creationId xmlns:a16="http://schemas.microsoft.com/office/drawing/2014/main" id="{8C675580-1DAB-4FCF-BB28-A53C3DA90C41}"/>
              </a:ext>
            </a:extLst>
          </p:cNvPr>
          <p:cNvSpPr>
            <a:spLocks noGrp="1"/>
          </p:cNvSpPr>
          <p:nvPr>
            <p:ph type="title"/>
          </p:nvPr>
        </p:nvSpPr>
        <p:spPr>
          <a:xfrm>
            <a:off x="838278" y="638612"/>
            <a:ext cx="10515445" cy="778659"/>
          </a:xfrm>
          <a:noFill/>
          <a:ln/>
          <a:extLst>
            <a:ext uri="{909E8E84-426E-40DD-AFC4-6F175D3DCCD1}">
              <a14:hiddenFill xmlns:a14="http://schemas.microsoft.com/office/drawing/2010/main">
                <a:solidFill>
                  <a:srgbClr val="FFFFFF"/>
                </a:solidFill>
              </a14:hiddenFill>
            </a:ext>
          </a:extLst>
        </p:spPr>
        <p:txBody>
          <a:bodyPr vert="horz" wrap="square" lIns="0" tIns="0" rIns="0" bIns="0" numCol="1" rtlCol="0" anchor="ctr" anchorCtr="0" compatLnSpc="1">
            <a:prstTxWarp prst="textNoShape">
              <a:avLst/>
            </a:prstTxWarp>
            <a:spAutoFit/>
          </a:bodyPr>
          <a:lstStyle/>
          <a:p>
            <a:pPr algn="ctr"/>
            <a:r>
              <a:rPr lang="en-US" sz="5510" dirty="0"/>
              <a:t>COVID-19 Vaccines</a:t>
            </a:r>
          </a:p>
        </p:txBody>
      </p:sp>
      <p:sp>
        <p:nvSpPr>
          <p:cNvPr id="3" name="Content Placeholder 2">
            <a:extLst>
              <a:ext uri="{FF2B5EF4-FFF2-40B4-BE49-F238E27FC236}">
                <a16:creationId xmlns:a16="http://schemas.microsoft.com/office/drawing/2014/main" id="{5E4D9897-DAFF-4FE1-9BAF-9C698C95B50A}"/>
              </a:ext>
            </a:extLst>
          </p:cNvPr>
          <p:cNvSpPr>
            <a:spLocks noGrp="1"/>
          </p:cNvSpPr>
          <p:nvPr>
            <p:ph idx="1"/>
            <p:custDataLst>
              <p:tags r:id="rId3"/>
            </p:custDataLst>
          </p:nvPr>
        </p:nvSpPr>
        <p:spPr>
          <a:xfrm>
            <a:off x="497542" y="1834130"/>
            <a:ext cx="11255188" cy="4616648"/>
          </a:xfrm>
        </p:spPr>
        <p:txBody>
          <a:bodyPr vert="horz" wrap="square" lIns="0" tIns="0" rIns="0" bIns="0" rtlCol="0">
            <a:spAutoFit/>
          </a:bodyPr>
          <a:lstStyle/>
          <a:p>
            <a:pPr>
              <a:spcBef>
                <a:spcPts val="600"/>
              </a:spcBef>
            </a:pPr>
            <a:r>
              <a:rPr lang="en-US" sz="3600" dirty="0"/>
              <a:t>Messenger RNA (mRNA) vaccines</a:t>
            </a:r>
          </a:p>
          <a:p>
            <a:pPr lvl="1">
              <a:spcBef>
                <a:spcPts val="600"/>
              </a:spcBef>
            </a:pPr>
            <a:r>
              <a:rPr lang="en-US" sz="3200" dirty="0"/>
              <a:t>Pfizer – EUA 12/11/20 – for ages 16 years and older; EUA 5/10/21for ages12 to 17; Licensed 8/23/21 for ages 16 and older (</a:t>
            </a:r>
            <a:r>
              <a:rPr lang="en-US" sz="3200" dirty="0" err="1"/>
              <a:t>Comirnaty</a:t>
            </a:r>
            <a:r>
              <a:rPr lang="en-US" sz="3200" dirty="0"/>
              <a:t>)</a:t>
            </a:r>
          </a:p>
          <a:p>
            <a:pPr lvl="1">
              <a:spcBef>
                <a:spcPts val="600"/>
              </a:spcBef>
            </a:pPr>
            <a:r>
              <a:rPr lang="en-US" sz="3200" dirty="0"/>
              <a:t>Moderna – EUA 12/18/20 – for ages 18 years and older</a:t>
            </a:r>
          </a:p>
          <a:p>
            <a:pPr>
              <a:spcBef>
                <a:spcPts val="600"/>
              </a:spcBef>
            </a:pPr>
            <a:r>
              <a:rPr lang="en-US" sz="3600" dirty="0"/>
              <a:t>Adenovirus vector</a:t>
            </a:r>
          </a:p>
          <a:p>
            <a:pPr lvl="1">
              <a:spcBef>
                <a:spcPts val="600"/>
              </a:spcBef>
            </a:pPr>
            <a:r>
              <a:rPr lang="en-US" sz="3200" dirty="0"/>
              <a:t>J&amp;J Janssen – EUA 2/27/21 – for ages 18 years and older</a:t>
            </a:r>
          </a:p>
          <a:p>
            <a:pPr lvl="1">
              <a:spcBef>
                <a:spcPts val="600"/>
              </a:spcBef>
            </a:pPr>
            <a:r>
              <a:rPr lang="en-US" sz="3200" dirty="0"/>
              <a:t>AstraZeneca – not available in US </a:t>
            </a:r>
          </a:p>
          <a:p>
            <a:pPr marL="0" indent="0">
              <a:spcBef>
                <a:spcPts val="600"/>
              </a:spcBef>
              <a:buNone/>
            </a:pPr>
            <a:endParaRPr lang="en-US" sz="3600" dirty="0"/>
          </a:p>
        </p:txBody>
      </p:sp>
      <p:pic>
        <p:nvPicPr>
          <p:cNvPr id="4" name="Picture 3">
            <a:extLst>
              <a:ext uri="{FF2B5EF4-FFF2-40B4-BE49-F238E27FC236}">
                <a16:creationId xmlns:a16="http://schemas.microsoft.com/office/drawing/2014/main" id="{8D658713-D7DC-401C-9060-3EE496A7D468}"/>
              </a:ext>
            </a:extLst>
          </p:cNvPr>
          <p:cNvPicPr>
            <a:picLocks noChangeAspect="1"/>
          </p:cNvPicPr>
          <p:nvPr/>
        </p:nvPicPr>
        <p:blipFill>
          <a:blip r:embed="rId8"/>
          <a:stretch>
            <a:fillRect/>
          </a:stretch>
        </p:blipFill>
        <p:spPr>
          <a:xfrm>
            <a:off x="10158918" y="469275"/>
            <a:ext cx="1883800" cy="1895992"/>
          </a:xfrm>
          <a:prstGeom prst="rect">
            <a:avLst/>
          </a:prstGeom>
        </p:spPr>
      </p:pic>
      <p:sp>
        <p:nvSpPr>
          <p:cNvPr id="7" name="TextBox 6">
            <a:extLst>
              <a:ext uri="{FF2B5EF4-FFF2-40B4-BE49-F238E27FC236}">
                <a16:creationId xmlns:a16="http://schemas.microsoft.com/office/drawing/2014/main" id="{DD59DEEF-B626-4D42-91EE-8231D8336DE1}"/>
              </a:ext>
            </a:extLst>
          </p:cNvPr>
          <p:cNvSpPr txBox="1"/>
          <p:nvPr/>
        </p:nvSpPr>
        <p:spPr>
          <a:xfrm>
            <a:off x="838278" y="6081446"/>
            <a:ext cx="906023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hlinkClick r:id="rId9"/>
              </a:rPr>
              <a:t>https://www.cdc.gov/coronavirus/2019-ncov/vaccines/different-vaccines/how-they-work.html</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a:t>
            </a:r>
          </a:p>
        </p:txBody>
      </p:sp>
    </p:spTree>
    <p:extLst>
      <p:ext uri="{BB962C8B-B14F-4D97-AF65-F5344CB8AC3E}">
        <p14:creationId xmlns:p14="http://schemas.microsoft.com/office/powerpoint/2010/main" val="65041650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B5EB6E5-F664-4179-9EE8-D147F901642B}"/>
              </a:ext>
            </a:extLst>
          </p:cNvPr>
          <p:cNvGraphicFramePr>
            <a:graphicFrameLocks noChangeAspect="1"/>
          </p:cNvGraphicFramePr>
          <p:nvPr>
            <p:custDataLst>
              <p:tags r:id="rId1"/>
            </p:custDataLst>
          </p:nvPr>
        </p:nvGraphicFramePr>
        <p:xfrm>
          <a:off x="1678" y="1639"/>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6" progId="TCLayout.ActiveDocument.1">
                  <p:embed/>
                </p:oleObj>
              </mc:Choice>
              <mc:Fallback>
                <p:oleObj name="think-cell Slide" r:id="rId5" imgW="473" imgH="476" progId="TCLayout.ActiveDocument.1">
                  <p:embed/>
                  <p:pic>
                    <p:nvPicPr>
                      <p:cNvPr id="4" name="Object 3" hidden="1">
                        <a:extLst>
                          <a:ext uri="{FF2B5EF4-FFF2-40B4-BE49-F238E27FC236}">
                            <a16:creationId xmlns:a16="http://schemas.microsoft.com/office/drawing/2014/main" id="{BB5EB6E5-F664-4179-9EE8-D147F901642B}"/>
                          </a:ext>
                        </a:extLst>
                      </p:cNvPr>
                      <p:cNvPicPr/>
                      <p:nvPr/>
                    </p:nvPicPr>
                    <p:blipFill>
                      <a:blip r:embed="rId6"/>
                      <a:stretch>
                        <a:fillRect/>
                      </a:stretch>
                    </p:blipFill>
                    <p:spPr>
                      <a:xfrm>
                        <a:off x="1678" y="1639"/>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A7B9C2A-3756-40B4-B703-9300297CFC60}"/>
              </a:ext>
            </a:extLst>
          </p:cNvPr>
          <p:cNvSpPr/>
          <p:nvPr>
            <p:custDataLst>
              <p:tags r:id="rId2"/>
            </p:custDataLst>
          </p:nvPr>
        </p:nvSpPr>
        <p:spPr>
          <a:xfrm>
            <a:off x="91" y="51"/>
            <a:ext cx="158747" cy="15874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dirty="0">
              <a:ln>
                <a:noFill/>
              </a:ln>
              <a:solidFill>
                <a:prstClr val="white"/>
              </a:solidFill>
              <a:effectLst/>
              <a:uLnTx/>
              <a:uFillTx/>
              <a:latin typeface="Calibri Light" panose="020F0302020204030204" pitchFamily="34" charset="0"/>
              <a:ea typeface="+mn-ea"/>
              <a:cs typeface="+mn-cs"/>
              <a:sym typeface="Calibri Light" panose="020F0302020204030204" pitchFamily="34" charset="0"/>
            </a:endParaRPr>
          </a:p>
        </p:txBody>
      </p:sp>
      <p:sp>
        <p:nvSpPr>
          <p:cNvPr id="2" name="Title 1">
            <a:extLst>
              <a:ext uri="{FF2B5EF4-FFF2-40B4-BE49-F238E27FC236}">
                <a16:creationId xmlns:a16="http://schemas.microsoft.com/office/drawing/2014/main" id="{45222198-3478-40DD-9C3F-EFBEB3CC1B77}"/>
              </a:ext>
            </a:extLst>
          </p:cNvPr>
          <p:cNvSpPr>
            <a:spLocks noGrp="1"/>
          </p:cNvSpPr>
          <p:nvPr>
            <p:ph type="title"/>
          </p:nvPr>
        </p:nvSpPr>
        <p:spPr>
          <a:xfrm>
            <a:off x="839865" y="681920"/>
            <a:ext cx="10515445" cy="692040"/>
          </a:xfrm>
          <a:noFill/>
          <a:ln/>
          <a:extLst>
            <a:ext uri="{909E8E84-426E-40DD-AFC4-6F175D3DCCD1}">
              <a14:hiddenFill xmlns:a14="http://schemas.microsoft.com/office/drawing/2010/main">
                <a:solidFill>
                  <a:srgbClr val="FFFFFF"/>
                </a:solidFill>
              </a14:hiddenFill>
            </a:ext>
          </a:extLst>
        </p:spPr>
        <p:txBody>
          <a:bodyPr vert="horz" wrap="square" lIns="0" tIns="0" rIns="0" bIns="0" numCol="1" rtlCol="0" anchor="ctr" anchorCtr="0" compatLnSpc="1">
            <a:prstTxWarp prst="textNoShape">
              <a:avLst/>
            </a:prstTxWarp>
            <a:spAutoFit/>
          </a:bodyPr>
          <a:lstStyle/>
          <a:p>
            <a:pPr algn="ctr"/>
            <a:r>
              <a:rPr lang="en-US" sz="4897" dirty="0"/>
              <a:t>About mRNA COVID-19 Vaccines</a:t>
            </a:r>
          </a:p>
        </p:txBody>
      </p:sp>
      <p:sp>
        <p:nvSpPr>
          <p:cNvPr id="5" name="Content Placeholder 4">
            <a:extLst>
              <a:ext uri="{FF2B5EF4-FFF2-40B4-BE49-F238E27FC236}">
                <a16:creationId xmlns:a16="http://schemas.microsoft.com/office/drawing/2014/main" id="{358EA658-C84A-4E3A-9183-A4D31274D109}"/>
              </a:ext>
            </a:extLst>
          </p:cNvPr>
          <p:cNvSpPr>
            <a:spLocks noGrp="1"/>
          </p:cNvSpPr>
          <p:nvPr>
            <p:ph sz="half" idx="2"/>
          </p:nvPr>
        </p:nvSpPr>
        <p:spPr>
          <a:xfrm>
            <a:off x="296208" y="1442773"/>
            <a:ext cx="6723156" cy="4598054"/>
          </a:xfrm>
        </p:spPr>
        <p:txBody>
          <a:bodyPr vert="horz" wrap="square" lIns="0" tIns="0" rIns="0" bIns="0" rtlCol="0">
            <a:spAutoFit/>
          </a:bodyPr>
          <a:lstStyle/>
          <a:p>
            <a:pPr marL="466481" indent="-466481"/>
            <a:r>
              <a:rPr lang="en-US" sz="2857" dirty="0"/>
              <a:t>Messenger RNA codes for the spike protein of the virus</a:t>
            </a:r>
          </a:p>
          <a:p>
            <a:pPr marL="466481" indent="-466481"/>
            <a:r>
              <a:rPr lang="en-US" sz="2857" dirty="0"/>
              <a:t>Carrier is a lipid nanoparticle</a:t>
            </a:r>
          </a:p>
          <a:p>
            <a:pPr marL="466481" indent="-466481"/>
            <a:r>
              <a:rPr lang="en-US" sz="2857" dirty="0"/>
              <a:t>Lipid allows the mRNA to enter cells</a:t>
            </a:r>
          </a:p>
          <a:p>
            <a:pPr marL="466481" indent="-466481"/>
            <a:r>
              <a:rPr lang="en-US" sz="2857" dirty="0"/>
              <a:t>Code is read and spike protein  produced</a:t>
            </a:r>
          </a:p>
          <a:p>
            <a:pPr marL="466481" indent="-466481"/>
            <a:r>
              <a:rPr lang="en-US" sz="2857" dirty="0"/>
              <a:t>Immune system responds  with antibodies and cell mediated immunity</a:t>
            </a:r>
          </a:p>
          <a:p>
            <a:pPr marL="466481" indent="-466481"/>
            <a:r>
              <a:rPr lang="en-US" sz="2857" dirty="0"/>
              <a:t>Two dose series, maybe boosters</a:t>
            </a:r>
          </a:p>
        </p:txBody>
      </p:sp>
      <p:pic>
        <p:nvPicPr>
          <p:cNvPr id="8" name="Content Placeholder 7">
            <a:extLst>
              <a:ext uri="{FF2B5EF4-FFF2-40B4-BE49-F238E27FC236}">
                <a16:creationId xmlns:a16="http://schemas.microsoft.com/office/drawing/2014/main" id="{E5ACB264-9BD6-4A88-B7DB-9E52AA167533}"/>
              </a:ext>
            </a:extLst>
          </p:cNvPr>
          <p:cNvPicPr>
            <a:picLocks noGrp="1" noChangeAspect="1"/>
          </p:cNvPicPr>
          <p:nvPr>
            <p:ph sz="quarter" idx="4"/>
          </p:nvPr>
        </p:nvPicPr>
        <p:blipFill>
          <a:blip r:embed="rId7"/>
          <a:stretch>
            <a:fillRect/>
          </a:stretch>
        </p:blipFill>
        <p:spPr>
          <a:xfrm>
            <a:off x="7019364" y="1832330"/>
            <a:ext cx="5029551" cy="3426124"/>
          </a:xfrm>
          <a:prstGeom prst="rect">
            <a:avLst/>
          </a:prstGeom>
        </p:spPr>
      </p:pic>
      <p:pic>
        <p:nvPicPr>
          <p:cNvPr id="7" name="Picture 6">
            <a:extLst>
              <a:ext uri="{FF2B5EF4-FFF2-40B4-BE49-F238E27FC236}">
                <a16:creationId xmlns:a16="http://schemas.microsoft.com/office/drawing/2014/main" id="{25FFEB50-03C0-47B3-855C-5F178C4E729F}"/>
              </a:ext>
            </a:extLst>
          </p:cNvPr>
          <p:cNvPicPr>
            <a:picLocks noChangeAspect="1"/>
          </p:cNvPicPr>
          <p:nvPr/>
        </p:nvPicPr>
        <p:blipFill>
          <a:blip r:embed="rId8"/>
          <a:stretch>
            <a:fillRect/>
          </a:stretch>
        </p:blipFill>
        <p:spPr>
          <a:xfrm>
            <a:off x="10976194" y="1023203"/>
            <a:ext cx="758232" cy="763141"/>
          </a:xfrm>
          <a:prstGeom prst="rect">
            <a:avLst/>
          </a:prstGeom>
        </p:spPr>
      </p:pic>
      <p:sp>
        <p:nvSpPr>
          <p:cNvPr id="6" name="TextBox 5">
            <a:extLst>
              <a:ext uri="{FF2B5EF4-FFF2-40B4-BE49-F238E27FC236}">
                <a16:creationId xmlns:a16="http://schemas.microsoft.com/office/drawing/2014/main" id="{222FC83C-B2BC-4E0A-BF9E-D337C0D7FF8B}"/>
              </a:ext>
            </a:extLst>
          </p:cNvPr>
          <p:cNvSpPr txBox="1"/>
          <p:nvPr/>
        </p:nvSpPr>
        <p:spPr>
          <a:xfrm>
            <a:off x="1075765" y="6040827"/>
            <a:ext cx="821808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hlinkClick r:id="rId9"/>
              </a:rPr>
              <a:t>https://www.cdc.gov/coronavirus/2019-ncov/vaccines/different-vaccines/mRNA.html</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a:t>
            </a:r>
          </a:p>
        </p:txBody>
      </p:sp>
    </p:spTree>
    <p:extLst>
      <p:ext uri="{BB962C8B-B14F-4D97-AF65-F5344CB8AC3E}">
        <p14:creationId xmlns:p14="http://schemas.microsoft.com/office/powerpoint/2010/main" val="272887698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E317054-6D46-46C2-A681-EE5AF51A9891}"/>
              </a:ext>
            </a:extLst>
          </p:cNvPr>
          <p:cNvGraphicFramePr>
            <a:graphicFrameLocks noChangeAspect="1"/>
          </p:cNvGraphicFramePr>
          <p:nvPr>
            <p:custDataLst>
              <p:tags r:id="rId1"/>
            </p:custDataLst>
          </p:nvPr>
        </p:nvGraphicFramePr>
        <p:xfrm>
          <a:off x="1678" y="1639"/>
          <a:ext cx="1588" cy="1588"/>
        </p:xfrm>
        <a:graphic>
          <a:graphicData uri="http://schemas.openxmlformats.org/presentationml/2006/ole">
            <mc:AlternateContent xmlns:mc="http://schemas.openxmlformats.org/markup-compatibility/2006">
              <mc:Choice xmlns:v="urn:schemas-microsoft-com:vml" Requires="v">
                <p:oleObj name="think-cell Slide" r:id="rId5" imgW="408" imgH="408" progId="TCLayout.ActiveDocument.1">
                  <p:embed/>
                </p:oleObj>
              </mc:Choice>
              <mc:Fallback>
                <p:oleObj name="think-cell Slide" r:id="rId5" imgW="408" imgH="408" progId="TCLayout.ActiveDocument.1">
                  <p:embed/>
                  <p:pic>
                    <p:nvPicPr>
                      <p:cNvPr id="7" name="Object 6" hidden="1">
                        <a:extLst>
                          <a:ext uri="{FF2B5EF4-FFF2-40B4-BE49-F238E27FC236}">
                            <a16:creationId xmlns:a16="http://schemas.microsoft.com/office/drawing/2014/main" id="{8E317054-6D46-46C2-A681-EE5AF51A9891}"/>
                          </a:ext>
                        </a:extLst>
                      </p:cNvPr>
                      <p:cNvPicPr/>
                      <p:nvPr/>
                    </p:nvPicPr>
                    <p:blipFill>
                      <a:blip r:embed="rId6"/>
                      <a:stretch>
                        <a:fillRect/>
                      </a:stretch>
                    </p:blipFill>
                    <p:spPr>
                      <a:xfrm>
                        <a:off x="1678" y="1639"/>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D8A910F-475F-47FD-AC21-FFC25156B7F2}"/>
              </a:ext>
            </a:extLst>
          </p:cNvPr>
          <p:cNvSpPr/>
          <p:nvPr>
            <p:custDataLst>
              <p:tags r:id="rId2"/>
            </p:custDataLst>
          </p:nvPr>
        </p:nvSpPr>
        <p:spPr>
          <a:xfrm>
            <a:off x="91" y="51"/>
            <a:ext cx="158747" cy="15874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dirty="0">
              <a:ln>
                <a:noFill/>
              </a:ln>
              <a:solidFill>
                <a:prstClr val="white"/>
              </a:solidFill>
              <a:effectLst/>
              <a:uLnTx/>
              <a:uFillTx/>
              <a:latin typeface="Calibri Light" panose="020F0302020204030204" pitchFamily="34" charset="0"/>
              <a:ea typeface="+mn-ea"/>
              <a:cs typeface="+mn-cs"/>
              <a:sym typeface="Calibri Light" panose="020F0302020204030204" pitchFamily="34" charset="0"/>
            </a:endParaRPr>
          </a:p>
        </p:txBody>
      </p:sp>
      <p:sp>
        <p:nvSpPr>
          <p:cNvPr id="2" name="Title 1">
            <a:extLst>
              <a:ext uri="{FF2B5EF4-FFF2-40B4-BE49-F238E27FC236}">
                <a16:creationId xmlns:a16="http://schemas.microsoft.com/office/drawing/2014/main" id="{DB1F1000-BFE4-4E69-BA5A-FE746E5E5B52}"/>
              </a:ext>
            </a:extLst>
          </p:cNvPr>
          <p:cNvSpPr>
            <a:spLocks noGrp="1"/>
          </p:cNvSpPr>
          <p:nvPr>
            <p:ph type="title"/>
          </p:nvPr>
        </p:nvSpPr>
        <p:spPr>
          <a:xfrm>
            <a:off x="838278" y="806117"/>
            <a:ext cx="10515445" cy="778659"/>
          </a:xfrm>
          <a:noFill/>
          <a:ln/>
          <a:extLst>
            <a:ext uri="{909E8E84-426E-40DD-AFC4-6F175D3DCCD1}">
              <a14:hiddenFill xmlns:a14="http://schemas.microsoft.com/office/drawing/2010/main">
                <a:solidFill>
                  <a:srgbClr val="FFFFFF"/>
                </a:solidFill>
              </a14:hiddenFill>
            </a:ext>
          </a:extLst>
        </p:spPr>
        <p:txBody>
          <a:bodyPr vert="horz" wrap="square" lIns="0" tIns="0" rIns="0" bIns="0" numCol="1" rtlCol="0" anchor="ctr" anchorCtr="0" compatLnSpc="1">
            <a:prstTxWarp prst="textNoShape">
              <a:avLst/>
            </a:prstTxWarp>
            <a:spAutoFit/>
          </a:bodyPr>
          <a:lstStyle/>
          <a:p>
            <a:pPr algn="ctr"/>
            <a:r>
              <a:rPr lang="en-US" sz="5510" dirty="0"/>
              <a:t>J&amp;J Janssen COVID-19 Vaccine</a:t>
            </a:r>
          </a:p>
        </p:txBody>
      </p:sp>
      <p:sp>
        <p:nvSpPr>
          <p:cNvPr id="3" name="Content Placeholder 2">
            <a:extLst>
              <a:ext uri="{FF2B5EF4-FFF2-40B4-BE49-F238E27FC236}">
                <a16:creationId xmlns:a16="http://schemas.microsoft.com/office/drawing/2014/main" id="{A173412D-74C3-42B6-9234-35C14284C41E}"/>
              </a:ext>
            </a:extLst>
          </p:cNvPr>
          <p:cNvSpPr>
            <a:spLocks noGrp="1"/>
          </p:cNvSpPr>
          <p:nvPr>
            <p:ph idx="1"/>
          </p:nvPr>
        </p:nvSpPr>
        <p:spPr>
          <a:xfrm>
            <a:off x="645459" y="1886065"/>
            <a:ext cx="6779032" cy="4074129"/>
          </a:xfrm>
        </p:spPr>
        <p:txBody>
          <a:bodyPr vert="horz" wrap="square" lIns="0" tIns="0" rIns="0" bIns="0" rtlCol="0">
            <a:spAutoFit/>
          </a:bodyPr>
          <a:lstStyle/>
          <a:p>
            <a:pPr marL="291551" indent="-291551"/>
            <a:r>
              <a:rPr lang="en-US" sz="2857" dirty="0"/>
              <a:t>Code for the spike protein inserted into an altered human adenovirus (Ad26.COV2.S)</a:t>
            </a:r>
          </a:p>
          <a:p>
            <a:pPr marL="291551" indent="-291551"/>
            <a:r>
              <a:rPr lang="en-US" sz="2857" dirty="0"/>
              <a:t>Replication incompetent virus</a:t>
            </a:r>
          </a:p>
          <a:p>
            <a:pPr marL="291551" indent="-291551"/>
            <a:r>
              <a:rPr lang="en-US" sz="2857" dirty="0"/>
              <a:t>Adenovirus enters cells and releases code for the spike protein</a:t>
            </a:r>
          </a:p>
          <a:p>
            <a:pPr marL="291551" indent="-291551"/>
            <a:r>
              <a:rPr lang="en-US" sz="2857" dirty="0"/>
              <a:t>Immune systems responds to the spike protein</a:t>
            </a:r>
          </a:p>
          <a:p>
            <a:pPr marL="291551" indent="-291551"/>
            <a:r>
              <a:rPr lang="en-US" sz="2857" dirty="0"/>
              <a:t>Given as a single dose, maybe booster</a:t>
            </a:r>
            <a:endParaRPr lang="en-US" dirty="0"/>
          </a:p>
        </p:txBody>
      </p:sp>
      <p:sp>
        <p:nvSpPr>
          <p:cNvPr id="8" name="TextBox 7">
            <a:extLst>
              <a:ext uri="{FF2B5EF4-FFF2-40B4-BE49-F238E27FC236}">
                <a16:creationId xmlns:a16="http://schemas.microsoft.com/office/drawing/2014/main" id="{12F8119E-5F08-4157-B2C9-69A5197EEE2C}"/>
              </a:ext>
            </a:extLst>
          </p:cNvPr>
          <p:cNvSpPr txBox="1"/>
          <p:nvPr/>
        </p:nvSpPr>
        <p:spPr>
          <a:xfrm>
            <a:off x="1201349" y="6261484"/>
            <a:ext cx="8589852"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hlinkClick r:id="rId7"/>
              </a:rPr>
              <a:t>https://www.cdc.gov/coronavirus/2019-ncov/vaccines/different-vaccines/viralvector.html</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a:t>
            </a:r>
          </a:p>
        </p:txBody>
      </p:sp>
      <p:pic>
        <p:nvPicPr>
          <p:cNvPr id="11" name="Picture 10">
            <a:extLst>
              <a:ext uri="{FF2B5EF4-FFF2-40B4-BE49-F238E27FC236}">
                <a16:creationId xmlns:a16="http://schemas.microsoft.com/office/drawing/2014/main" id="{3F4A4D0F-8D5B-4E6E-9C1A-FBD2378DEB11}"/>
              </a:ext>
            </a:extLst>
          </p:cNvPr>
          <p:cNvPicPr>
            <a:picLocks noChangeAspect="1"/>
          </p:cNvPicPr>
          <p:nvPr/>
        </p:nvPicPr>
        <p:blipFill rotWithShape="1">
          <a:blip r:embed="rId8"/>
          <a:srcRect l="69659" r="124" b="2665"/>
          <a:stretch/>
        </p:blipFill>
        <p:spPr>
          <a:xfrm>
            <a:off x="7651376" y="1510176"/>
            <a:ext cx="3687184" cy="4713118"/>
          </a:xfrm>
          <a:prstGeom prst="rect">
            <a:avLst/>
          </a:prstGeom>
        </p:spPr>
      </p:pic>
    </p:spTree>
    <p:extLst>
      <p:ext uri="{BB962C8B-B14F-4D97-AF65-F5344CB8AC3E}">
        <p14:creationId xmlns:p14="http://schemas.microsoft.com/office/powerpoint/2010/main" val="241426533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663E048-0E86-409E-BCDD-0E2D5727EAB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6" progId="TCLayout.ActiveDocument.1">
                  <p:embed/>
                </p:oleObj>
              </mc:Choice>
              <mc:Fallback>
                <p:oleObj name="think-cell Slide" r:id="rId6" imgW="473" imgH="476" progId="TCLayout.ActiveDocument.1">
                  <p:embed/>
                  <p:pic>
                    <p:nvPicPr>
                      <p:cNvPr id="6" name="Object 5" hidden="1">
                        <a:extLst>
                          <a:ext uri="{FF2B5EF4-FFF2-40B4-BE49-F238E27FC236}">
                            <a16:creationId xmlns:a16="http://schemas.microsoft.com/office/drawing/2014/main" id="{6663E048-0E86-409E-BCDD-0E2D5727EAB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FBC785D-2CCD-47F9-BFE7-9D6246C8F49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dirty="0">
              <a:ln>
                <a:noFill/>
              </a:ln>
              <a:solidFill>
                <a:prstClr val="white"/>
              </a:solidFill>
              <a:effectLst/>
              <a:uLnTx/>
              <a:uFillTx/>
              <a:latin typeface="Calibri Light" panose="020F0302020204030204" pitchFamily="34" charset="0"/>
              <a:ea typeface="+mn-ea"/>
              <a:cs typeface="+mn-cs"/>
              <a:sym typeface="Calibri Light" panose="020F0302020204030204" pitchFamily="34" charset="0"/>
            </a:endParaRPr>
          </a:p>
        </p:txBody>
      </p:sp>
      <p:sp>
        <p:nvSpPr>
          <p:cNvPr id="2" name="Title 1">
            <a:extLst>
              <a:ext uri="{FF2B5EF4-FFF2-40B4-BE49-F238E27FC236}">
                <a16:creationId xmlns:a16="http://schemas.microsoft.com/office/drawing/2014/main" id="{ECB22D83-5517-4B7D-9DD1-3E524CE86EFC}"/>
              </a:ext>
            </a:extLst>
          </p:cNvPr>
          <p:cNvSpPr>
            <a:spLocks noGrp="1"/>
          </p:cNvSpPr>
          <p:nvPr>
            <p:ph type="title"/>
          </p:nvPr>
        </p:nvSpPr>
        <p:spPr>
          <a:xfrm>
            <a:off x="838200" y="553763"/>
            <a:ext cx="10515600" cy="624786"/>
          </a:xfrm>
          <a:noFill/>
          <a:ln/>
          <a:extLst>
            <a:ext uri="{909E8E84-426E-40DD-AFC4-6F175D3DCCD1}">
              <a14:hiddenFill xmlns:a14="http://schemas.microsoft.com/office/drawing/2010/main">
                <a:solidFill>
                  <a:srgbClr val="FFFFFF"/>
                </a:solidFill>
              </a14:hiddenFill>
            </a:ext>
          </a:extLst>
        </p:spPr>
        <p:txBody>
          <a:bodyPr wrap="square" lIns="0" tIns="0" rIns="0" bIns="0" anchor="ctr" anchorCtr="0">
            <a:noAutofit/>
          </a:bodyPr>
          <a:lstStyle/>
          <a:p>
            <a:pPr algn="ctr"/>
            <a:r>
              <a:rPr lang="en-US" dirty="0"/>
              <a:t>Side Effects of mRNA COVID-19 Vaccines</a:t>
            </a:r>
          </a:p>
        </p:txBody>
      </p:sp>
      <p:sp>
        <p:nvSpPr>
          <p:cNvPr id="3" name="Content Placeholder 2">
            <a:extLst>
              <a:ext uri="{FF2B5EF4-FFF2-40B4-BE49-F238E27FC236}">
                <a16:creationId xmlns:a16="http://schemas.microsoft.com/office/drawing/2014/main" id="{C26D71FC-8B24-4352-BC6E-95B6021C8319}"/>
              </a:ext>
            </a:extLst>
          </p:cNvPr>
          <p:cNvSpPr>
            <a:spLocks noGrp="1"/>
          </p:cNvSpPr>
          <p:nvPr>
            <p:ph idx="1"/>
            <p:custDataLst>
              <p:tags r:id="rId3"/>
            </p:custDataLst>
          </p:nvPr>
        </p:nvSpPr>
        <p:spPr>
          <a:xfrm>
            <a:off x="604111" y="1340299"/>
            <a:ext cx="10515600" cy="4259628"/>
          </a:xfrm>
        </p:spPr>
        <p:txBody>
          <a:bodyPr wrap="square" lIns="0" tIns="0" rIns="0" bIns="0">
            <a:spAutoFit/>
          </a:bodyPr>
          <a:lstStyle/>
          <a:p>
            <a:pPr>
              <a:spcBef>
                <a:spcPts val="1200"/>
              </a:spcBef>
            </a:pPr>
            <a:r>
              <a:rPr lang="en-US" dirty="0">
                <a:cs typeface="Calibri"/>
              </a:rPr>
              <a:t>Most common complaint was pain at the injection site</a:t>
            </a:r>
            <a:endParaRPr lang="en-US" baseline="30000" dirty="0">
              <a:ea typeface="+mn-lt"/>
              <a:cs typeface="+mn-lt"/>
            </a:endParaRPr>
          </a:p>
          <a:p>
            <a:pPr marL="609600" lvl="1" indent="-365125">
              <a:spcBef>
                <a:spcPts val="600"/>
              </a:spcBef>
              <a:buFont typeface="Calibri" panose="020F0502020204030204" pitchFamily="34" charset="0"/>
              <a:buChar char="–"/>
            </a:pPr>
            <a:r>
              <a:rPr lang="en-US" sz="2800" dirty="0">
                <a:cs typeface="Calibri"/>
              </a:rPr>
              <a:t>Other common symptoms included fatigue, fever, and headache</a:t>
            </a:r>
          </a:p>
          <a:p>
            <a:pPr marL="609600" lvl="1" indent="-365125">
              <a:spcBef>
                <a:spcPts val="600"/>
              </a:spcBef>
              <a:buFont typeface="Calibri" panose="020F0502020204030204" pitchFamily="34" charset="0"/>
              <a:buChar char="–"/>
            </a:pPr>
            <a:r>
              <a:rPr lang="en-US" sz="2800" dirty="0">
                <a:cs typeface="Calibri"/>
              </a:rPr>
              <a:t>These are common side effects after getting vaccinated</a:t>
            </a:r>
            <a:endParaRPr lang="en-US" sz="2400" dirty="0">
              <a:cs typeface="Calibri"/>
            </a:endParaRPr>
          </a:p>
          <a:p>
            <a:pPr>
              <a:spcBef>
                <a:spcPts val="1200"/>
              </a:spcBef>
            </a:pPr>
            <a:r>
              <a:rPr lang="en-US" dirty="0">
                <a:cs typeface="Calibri"/>
              </a:rPr>
              <a:t>Risk for severe reaction to the vaccine </a:t>
            </a:r>
            <a:r>
              <a:rPr lang="en-US" dirty="0">
                <a:ea typeface="+mn-lt"/>
                <a:cs typeface="+mn-lt"/>
              </a:rPr>
              <a:t>about 0.5% </a:t>
            </a:r>
            <a:r>
              <a:rPr lang="en-US" dirty="0">
                <a:cs typeface="Calibri"/>
              </a:rPr>
              <a:t> </a:t>
            </a:r>
            <a:endParaRPr lang="en-US" sz="2400" dirty="0">
              <a:ea typeface="+mn-lt"/>
              <a:cs typeface="+mn-lt"/>
            </a:endParaRPr>
          </a:p>
          <a:p>
            <a:pPr>
              <a:spcBef>
                <a:spcPts val="1200"/>
              </a:spcBef>
            </a:pPr>
            <a:r>
              <a:rPr lang="en-US" dirty="0">
                <a:ea typeface="+mn-lt"/>
                <a:cs typeface="+mn-lt"/>
              </a:rPr>
              <a:t>People with a history of severe allergies (anaphylaxis) to food or medicine should talk to their doctor before taking the vaccine</a:t>
            </a:r>
          </a:p>
          <a:p>
            <a:pPr>
              <a:spcBef>
                <a:spcPts val="1200"/>
              </a:spcBef>
            </a:pPr>
            <a:r>
              <a:rPr lang="en-US" dirty="0">
                <a:ea typeface="+mn-lt"/>
                <a:cs typeface="+mn-lt"/>
              </a:rPr>
              <a:t>Side effects less common in people over 50 years of age</a:t>
            </a:r>
          </a:p>
          <a:p>
            <a:pPr>
              <a:spcBef>
                <a:spcPts val="1200"/>
              </a:spcBef>
            </a:pPr>
            <a:r>
              <a:rPr lang="en-US" dirty="0">
                <a:ea typeface="+mn-lt"/>
                <a:cs typeface="+mn-lt"/>
              </a:rPr>
              <a:t>Side effects more common after the second dose</a:t>
            </a:r>
            <a:endParaRPr lang="en-US" dirty="0">
              <a:cs typeface="Calibri"/>
            </a:endParaRPr>
          </a:p>
        </p:txBody>
      </p:sp>
      <p:sp>
        <p:nvSpPr>
          <p:cNvPr id="5" name="Footer Placeholder 4">
            <a:extLst>
              <a:ext uri="{FF2B5EF4-FFF2-40B4-BE49-F238E27FC236}">
                <a16:creationId xmlns:a16="http://schemas.microsoft.com/office/drawing/2014/main" id="{976FD15F-78C3-43F4-B3BA-16C7B7FADE21}"/>
              </a:ext>
            </a:extLst>
          </p:cNvPr>
          <p:cNvSpPr>
            <a:spLocks noGrp="1"/>
          </p:cNvSpPr>
          <p:nvPr>
            <p:ph type="ftr" sz="quarter" idx="4294967295"/>
          </p:nvPr>
        </p:nvSpPr>
        <p:spPr>
          <a:xfrm>
            <a:off x="1025955" y="6053164"/>
            <a:ext cx="10515600" cy="553998"/>
          </a:xfrm>
          <a:prstGeom prst="rect">
            <a:avLst/>
          </a:prstGeom>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black"/>
                </a:solidFill>
                <a:effectLst/>
                <a:uLnTx/>
                <a:uFillTx/>
                <a:latin typeface="Calibri" panose="020F0502020204030204"/>
                <a:ea typeface="+mn-ea"/>
                <a:cs typeface="+mn-cs"/>
                <a:hlinkClick r:id="" action="ppaction://noaction"/>
              </a:rPr>
              <a:t> </a:t>
            </a:r>
            <a:r>
              <a:rPr kumimoji="0" lang="en-US" b="0" i="0" u="none" strike="noStrike" kern="1200" cap="none" spc="0" normalizeH="0" baseline="0" noProof="0" dirty="0">
                <a:ln>
                  <a:noFill/>
                </a:ln>
                <a:solidFill>
                  <a:prstClr val="black"/>
                </a:solidFill>
                <a:effectLst/>
                <a:uLnTx/>
                <a:uFillTx/>
                <a:latin typeface="Calibri" panose="020F0502020204030204"/>
                <a:ea typeface="+mn-ea"/>
                <a:cs typeface="+mn-cs"/>
                <a:hlinkClick r:id="rId8"/>
              </a:rPr>
              <a:t>https://www.fda.gov/media/144246/download</a:t>
            </a:r>
            <a:r>
              <a:rPr kumimoji="0" lang="en-US" b="0" i="0" u="none" strike="noStrike" kern="1200" cap="none" spc="0" normalizeH="0" baseline="0" noProof="0" dirty="0">
                <a:ln>
                  <a:noFill/>
                </a:ln>
                <a:solidFill>
                  <a:prstClr val="black"/>
                </a:solidFill>
                <a:effectLst/>
                <a:uLnTx/>
                <a:uFillTx/>
                <a:latin typeface="Calibri" panose="020F0502020204030204"/>
                <a:ea typeface="+mn-ea"/>
                <a:cs typeface="+mn-cs"/>
                <a:hlinkClick r:id="" action="ppaction://noaction"/>
              </a:rPr>
              <a:t>; </a:t>
            </a:r>
            <a:r>
              <a:rPr kumimoji="0" lang="en-US" b="0" i="0" u="none" strike="noStrike" kern="1200" cap="none" spc="0" normalizeH="0" baseline="0" noProof="0" dirty="0">
                <a:ln>
                  <a:noFill/>
                </a:ln>
                <a:solidFill>
                  <a:prstClr val="black"/>
                </a:solidFill>
                <a:effectLst/>
                <a:uLnTx/>
                <a:uFillTx/>
                <a:latin typeface="Calibri" panose="020F0502020204030204"/>
                <a:ea typeface="+mn-lt"/>
                <a:cs typeface="Calibri" panose="020F0502020204030204"/>
                <a:hlinkClick r:id="" action="ppaction://noaction"/>
              </a:rPr>
              <a:t> https://www.fda.gov/media/144434/downloa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black"/>
                </a:solidFill>
                <a:effectLst/>
                <a:uLnTx/>
                <a:uFillTx/>
                <a:latin typeface="Calibri" panose="020F0502020204030204"/>
                <a:ea typeface="+mn-lt"/>
                <a:cs typeface="Calibri" panose="020F0502020204030204"/>
                <a:hlinkClick r:id="rId9"/>
              </a:rPr>
              <a:t>https://www.cdc.gov/coronavirus/2019-ncov/vaccines/expect/after.html</a:t>
            </a:r>
            <a:r>
              <a:rPr kumimoji="0" lang="en-US" b="0" i="0" u="none" strike="noStrike" kern="1200" cap="none" spc="0" normalizeH="0" baseline="0" noProof="0" dirty="0">
                <a:ln>
                  <a:noFill/>
                </a:ln>
                <a:solidFill>
                  <a:prstClr val="black"/>
                </a:solidFill>
                <a:effectLst/>
                <a:uLnTx/>
                <a:uFillTx/>
                <a:latin typeface="Calibri" panose="020F0502020204030204"/>
                <a:ea typeface="+mn-lt"/>
                <a:cs typeface="Calibri" panose="020F0502020204030204"/>
              </a:rPr>
              <a:t> </a:t>
            </a:r>
          </a:p>
        </p:txBody>
      </p:sp>
      <p:pic>
        <p:nvPicPr>
          <p:cNvPr id="13333" name="Picture 21" descr="WhatExpectafterVaccinationAnimation_pain">
            <a:extLst>
              <a:ext uri="{FF2B5EF4-FFF2-40B4-BE49-F238E27FC236}">
                <a16:creationId xmlns:a16="http://schemas.microsoft.com/office/drawing/2014/main" id="{58523775-E09D-44C8-8E26-CBE205143D7C}"/>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891111" y="1340299"/>
            <a:ext cx="1300889" cy="1300889"/>
          </a:xfrm>
          <a:prstGeom prst="rect">
            <a:avLst/>
          </a:prstGeom>
          <a:noFill/>
          <a:extLst>
            <a:ext uri="{909E8E84-426E-40DD-AFC4-6F175D3DCCD1}">
              <a14:hiddenFill xmlns:a14="http://schemas.microsoft.com/office/drawing/2010/main">
                <a:solidFill>
                  <a:srgbClr val="FFFFFF"/>
                </a:solidFill>
              </a14:hiddenFill>
            </a:ext>
          </a:extLst>
        </p:spPr>
      </p:pic>
      <p:pic>
        <p:nvPicPr>
          <p:cNvPr id="13335" name="Picture 23" descr="WhatExpectafterVaccinationAnimation_fever">
            <a:extLst>
              <a:ext uri="{FF2B5EF4-FFF2-40B4-BE49-F238E27FC236}">
                <a16:creationId xmlns:a16="http://schemas.microsoft.com/office/drawing/2014/main" id="{5711A1A1-3D3E-4366-A851-53021F5317BA}"/>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891111" y="2856159"/>
            <a:ext cx="1283472" cy="12834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6280531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663E048-0E86-409E-BCDD-0E2D5727EAB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6" progId="TCLayout.ActiveDocument.1">
                  <p:embed/>
                </p:oleObj>
              </mc:Choice>
              <mc:Fallback>
                <p:oleObj name="think-cell Slide" r:id="rId6" imgW="473" imgH="476" progId="TCLayout.ActiveDocument.1">
                  <p:embed/>
                  <p:pic>
                    <p:nvPicPr>
                      <p:cNvPr id="6" name="Object 5" hidden="1">
                        <a:extLst>
                          <a:ext uri="{FF2B5EF4-FFF2-40B4-BE49-F238E27FC236}">
                            <a16:creationId xmlns:a16="http://schemas.microsoft.com/office/drawing/2014/main" id="{6663E048-0E86-409E-BCDD-0E2D5727EAB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FBC785D-2CCD-47F9-BFE7-9D6246C8F49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dirty="0">
              <a:ln>
                <a:noFill/>
              </a:ln>
              <a:solidFill>
                <a:prstClr val="white"/>
              </a:solidFill>
              <a:effectLst/>
              <a:uLnTx/>
              <a:uFillTx/>
              <a:latin typeface="Calibri Light" panose="020F0302020204030204" pitchFamily="34" charset="0"/>
              <a:ea typeface="+mn-ea"/>
              <a:cs typeface="+mn-cs"/>
              <a:sym typeface="Calibri Light" panose="020F0302020204030204" pitchFamily="34" charset="0"/>
            </a:endParaRPr>
          </a:p>
        </p:txBody>
      </p:sp>
      <p:sp>
        <p:nvSpPr>
          <p:cNvPr id="2" name="Title 1">
            <a:extLst>
              <a:ext uri="{FF2B5EF4-FFF2-40B4-BE49-F238E27FC236}">
                <a16:creationId xmlns:a16="http://schemas.microsoft.com/office/drawing/2014/main" id="{ECB22D83-5517-4B7D-9DD1-3E524CE86EFC}"/>
              </a:ext>
            </a:extLst>
          </p:cNvPr>
          <p:cNvSpPr>
            <a:spLocks noGrp="1"/>
          </p:cNvSpPr>
          <p:nvPr>
            <p:ph type="title"/>
          </p:nvPr>
        </p:nvSpPr>
        <p:spPr>
          <a:xfrm>
            <a:off x="606856" y="715513"/>
            <a:ext cx="10879183" cy="624786"/>
          </a:xfrm>
          <a:noFill/>
          <a:ln/>
          <a:extLst>
            <a:ext uri="{909E8E84-426E-40DD-AFC4-6F175D3DCCD1}">
              <a14:hiddenFill xmlns:a14="http://schemas.microsoft.com/office/drawing/2010/main">
                <a:solidFill>
                  <a:srgbClr val="FFFFFF"/>
                </a:solidFill>
              </a14:hiddenFill>
            </a:ext>
          </a:extLst>
        </p:spPr>
        <p:txBody>
          <a:bodyPr wrap="square" lIns="0" tIns="0" rIns="0" bIns="0" anchor="ctr" anchorCtr="0">
            <a:noAutofit/>
          </a:bodyPr>
          <a:lstStyle/>
          <a:p>
            <a:pPr algn="ctr"/>
            <a:r>
              <a:rPr lang="en-US" dirty="0">
                <a:cs typeface="Calibri"/>
              </a:rPr>
              <a:t>Anaphylaxis and </a:t>
            </a:r>
            <a:r>
              <a:rPr lang="en-US" dirty="0"/>
              <a:t>mRNA COVID-19 Vaccines</a:t>
            </a:r>
          </a:p>
        </p:txBody>
      </p:sp>
      <p:sp>
        <p:nvSpPr>
          <p:cNvPr id="3" name="Content Placeholder 2">
            <a:extLst>
              <a:ext uri="{FF2B5EF4-FFF2-40B4-BE49-F238E27FC236}">
                <a16:creationId xmlns:a16="http://schemas.microsoft.com/office/drawing/2014/main" id="{C26D71FC-8B24-4352-BC6E-95B6021C8319}"/>
              </a:ext>
            </a:extLst>
          </p:cNvPr>
          <p:cNvSpPr>
            <a:spLocks noGrp="1"/>
          </p:cNvSpPr>
          <p:nvPr>
            <p:ph idx="1"/>
            <p:custDataLst>
              <p:tags r:id="rId3"/>
            </p:custDataLst>
          </p:nvPr>
        </p:nvSpPr>
        <p:spPr>
          <a:xfrm>
            <a:off x="606856" y="1561980"/>
            <a:ext cx="10515600" cy="4665893"/>
          </a:xfrm>
        </p:spPr>
        <p:txBody>
          <a:bodyPr wrap="square" lIns="0" tIns="0" rIns="0" bIns="0">
            <a:spAutoFit/>
          </a:bodyPr>
          <a:lstStyle/>
          <a:p>
            <a:pPr>
              <a:spcBef>
                <a:spcPts val="1200"/>
              </a:spcBef>
            </a:pPr>
            <a:r>
              <a:rPr lang="en-US" dirty="0">
                <a:cs typeface="Calibri"/>
              </a:rPr>
              <a:t>Pfizer-BioNTech</a:t>
            </a:r>
          </a:p>
          <a:p>
            <a:pPr lvl="1">
              <a:spcBef>
                <a:spcPts val="1200"/>
              </a:spcBef>
            </a:pPr>
            <a:r>
              <a:rPr lang="en-US" dirty="0"/>
              <a:t>21 cases after 1,893,360 first doses (11.1 cases per million doses)</a:t>
            </a:r>
          </a:p>
          <a:p>
            <a:pPr lvl="1">
              <a:spcBef>
                <a:spcPts val="1200"/>
              </a:spcBef>
            </a:pPr>
            <a:r>
              <a:rPr lang="en-US" dirty="0"/>
              <a:t>71% within 15 minutes of vaccination; 86% within 30 minutes</a:t>
            </a:r>
          </a:p>
          <a:p>
            <a:pPr lvl="1">
              <a:spcBef>
                <a:spcPts val="1200"/>
              </a:spcBef>
            </a:pPr>
            <a:r>
              <a:rPr lang="en-US" dirty="0"/>
              <a:t>90% of cases in women; 81%  of cases had a history of allergic reactions</a:t>
            </a:r>
          </a:p>
          <a:p>
            <a:pPr>
              <a:spcBef>
                <a:spcPts val="1200"/>
              </a:spcBef>
            </a:pPr>
            <a:r>
              <a:rPr lang="en-US" dirty="0">
                <a:cs typeface="Calibri"/>
              </a:rPr>
              <a:t>Moderna </a:t>
            </a:r>
          </a:p>
          <a:p>
            <a:pPr lvl="1">
              <a:spcBef>
                <a:spcPts val="1200"/>
              </a:spcBef>
            </a:pPr>
            <a:r>
              <a:rPr lang="en-US" dirty="0"/>
              <a:t>10 cases of anaphylaxis after administration of a reported 4,041,396 first doses (2.5 cases per million doses administered)</a:t>
            </a:r>
          </a:p>
          <a:p>
            <a:pPr lvl="1">
              <a:spcBef>
                <a:spcPts val="1200"/>
              </a:spcBef>
            </a:pPr>
            <a:r>
              <a:rPr lang="en-US" dirty="0"/>
              <a:t>90% within 15 minutes of vaccination</a:t>
            </a:r>
          </a:p>
          <a:p>
            <a:pPr lvl="1">
              <a:spcBef>
                <a:spcPts val="1200"/>
              </a:spcBef>
            </a:pPr>
            <a:r>
              <a:rPr lang="en-US" dirty="0"/>
              <a:t>100% women; 90% history of allergic reactions</a:t>
            </a:r>
          </a:p>
          <a:p>
            <a:pPr lvl="1">
              <a:spcBef>
                <a:spcPts val="1200"/>
              </a:spcBef>
            </a:pPr>
            <a:endParaRPr lang="en-US" dirty="0">
              <a:cs typeface="Calibri"/>
            </a:endParaRPr>
          </a:p>
        </p:txBody>
      </p:sp>
      <p:sp>
        <p:nvSpPr>
          <p:cNvPr id="5" name="Footer Placeholder 4">
            <a:extLst>
              <a:ext uri="{FF2B5EF4-FFF2-40B4-BE49-F238E27FC236}">
                <a16:creationId xmlns:a16="http://schemas.microsoft.com/office/drawing/2014/main" id="{976FD15F-78C3-43F4-B3BA-16C7B7FADE21}"/>
              </a:ext>
            </a:extLst>
          </p:cNvPr>
          <p:cNvSpPr>
            <a:spLocks noGrp="1"/>
          </p:cNvSpPr>
          <p:nvPr>
            <p:ph type="ftr" sz="quarter" idx="4294967295"/>
          </p:nvPr>
        </p:nvSpPr>
        <p:spPr>
          <a:xfrm>
            <a:off x="2265889" y="6172555"/>
            <a:ext cx="6427735" cy="553998"/>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black"/>
                </a:solidFill>
                <a:effectLst/>
                <a:uLnTx/>
                <a:uFillTx/>
                <a:latin typeface="Calibri" panose="020F0502020204030204"/>
                <a:ea typeface="+mn-ea"/>
                <a:cs typeface="+mn-cs"/>
                <a:hlinkClick r:id="rId8"/>
              </a:rPr>
              <a:t>https://www.cdc.gov/mmwr/volumes/70/wr/mm7002e1.htm</a:t>
            </a:r>
            <a:r>
              <a:rPr kumimoji="0" lang="en-US"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b="0" i="0" u="none" strike="noStrike" kern="1200" cap="none" spc="0" normalizeH="0" baseline="0" noProof="0" dirty="0">
                <a:ln>
                  <a:noFill/>
                </a:ln>
                <a:solidFill>
                  <a:prstClr val="black"/>
                </a:solidFill>
                <a:effectLst/>
                <a:uLnTx/>
                <a:uFillTx/>
                <a:latin typeface="Calibri" panose="020F0502020204030204"/>
                <a:ea typeface="+mn-lt"/>
                <a:cs typeface="Calibri" panose="020F0502020204030204"/>
                <a:hlinkClick r:id="rId9"/>
              </a:rPr>
              <a:t>https://www.cdc.gov/mmwr/volumes/70/wr/mm7004e1.htm</a:t>
            </a:r>
            <a:r>
              <a:rPr kumimoji="0" lang="en-US" b="0" i="0" u="none" strike="noStrike" kern="1200" cap="none" spc="0" normalizeH="0" baseline="0" noProof="0" dirty="0">
                <a:ln>
                  <a:noFill/>
                </a:ln>
                <a:solidFill>
                  <a:prstClr val="black"/>
                </a:solidFill>
                <a:effectLst/>
                <a:uLnTx/>
                <a:uFillTx/>
                <a:latin typeface="Calibri" panose="020F0502020204030204"/>
                <a:ea typeface="+mn-lt"/>
                <a:cs typeface="Calibri" panose="020F0502020204030204"/>
              </a:rPr>
              <a:t> </a:t>
            </a:r>
          </a:p>
        </p:txBody>
      </p:sp>
    </p:spTree>
    <p:extLst>
      <p:ext uri="{BB962C8B-B14F-4D97-AF65-F5344CB8AC3E}">
        <p14:creationId xmlns:p14="http://schemas.microsoft.com/office/powerpoint/2010/main" val="407600343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44776F-1924-4066-9B47-A2D52AB850D9}"/>
              </a:ext>
            </a:extLst>
          </p:cNvPr>
          <p:cNvSpPr>
            <a:spLocks noGrp="1"/>
          </p:cNvSpPr>
          <p:nvPr>
            <p:ph type="title"/>
          </p:nvPr>
        </p:nvSpPr>
        <p:spPr/>
        <p:txBody>
          <a:bodyPr>
            <a:normAutofit/>
          </a:bodyPr>
          <a:lstStyle/>
          <a:p>
            <a:pPr algn="ctr"/>
            <a:r>
              <a:rPr lang="en-US" sz="5400" dirty="0"/>
              <a:t>Recommendations</a:t>
            </a:r>
          </a:p>
        </p:txBody>
      </p:sp>
      <p:sp>
        <p:nvSpPr>
          <p:cNvPr id="3" name="Content Placeholder 2">
            <a:extLst>
              <a:ext uri="{FF2B5EF4-FFF2-40B4-BE49-F238E27FC236}">
                <a16:creationId xmlns:a16="http://schemas.microsoft.com/office/drawing/2014/main" id="{CD9505E6-0C04-45D3-8206-BC5601E7467B}"/>
              </a:ext>
            </a:extLst>
          </p:cNvPr>
          <p:cNvSpPr>
            <a:spLocks noGrp="1"/>
          </p:cNvSpPr>
          <p:nvPr>
            <p:ph idx="1"/>
          </p:nvPr>
        </p:nvSpPr>
        <p:spPr>
          <a:xfrm>
            <a:off x="838200" y="1570333"/>
            <a:ext cx="10968318" cy="4726986"/>
          </a:xfrm>
        </p:spPr>
        <p:txBody>
          <a:bodyPr>
            <a:normAutofit fontScale="92500" lnSpcReduction="10000"/>
          </a:bodyPr>
          <a:lstStyle/>
          <a:p>
            <a:r>
              <a:rPr lang="en-US" dirty="0"/>
              <a:t>Ensure supplies available to manage anaphylaxis, especially epinephrine in prefilled syringes or autoinjectors</a:t>
            </a:r>
          </a:p>
          <a:p>
            <a:r>
              <a:rPr lang="en-US" dirty="0"/>
              <a:t>Screen potential vaccine recipients to identify persons with contraindications and precautions</a:t>
            </a:r>
          </a:p>
          <a:p>
            <a:r>
              <a:rPr lang="en-US" dirty="0"/>
              <a:t>Observation periods, 15 or 30 minutes depending on history  </a:t>
            </a:r>
          </a:p>
          <a:p>
            <a:r>
              <a:rPr lang="en-US" dirty="0"/>
              <a:t>Recognize the signs and symptoms of anaphylaxis early </a:t>
            </a:r>
          </a:p>
          <a:p>
            <a:r>
              <a:rPr lang="en-US" dirty="0"/>
              <a:t>Treat suspected anaphylaxis with intramuscular epinephrine immediately </a:t>
            </a:r>
          </a:p>
          <a:p>
            <a:r>
              <a:rPr lang="en-US" dirty="0"/>
              <a:t>Instructed people to seek immediate medical care if they develop signs or symptoms of an allergic reaction after they leave</a:t>
            </a:r>
          </a:p>
          <a:p>
            <a:r>
              <a:rPr lang="en-US" dirty="0"/>
              <a:t>Report adverse events </a:t>
            </a:r>
            <a:r>
              <a:rPr lang="en-US" u="sng" dirty="0">
                <a:hlinkClick r:id="rId2"/>
              </a:rPr>
              <a:t>vaers.hhs.gov/reportevent.html</a:t>
            </a:r>
            <a:r>
              <a:rPr lang="en-US" dirty="0">
                <a:hlinkClick r:id="rId2"/>
              </a:rPr>
              <a:t>external icon</a:t>
            </a:r>
            <a:r>
              <a:rPr lang="en-US" dirty="0"/>
              <a:t>.</a:t>
            </a:r>
          </a:p>
        </p:txBody>
      </p:sp>
      <p:sp>
        <p:nvSpPr>
          <p:cNvPr id="4" name="Footer Placeholder 4">
            <a:extLst>
              <a:ext uri="{FF2B5EF4-FFF2-40B4-BE49-F238E27FC236}">
                <a16:creationId xmlns:a16="http://schemas.microsoft.com/office/drawing/2014/main" id="{8912C996-8793-457C-ACF2-CF884DC38E69}"/>
              </a:ext>
            </a:extLst>
          </p:cNvPr>
          <p:cNvSpPr txBox="1">
            <a:spLocks/>
          </p:cNvSpPr>
          <p:nvPr/>
        </p:nvSpPr>
        <p:spPr>
          <a:xfrm>
            <a:off x="2564409" y="6020320"/>
            <a:ext cx="7193740" cy="553998"/>
          </a:xfrm>
          <a:prstGeom prst="rect">
            <a:avLst/>
          </a:prstGeom>
        </p:spPr>
        <p:txBody>
          <a:bodyPr wrap="square" lIns="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black"/>
                </a:solidFill>
                <a:effectLst/>
                <a:uLnTx/>
                <a:uFillTx/>
                <a:latin typeface="Calibri" panose="020F0502020204030204"/>
                <a:ea typeface="+mn-ea"/>
                <a:cs typeface="+mn-cs"/>
                <a:hlinkClick r:id="rId3"/>
              </a:rPr>
              <a:t>https://www.cdc.gov/mmwr/volumes/70/wr/mm7002e1.htm</a:t>
            </a:r>
            <a:r>
              <a:rPr kumimoji="0" lang="en-US"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b="0" i="0" u="none" strike="noStrike" kern="1200" cap="none" spc="0" normalizeH="0" baseline="0" noProof="0" dirty="0">
                <a:ln>
                  <a:noFill/>
                </a:ln>
                <a:solidFill>
                  <a:prstClr val="black"/>
                </a:solidFill>
                <a:effectLst/>
                <a:uLnTx/>
                <a:uFillTx/>
                <a:latin typeface="Calibri" panose="020F0502020204030204"/>
                <a:ea typeface="+mn-lt"/>
                <a:cs typeface="Calibri" panose="020F0502020204030204"/>
                <a:hlinkClick r:id="rId4"/>
              </a:rPr>
              <a:t>https://www.cdc.gov/mmwr/volumes/70/wr/mm7004e1.htm</a:t>
            </a:r>
            <a:r>
              <a:rPr kumimoji="0" lang="en-US" b="0" i="0" u="none" strike="noStrike" kern="1200" cap="none" spc="0" normalizeH="0" baseline="0" noProof="0" dirty="0">
                <a:ln>
                  <a:noFill/>
                </a:ln>
                <a:solidFill>
                  <a:prstClr val="black"/>
                </a:solidFill>
                <a:effectLst/>
                <a:uLnTx/>
                <a:uFillTx/>
                <a:latin typeface="Calibri" panose="020F0502020204030204"/>
                <a:ea typeface="+mn-lt"/>
                <a:cs typeface="Calibri" panose="020F0502020204030204"/>
              </a:rPr>
              <a:t> </a:t>
            </a:r>
          </a:p>
        </p:txBody>
      </p:sp>
    </p:spTree>
    <p:extLst>
      <p:ext uri="{BB962C8B-B14F-4D97-AF65-F5344CB8AC3E}">
        <p14:creationId xmlns:p14="http://schemas.microsoft.com/office/powerpoint/2010/main" val="289786098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24B22C-8C82-4721-9DCE-19AC9E39FB18}"/>
              </a:ext>
            </a:extLst>
          </p:cNvPr>
          <p:cNvSpPr>
            <a:spLocks noGrp="1"/>
          </p:cNvSpPr>
          <p:nvPr>
            <p:ph type="title"/>
          </p:nvPr>
        </p:nvSpPr>
        <p:spPr/>
        <p:txBody>
          <a:bodyPr>
            <a:normAutofit/>
          </a:bodyPr>
          <a:lstStyle/>
          <a:p>
            <a:pPr algn="ctr"/>
            <a:r>
              <a:rPr lang="en-US" sz="5400" dirty="0"/>
              <a:t>Myocarditis and Pericarditis</a:t>
            </a:r>
          </a:p>
        </p:txBody>
      </p:sp>
      <p:sp>
        <p:nvSpPr>
          <p:cNvPr id="3" name="Content Placeholder 2">
            <a:extLst>
              <a:ext uri="{FF2B5EF4-FFF2-40B4-BE49-F238E27FC236}">
                <a16:creationId xmlns:a16="http://schemas.microsoft.com/office/drawing/2014/main" id="{6AE70E87-7434-4683-9B16-531094C0EB9F}"/>
              </a:ext>
            </a:extLst>
          </p:cNvPr>
          <p:cNvSpPr>
            <a:spLocks noGrp="1"/>
          </p:cNvSpPr>
          <p:nvPr>
            <p:ph idx="1"/>
          </p:nvPr>
        </p:nvSpPr>
        <p:spPr>
          <a:xfrm>
            <a:off x="838200" y="1690688"/>
            <a:ext cx="10515600" cy="4351338"/>
          </a:xfrm>
        </p:spPr>
        <p:txBody>
          <a:bodyPr>
            <a:normAutofit fontScale="92500" lnSpcReduction="10000"/>
          </a:bodyPr>
          <a:lstStyle/>
          <a:p>
            <a:r>
              <a:rPr lang="en-US" sz="3200" dirty="0"/>
              <a:t>Increased reports since April 2021</a:t>
            </a:r>
          </a:p>
          <a:p>
            <a:r>
              <a:rPr lang="en-US" sz="3200" dirty="0"/>
              <a:t>Following mRNA vaccines</a:t>
            </a:r>
          </a:p>
          <a:p>
            <a:r>
              <a:rPr lang="en-US" sz="3200" dirty="0"/>
              <a:t>Most in adolescents and young adults</a:t>
            </a:r>
          </a:p>
          <a:p>
            <a:r>
              <a:rPr lang="en-US" sz="3200" dirty="0"/>
              <a:t>More common following second dose </a:t>
            </a:r>
          </a:p>
          <a:p>
            <a:r>
              <a:rPr lang="en-US" sz="3200" dirty="0"/>
              <a:t>Most patients responded well to medications and recovered quickly</a:t>
            </a:r>
          </a:p>
          <a:p>
            <a:r>
              <a:rPr lang="en-US" sz="3200" dirty="0"/>
              <a:t>CDC continues to recommend vaccination for everyone 12 years and older</a:t>
            </a:r>
          </a:p>
          <a:p>
            <a:r>
              <a:rPr lang="en-US" sz="3200" dirty="0"/>
              <a:t>Monitoring continues</a:t>
            </a:r>
          </a:p>
        </p:txBody>
      </p:sp>
      <p:sp>
        <p:nvSpPr>
          <p:cNvPr id="4" name="TextBox 3">
            <a:extLst>
              <a:ext uri="{FF2B5EF4-FFF2-40B4-BE49-F238E27FC236}">
                <a16:creationId xmlns:a16="http://schemas.microsoft.com/office/drawing/2014/main" id="{110C6276-799D-4999-8377-A476A42DEC49}"/>
              </a:ext>
            </a:extLst>
          </p:cNvPr>
          <p:cNvSpPr txBox="1"/>
          <p:nvPr/>
        </p:nvSpPr>
        <p:spPr>
          <a:xfrm>
            <a:off x="1242646" y="6123543"/>
            <a:ext cx="7591309"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https://www.cdc.gov/coronavirus/2019-ncov/vaccines/safety/myocarditis.html</a:t>
            </a:r>
          </a:p>
        </p:txBody>
      </p:sp>
    </p:spTree>
    <p:extLst>
      <p:ext uri="{BB962C8B-B14F-4D97-AF65-F5344CB8AC3E}">
        <p14:creationId xmlns:p14="http://schemas.microsoft.com/office/powerpoint/2010/main" val="49919402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663E048-0E86-409E-BCDD-0E2D5727EAB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6" progId="TCLayout.ActiveDocument.1">
                  <p:embed/>
                </p:oleObj>
              </mc:Choice>
              <mc:Fallback>
                <p:oleObj name="think-cell Slide" r:id="rId6" imgW="473" imgH="476" progId="TCLayout.ActiveDocument.1">
                  <p:embed/>
                  <p:pic>
                    <p:nvPicPr>
                      <p:cNvPr id="6" name="Object 5" hidden="1">
                        <a:extLst>
                          <a:ext uri="{FF2B5EF4-FFF2-40B4-BE49-F238E27FC236}">
                            <a16:creationId xmlns:a16="http://schemas.microsoft.com/office/drawing/2014/main" id="{6663E048-0E86-409E-BCDD-0E2D5727EAB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FBC785D-2CCD-47F9-BFE7-9D6246C8F49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dirty="0">
              <a:ln>
                <a:noFill/>
              </a:ln>
              <a:solidFill>
                <a:prstClr val="white"/>
              </a:solidFill>
              <a:effectLst/>
              <a:uLnTx/>
              <a:uFillTx/>
              <a:latin typeface="Calibri Light" panose="020F0302020204030204" pitchFamily="34" charset="0"/>
              <a:ea typeface="+mn-ea"/>
              <a:cs typeface="+mn-cs"/>
              <a:sym typeface="Calibri Light" panose="020F0302020204030204" pitchFamily="34" charset="0"/>
            </a:endParaRPr>
          </a:p>
        </p:txBody>
      </p:sp>
      <p:sp>
        <p:nvSpPr>
          <p:cNvPr id="2" name="Title 1">
            <a:extLst>
              <a:ext uri="{FF2B5EF4-FFF2-40B4-BE49-F238E27FC236}">
                <a16:creationId xmlns:a16="http://schemas.microsoft.com/office/drawing/2014/main" id="{ECB22D83-5517-4B7D-9DD1-3E524CE86EFC}"/>
              </a:ext>
            </a:extLst>
          </p:cNvPr>
          <p:cNvSpPr>
            <a:spLocks noGrp="1"/>
          </p:cNvSpPr>
          <p:nvPr>
            <p:ph type="title"/>
          </p:nvPr>
        </p:nvSpPr>
        <p:spPr>
          <a:xfrm>
            <a:off x="838200" y="831063"/>
            <a:ext cx="10515600" cy="624786"/>
          </a:xfrm>
          <a:noFill/>
          <a:ln/>
          <a:extLst>
            <a:ext uri="{909E8E84-426E-40DD-AFC4-6F175D3DCCD1}">
              <a14:hiddenFill xmlns:a14="http://schemas.microsoft.com/office/drawing/2010/main">
                <a:solidFill>
                  <a:srgbClr val="FFFFFF"/>
                </a:solidFill>
              </a14:hiddenFill>
            </a:ext>
          </a:extLst>
        </p:spPr>
        <p:txBody>
          <a:bodyPr wrap="square" lIns="0" tIns="0" rIns="0" bIns="0" anchor="ctr" anchorCtr="0">
            <a:noAutofit/>
          </a:bodyPr>
          <a:lstStyle/>
          <a:p>
            <a:pPr algn="ctr"/>
            <a:r>
              <a:rPr lang="en-US" dirty="0"/>
              <a:t>Side Effects of the  Adenovirus Vector COVID-19 vaccines</a:t>
            </a:r>
          </a:p>
        </p:txBody>
      </p:sp>
      <p:sp>
        <p:nvSpPr>
          <p:cNvPr id="3" name="Content Placeholder 2">
            <a:extLst>
              <a:ext uri="{FF2B5EF4-FFF2-40B4-BE49-F238E27FC236}">
                <a16:creationId xmlns:a16="http://schemas.microsoft.com/office/drawing/2014/main" id="{C26D71FC-8B24-4352-BC6E-95B6021C8319}"/>
              </a:ext>
            </a:extLst>
          </p:cNvPr>
          <p:cNvSpPr>
            <a:spLocks noGrp="1"/>
          </p:cNvSpPr>
          <p:nvPr>
            <p:ph idx="1"/>
            <p:custDataLst>
              <p:tags r:id="rId3"/>
            </p:custDataLst>
          </p:nvPr>
        </p:nvSpPr>
        <p:spPr>
          <a:xfrm>
            <a:off x="499498" y="2004161"/>
            <a:ext cx="10515600" cy="2400657"/>
          </a:xfrm>
        </p:spPr>
        <p:txBody>
          <a:bodyPr wrap="square" lIns="0" tIns="0" rIns="0" bIns="0">
            <a:spAutoFit/>
          </a:bodyPr>
          <a:lstStyle/>
          <a:p>
            <a:pPr>
              <a:spcBef>
                <a:spcPts val="1200"/>
              </a:spcBef>
            </a:pPr>
            <a:r>
              <a:rPr lang="en-US" dirty="0">
                <a:cs typeface="Calibri"/>
              </a:rPr>
              <a:t>Most common complaint was pain at the injection site</a:t>
            </a:r>
            <a:endParaRPr lang="en-US" baseline="30000" dirty="0">
              <a:ea typeface="+mn-lt"/>
              <a:cs typeface="+mn-lt"/>
            </a:endParaRPr>
          </a:p>
          <a:p>
            <a:pPr marL="609600" lvl="1" indent="-365125">
              <a:spcBef>
                <a:spcPts val="600"/>
              </a:spcBef>
              <a:buFont typeface="Calibri" panose="020F0502020204030204" pitchFamily="34" charset="0"/>
              <a:buChar char="–"/>
            </a:pPr>
            <a:r>
              <a:rPr lang="en-US" sz="2800" dirty="0">
                <a:cs typeface="Calibri"/>
              </a:rPr>
              <a:t>Other common symptoms included fatigue, fever, and headache</a:t>
            </a:r>
          </a:p>
          <a:p>
            <a:pPr marL="609600" lvl="1" indent="-365125">
              <a:spcBef>
                <a:spcPts val="600"/>
              </a:spcBef>
              <a:buFont typeface="Calibri" panose="020F0502020204030204" pitchFamily="34" charset="0"/>
              <a:buChar char="–"/>
            </a:pPr>
            <a:r>
              <a:rPr lang="en-US" sz="2800" dirty="0">
                <a:cs typeface="Calibri"/>
              </a:rPr>
              <a:t>These are common side effects after getting vaccinated</a:t>
            </a:r>
            <a:endParaRPr lang="en-US" sz="2400" dirty="0">
              <a:cs typeface="Calibri"/>
            </a:endParaRPr>
          </a:p>
          <a:p>
            <a:pPr>
              <a:spcBef>
                <a:spcPts val="1200"/>
              </a:spcBef>
            </a:pPr>
            <a:r>
              <a:rPr lang="en-US" dirty="0">
                <a:ea typeface="+mn-lt"/>
                <a:cs typeface="+mn-lt"/>
              </a:rPr>
              <a:t>Side effects less common in people over 60 years of age</a:t>
            </a:r>
          </a:p>
          <a:p>
            <a:pPr>
              <a:spcBef>
                <a:spcPts val="1200"/>
              </a:spcBef>
            </a:pPr>
            <a:r>
              <a:rPr lang="en-US" dirty="0">
                <a:ea typeface="+mn-lt"/>
                <a:cs typeface="+mn-lt"/>
              </a:rPr>
              <a:t>Single dose </a:t>
            </a:r>
          </a:p>
        </p:txBody>
      </p:sp>
      <p:sp>
        <p:nvSpPr>
          <p:cNvPr id="5" name="Footer Placeholder 4">
            <a:extLst>
              <a:ext uri="{FF2B5EF4-FFF2-40B4-BE49-F238E27FC236}">
                <a16:creationId xmlns:a16="http://schemas.microsoft.com/office/drawing/2014/main" id="{976FD15F-78C3-43F4-B3BA-16C7B7FADE21}"/>
              </a:ext>
            </a:extLst>
          </p:cNvPr>
          <p:cNvSpPr>
            <a:spLocks noGrp="1"/>
          </p:cNvSpPr>
          <p:nvPr>
            <p:ph type="ftr" sz="quarter" idx="4294967295"/>
          </p:nvPr>
        </p:nvSpPr>
        <p:spPr>
          <a:xfrm>
            <a:off x="1094584" y="5888437"/>
            <a:ext cx="10515600" cy="276999"/>
          </a:xfrm>
          <a:prstGeom prst="rect">
            <a:avLst/>
          </a:prstGeom>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black"/>
                </a:solidFill>
                <a:effectLst/>
                <a:uLnTx/>
                <a:uFillTx/>
                <a:latin typeface="Calibri" panose="020F0502020204030204"/>
                <a:ea typeface="+mn-lt"/>
                <a:cs typeface="Calibri" panose="020F0502020204030204"/>
                <a:hlinkClick r:id="rId8"/>
              </a:rPr>
              <a:t>https://www.cdc.gov/coronavirus/2019-ncov/vaccines/different-vaccines/janssen.html</a:t>
            </a:r>
            <a:endParaRPr kumimoji="0" lang="en-US" b="0" i="0" u="none" strike="noStrike" kern="1200" cap="none" spc="0" normalizeH="0" baseline="0" noProof="0" dirty="0">
              <a:ln>
                <a:noFill/>
              </a:ln>
              <a:solidFill>
                <a:prstClr val="black"/>
              </a:solidFill>
              <a:effectLst/>
              <a:uLnTx/>
              <a:uFillTx/>
              <a:latin typeface="Calibri" panose="020F0502020204030204"/>
              <a:ea typeface="+mn-lt"/>
              <a:cs typeface="Calibri" panose="020F0502020204030204"/>
            </a:endParaRPr>
          </a:p>
        </p:txBody>
      </p:sp>
      <p:pic>
        <p:nvPicPr>
          <p:cNvPr id="7" name="Picture 21" descr="WhatExpectafterVaccinationAnimation_pain">
            <a:extLst>
              <a:ext uri="{FF2B5EF4-FFF2-40B4-BE49-F238E27FC236}">
                <a16:creationId xmlns:a16="http://schemas.microsoft.com/office/drawing/2014/main" id="{EA0B29E9-0659-42A2-949F-FCC54F45B3D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577602" y="1353717"/>
            <a:ext cx="1300889" cy="1300889"/>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3" descr="WhatExpectafterVaccinationAnimation_fever">
            <a:extLst>
              <a:ext uri="{FF2B5EF4-FFF2-40B4-BE49-F238E27FC236}">
                <a16:creationId xmlns:a16="http://schemas.microsoft.com/office/drawing/2014/main" id="{75575831-C1FC-4629-A84E-6E03E683BA0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780979" y="2864867"/>
            <a:ext cx="1283472" cy="12834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356354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663E048-0E86-409E-BCDD-0E2D5727EAB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6" progId="TCLayout.ActiveDocument.1">
                  <p:embed/>
                </p:oleObj>
              </mc:Choice>
              <mc:Fallback>
                <p:oleObj name="think-cell Slide" r:id="rId6" imgW="473" imgH="476" progId="TCLayout.ActiveDocument.1">
                  <p:embed/>
                  <p:pic>
                    <p:nvPicPr>
                      <p:cNvPr id="6" name="Object 5" hidden="1">
                        <a:extLst>
                          <a:ext uri="{FF2B5EF4-FFF2-40B4-BE49-F238E27FC236}">
                            <a16:creationId xmlns:a16="http://schemas.microsoft.com/office/drawing/2014/main" id="{6663E048-0E86-409E-BCDD-0E2D5727EAB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FBC785D-2CCD-47F9-BFE7-9D6246C8F49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dirty="0">
              <a:ln>
                <a:noFill/>
              </a:ln>
              <a:solidFill>
                <a:prstClr val="white"/>
              </a:solidFill>
              <a:effectLst/>
              <a:uLnTx/>
              <a:uFillTx/>
              <a:latin typeface="Calibri Light" panose="020F0302020204030204" pitchFamily="34" charset="0"/>
              <a:ea typeface="+mn-ea"/>
              <a:cs typeface="+mn-cs"/>
              <a:sym typeface="Calibri Light" panose="020F0302020204030204" pitchFamily="34" charset="0"/>
            </a:endParaRPr>
          </a:p>
        </p:txBody>
      </p:sp>
      <p:sp>
        <p:nvSpPr>
          <p:cNvPr id="2" name="Title 1">
            <a:extLst>
              <a:ext uri="{FF2B5EF4-FFF2-40B4-BE49-F238E27FC236}">
                <a16:creationId xmlns:a16="http://schemas.microsoft.com/office/drawing/2014/main" id="{ECB22D83-5517-4B7D-9DD1-3E524CE86EFC}"/>
              </a:ext>
            </a:extLst>
          </p:cNvPr>
          <p:cNvSpPr>
            <a:spLocks noGrp="1"/>
          </p:cNvSpPr>
          <p:nvPr>
            <p:ph type="title"/>
          </p:nvPr>
        </p:nvSpPr>
        <p:spPr>
          <a:xfrm>
            <a:off x="608092" y="567267"/>
            <a:ext cx="10515600" cy="624786"/>
          </a:xfrm>
          <a:noFill/>
          <a:ln/>
          <a:extLst>
            <a:ext uri="{909E8E84-426E-40DD-AFC4-6F175D3DCCD1}">
              <a14:hiddenFill xmlns:a14="http://schemas.microsoft.com/office/drawing/2010/main">
                <a:solidFill>
                  <a:srgbClr val="FFFFFF"/>
                </a:solidFill>
              </a14:hiddenFill>
            </a:ext>
          </a:extLst>
        </p:spPr>
        <p:txBody>
          <a:bodyPr wrap="square" lIns="0" tIns="0" rIns="0" bIns="0" anchor="ctr" anchorCtr="0">
            <a:noAutofit/>
          </a:bodyPr>
          <a:lstStyle/>
          <a:p>
            <a:pPr algn="ctr"/>
            <a:r>
              <a:rPr lang="en-US" sz="5400" dirty="0"/>
              <a:t>Serious Side Effects</a:t>
            </a:r>
          </a:p>
        </p:txBody>
      </p:sp>
      <p:sp>
        <p:nvSpPr>
          <p:cNvPr id="3" name="Content Placeholder 2">
            <a:extLst>
              <a:ext uri="{FF2B5EF4-FFF2-40B4-BE49-F238E27FC236}">
                <a16:creationId xmlns:a16="http://schemas.microsoft.com/office/drawing/2014/main" id="{C26D71FC-8B24-4352-BC6E-95B6021C8319}"/>
              </a:ext>
            </a:extLst>
          </p:cNvPr>
          <p:cNvSpPr>
            <a:spLocks noGrp="1"/>
          </p:cNvSpPr>
          <p:nvPr>
            <p:ph idx="1"/>
            <p:custDataLst>
              <p:tags r:id="rId3"/>
            </p:custDataLst>
          </p:nvPr>
        </p:nvSpPr>
        <p:spPr>
          <a:xfrm>
            <a:off x="608092" y="1467874"/>
            <a:ext cx="11265661" cy="4607415"/>
          </a:xfrm>
        </p:spPr>
        <p:txBody>
          <a:bodyPr wrap="square" lIns="0" tIns="0" rIns="0" bIns="0">
            <a:spAutoFit/>
          </a:bodyPr>
          <a:lstStyle/>
          <a:p>
            <a:pPr>
              <a:spcBef>
                <a:spcPts val="1200"/>
              </a:spcBef>
              <a:spcAft>
                <a:spcPts val="600"/>
              </a:spcAft>
            </a:pPr>
            <a:r>
              <a:rPr lang="en-US" sz="3200" dirty="0">
                <a:ea typeface="+mn-lt"/>
                <a:cs typeface="+mn-lt"/>
              </a:rPr>
              <a:t>Thrombocytopenia and Thrombosis with J&amp;J vaccine</a:t>
            </a:r>
          </a:p>
          <a:p>
            <a:pPr lvl="1">
              <a:spcBef>
                <a:spcPts val="0"/>
              </a:spcBef>
            </a:pPr>
            <a:r>
              <a:rPr lang="en-US" sz="3200" dirty="0">
                <a:ea typeface="+mn-lt"/>
                <a:cs typeface="+mn-lt"/>
              </a:rPr>
              <a:t>Cerebral venous sinus thrombosis and other thromboses</a:t>
            </a:r>
          </a:p>
          <a:p>
            <a:pPr lvl="1">
              <a:spcBef>
                <a:spcPts val="0"/>
              </a:spcBef>
            </a:pPr>
            <a:r>
              <a:rPr lang="en-US" sz="3200" dirty="0">
                <a:ea typeface="+mn-lt"/>
                <a:cs typeface="+mn-lt"/>
              </a:rPr>
              <a:t>Single case during studies: 25-year-old male</a:t>
            </a:r>
          </a:p>
          <a:p>
            <a:pPr lvl="1">
              <a:spcBef>
                <a:spcPts val="0"/>
              </a:spcBef>
            </a:pPr>
            <a:r>
              <a:rPr lang="en-US" sz="3200" dirty="0">
                <a:ea typeface="+mn-lt"/>
                <a:cs typeface="+mn-lt"/>
              </a:rPr>
              <a:t>Six additional cases: women 18 to 48 years old, one fatal</a:t>
            </a:r>
          </a:p>
          <a:p>
            <a:pPr lvl="1">
              <a:spcBef>
                <a:spcPts val="0"/>
              </a:spcBef>
            </a:pPr>
            <a:r>
              <a:rPr lang="en-US" sz="3200" dirty="0">
                <a:ea typeface="+mn-lt"/>
                <a:cs typeface="+mn-lt"/>
              </a:rPr>
              <a:t>Onset within 6 to 13 days of vaccination</a:t>
            </a:r>
          </a:p>
          <a:p>
            <a:pPr lvl="1">
              <a:spcBef>
                <a:spcPts val="0"/>
              </a:spcBef>
            </a:pPr>
            <a:r>
              <a:rPr lang="en-US" sz="3200" dirty="0">
                <a:ea typeface="+mn-lt"/>
                <a:cs typeface="+mn-lt"/>
              </a:rPr>
              <a:t>PF4 HIT (</a:t>
            </a:r>
            <a:r>
              <a:rPr lang="en-US" sz="3200" dirty="0"/>
              <a:t>Platelet Factor 4 Heparin Induced Thrombocytopenia) antibody positive</a:t>
            </a:r>
            <a:r>
              <a:rPr lang="en-US" sz="3200" dirty="0">
                <a:ea typeface="+mn-lt"/>
                <a:cs typeface="+mn-lt"/>
              </a:rPr>
              <a:t> </a:t>
            </a:r>
          </a:p>
          <a:p>
            <a:pPr marL="0" indent="0">
              <a:spcBef>
                <a:spcPts val="1200"/>
              </a:spcBef>
              <a:buNone/>
            </a:pPr>
            <a:endParaRPr lang="en-US" dirty="0">
              <a:ea typeface="+mn-lt"/>
              <a:cs typeface="+mn-lt"/>
            </a:endParaRPr>
          </a:p>
        </p:txBody>
      </p:sp>
      <p:sp>
        <p:nvSpPr>
          <p:cNvPr id="5" name="Footer Placeholder 4">
            <a:extLst>
              <a:ext uri="{FF2B5EF4-FFF2-40B4-BE49-F238E27FC236}">
                <a16:creationId xmlns:a16="http://schemas.microsoft.com/office/drawing/2014/main" id="{976FD15F-78C3-43F4-B3BA-16C7B7FADE21}"/>
              </a:ext>
            </a:extLst>
          </p:cNvPr>
          <p:cNvSpPr>
            <a:spLocks noGrp="1"/>
          </p:cNvSpPr>
          <p:nvPr>
            <p:ph type="ftr" sz="quarter" idx="4294967295"/>
          </p:nvPr>
        </p:nvSpPr>
        <p:spPr>
          <a:xfrm>
            <a:off x="2049943" y="5936789"/>
            <a:ext cx="10515600" cy="276999"/>
          </a:xfrm>
          <a:prstGeom prst="rect">
            <a:avLst/>
          </a:prstGeom>
        </p:spPr>
        <p:txBody>
          <a:bodyPr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lt"/>
                <a:cs typeface="Calibri" panose="020F0502020204030204"/>
                <a:hlinkClick r:id="rId8"/>
              </a:rPr>
              <a:t>https://www.cdc.gov/coronavirus/2019-ncov/vaccines/safety/JJUpdate.html</a:t>
            </a:r>
            <a:r>
              <a:rPr kumimoji="0" lang="en-US" sz="1800" b="0" i="0" u="none" strike="noStrike" kern="1200" cap="none" spc="0" normalizeH="0" baseline="0" noProof="0" dirty="0">
                <a:ln>
                  <a:noFill/>
                </a:ln>
                <a:solidFill>
                  <a:prstClr val="black"/>
                </a:solidFill>
                <a:effectLst/>
                <a:uLnTx/>
                <a:uFillTx/>
                <a:latin typeface="Calibri" panose="020F0502020204030204"/>
                <a:ea typeface="+mn-lt"/>
                <a:cs typeface="Calibri" panose="020F0502020204030204"/>
              </a:rPr>
              <a:t>  </a:t>
            </a:r>
          </a:p>
        </p:txBody>
      </p:sp>
    </p:spTree>
    <p:extLst>
      <p:ext uri="{BB962C8B-B14F-4D97-AF65-F5344CB8AC3E}">
        <p14:creationId xmlns:p14="http://schemas.microsoft.com/office/powerpoint/2010/main" val="137289170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44776F-1924-4066-9B47-A2D52AB850D9}"/>
              </a:ext>
            </a:extLst>
          </p:cNvPr>
          <p:cNvSpPr>
            <a:spLocks noGrp="1"/>
          </p:cNvSpPr>
          <p:nvPr>
            <p:ph type="title"/>
          </p:nvPr>
        </p:nvSpPr>
        <p:spPr/>
        <p:txBody>
          <a:bodyPr/>
          <a:lstStyle/>
          <a:p>
            <a:pPr algn="ctr"/>
            <a:r>
              <a:rPr lang="en-US" dirty="0"/>
              <a:t>US FDA and CDC Recommendations</a:t>
            </a:r>
          </a:p>
        </p:txBody>
      </p:sp>
      <p:sp>
        <p:nvSpPr>
          <p:cNvPr id="3" name="Content Placeholder 2">
            <a:extLst>
              <a:ext uri="{FF2B5EF4-FFF2-40B4-BE49-F238E27FC236}">
                <a16:creationId xmlns:a16="http://schemas.microsoft.com/office/drawing/2014/main" id="{CD9505E6-0C04-45D3-8206-BC5601E7467B}"/>
              </a:ext>
            </a:extLst>
          </p:cNvPr>
          <p:cNvSpPr>
            <a:spLocks noGrp="1"/>
          </p:cNvSpPr>
          <p:nvPr>
            <p:ph idx="1"/>
          </p:nvPr>
        </p:nvSpPr>
        <p:spPr>
          <a:xfrm>
            <a:off x="349624" y="1449978"/>
            <a:ext cx="11549299" cy="4726986"/>
          </a:xfrm>
        </p:spPr>
        <p:txBody>
          <a:bodyPr>
            <a:normAutofit lnSpcReduction="10000"/>
          </a:bodyPr>
          <a:lstStyle/>
          <a:p>
            <a:r>
              <a:rPr lang="en-US" dirty="0"/>
              <a:t>Pause on use of J &amp; J vaccine 4/13/21; reassessed; use resumed 4/23/21</a:t>
            </a:r>
          </a:p>
          <a:p>
            <a:r>
              <a:rPr lang="en-US" dirty="0"/>
              <a:t>Vaccinees - seek medical treatment urgently for any of the following:</a:t>
            </a:r>
          </a:p>
          <a:p>
            <a:pPr lvl="1"/>
            <a:r>
              <a:rPr lang="en-US" dirty="0"/>
              <a:t>Severe headache or blurred vision</a:t>
            </a:r>
          </a:p>
          <a:p>
            <a:pPr lvl="1"/>
            <a:r>
              <a:rPr lang="en-US" dirty="0"/>
              <a:t>Shortness of breath</a:t>
            </a:r>
          </a:p>
          <a:p>
            <a:pPr lvl="1"/>
            <a:r>
              <a:rPr lang="en-US" dirty="0"/>
              <a:t>Chest pain</a:t>
            </a:r>
          </a:p>
          <a:p>
            <a:pPr lvl="1"/>
            <a:r>
              <a:rPr lang="en-US" dirty="0"/>
              <a:t>Leg swelling</a:t>
            </a:r>
          </a:p>
          <a:p>
            <a:pPr lvl="1"/>
            <a:r>
              <a:rPr lang="en-US" dirty="0"/>
              <a:t>Gut pain that does not go away</a:t>
            </a:r>
          </a:p>
          <a:p>
            <a:pPr lvl="1"/>
            <a:r>
              <a:rPr lang="en-US" dirty="0"/>
              <a:t>Easy bruising or tiny blood spots under the skin</a:t>
            </a:r>
          </a:p>
          <a:p>
            <a:r>
              <a:rPr lang="en-US" dirty="0"/>
              <a:t>Healthcare providers – maintain awareness</a:t>
            </a:r>
          </a:p>
          <a:p>
            <a:pPr lvl="1"/>
            <a:r>
              <a:rPr lang="en-US" dirty="0"/>
              <a:t>Report adverse events </a:t>
            </a:r>
            <a:r>
              <a:rPr lang="en-US" u="sng" dirty="0">
                <a:hlinkClick r:id="rId3"/>
              </a:rPr>
              <a:t>vaers.hhs.gov/reportevent.html</a:t>
            </a:r>
            <a:r>
              <a:rPr lang="en-US" dirty="0">
                <a:hlinkClick r:id="rId3"/>
              </a:rPr>
              <a:t>external icon</a:t>
            </a:r>
            <a:r>
              <a:rPr lang="en-US" dirty="0"/>
              <a:t>.</a:t>
            </a:r>
          </a:p>
        </p:txBody>
      </p:sp>
      <p:sp>
        <p:nvSpPr>
          <p:cNvPr id="4" name="Footer Placeholder 4">
            <a:extLst>
              <a:ext uri="{FF2B5EF4-FFF2-40B4-BE49-F238E27FC236}">
                <a16:creationId xmlns:a16="http://schemas.microsoft.com/office/drawing/2014/main" id="{8912C996-8793-457C-ACF2-CF884DC38E69}"/>
              </a:ext>
            </a:extLst>
          </p:cNvPr>
          <p:cNvSpPr txBox="1">
            <a:spLocks/>
          </p:cNvSpPr>
          <p:nvPr/>
        </p:nvSpPr>
        <p:spPr>
          <a:xfrm>
            <a:off x="1770687" y="6151473"/>
            <a:ext cx="10515600" cy="215444"/>
          </a:xfrm>
          <a:prstGeom prst="rect">
            <a:avLst/>
          </a:prstGeom>
        </p:spPr>
        <p:txBody>
          <a:bodyPr lIns="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lt"/>
                <a:cs typeface="Calibri" panose="020F0502020204030204"/>
              </a:rPr>
              <a:t> </a:t>
            </a:r>
          </a:p>
        </p:txBody>
      </p:sp>
      <p:sp>
        <p:nvSpPr>
          <p:cNvPr id="5" name="TextBox 4">
            <a:extLst>
              <a:ext uri="{FF2B5EF4-FFF2-40B4-BE49-F238E27FC236}">
                <a16:creationId xmlns:a16="http://schemas.microsoft.com/office/drawing/2014/main" id="{AEF2AD4E-FF39-435F-84E5-89AC1E0F885F}"/>
              </a:ext>
            </a:extLst>
          </p:cNvPr>
          <p:cNvSpPr txBox="1"/>
          <p:nvPr/>
        </p:nvSpPr>
        <p:spPr>
          <a:xfrm>
            <a:off x="1540580" y="6138652"/>
            <a:ext cx="734290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hlinkClick r:id="rId4"/>
              </a:rPr>
              <a:t>https://www.cdc.gov/coronavirus/2019-ncov/vaccines/safety/JJUpdate.html</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a:t>
            </a:r>
          </a:p>
        </p:txBody>
      </p:sp>
      <p:pic>
        <p:nvPicPr>
          <p:cNvPr id="6" name="Picture 5">
            <a:extLst>
              <a:ext uri="{FF2B5EF4-FFF2-40B4-BE49-F238E27FC236}">
                <a16:creationId xmlns:a16="http://schemas.microsoft.com/office/drawing/2014/main" id="{4A390B2E-B079-4634-AC6D-5592D9A725AE}"/>
              </a:ext>
            </a:extLst>
          </p:cNvPr>
          <p:cNvPicPr>
            <a:picLocks noChangeAspect="1"/>
          </p:cNvPicPr>
          <p:nvPr/>
        </p:nvPicPr>
        <p:blipFill>
          <a:blip r:embed="rId5"/>
          <a:stretch>
            <a:fillRect/>
          </a:stretch>
        </p:blipFill>
        <p:spPr>
          <a:xfrm>
            <a:off x="9578552" y="2925891"/>
            <a:ext cx="1914792" cy="2462556"/>
          </a:xfrm>
          <a:prstGeom prst="rect">
            <a:avLst/>
          </a:prstGeom>
        </p:spPr>
      </p:pic>
    </p:spTree>
    <p:extLst>
      <p:ext uri="{BB962C8B-B14F-4D97-AF65-F5344CB8AC3E}">
        <p14:creationId xmlns:p14="http://schemas.microsoft.com/office/powerpoint/2010/main" val="225576717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D9E2899-2DEB-44ED-81B0-492C968E5112}"/>
              </a:ext>
            </a:extLst>
          </p:cNvPr>
          <p:cNvSpPr>
            <a:spLocks noGrp="1"/>
          </p:cNvSpPr>
          <p:nvPr>
            <p:ph type="title"/>
          </p:nvPr>
        </p:nvSpPr>
        <p:spPr>
          <a:xfrm>
            <a:off x="838200" y="497712"/>
            <a:ext cx="10515600" cy="1355022"/>
          </a:xfrm>
        </p:spPr>
        <p:txBody>
          <a:bodyPr>
            <a:normAutofit/>
          </a:bodyPr>
          <a:lstStyle/>
          <a:p>
            <a:pPr algn="ctr"/>
            <a:r>
              <a:rPr lang="en-US" sz="6000" dirty="0"/>
              <a:t>Disclaimer</a:t>
            </a:r>
          </a:p>
        </p:txBody>
      </p:sp>
      <p:sp>
        <p:nvSpPr>
          <p:cNvPr id="6" name="Content Placeholder 2">
            <a:extLst>
              <a:ext uri="{FF2B5EF4-FFF2-40B4-BE49-F238E27FC236}">
                <a16:creationId xmlns:a16="http://schemas.microsoft.com/office/drawing/2014/main" id="{AA6C7E73-33CE-4A77-ADF9-729247086108}"/>
              </a:ext>
            </a:extLst>
          </p:cNvPr>
          <p:cNvSpPr txBox="1">
            <a:spLocks/>
          </p:cNvSpPr>
          <p:nvPr/>
        </p:nvSpPr>
        <p:spPr>
          <a:xfrm>
            <a:off x="838199" y="1365813"/>
            <a:ext cx="10967977" cy="5021924"/>
          </a:xfrm>
          <a:prstGeom prst="rect">
            <a:avLst/>
          </a:prstGeom>
        </p:spPr>
        <p:txBody>
          <a:bodyPr>
            <a:normAutofit fontScale="92500" lnSpcReduction="10000"/>
          </a:bodyPr>
          <a:lstStyle>
            <a:lvl1pPr marL="0" indent="0" algn="l" defTabSz="913526" rtl="0" eaLnBrk="1" fontAlgn="base" latinLnBrk="0" hangingPunct="1">
              <a:spcBef>
                <a:spcPct val="0"/>
              </a:spcBef>
              <a:spcAft>
                <a:spcPct val="0"/>
              </a:spcAft>
              <a:buClr>
                <a:schemeClr val="tx2"/>
              </a:buClr>
              <a:buSzPct val="100000"/>
              <a:defRPr lang="en-US" sz="1632" baseline="0" dirty="0">
                <a:solidFill>
                  <a:schemeClr val="tx1"/>
                </a:solidFill>
                <a:latin typeface="+mn-lt"/>
                <a:ea typeface="+mn-ea"/>
                <a:cs typeface="+mn-cs"/>
              </a:defRPr>
            </a:lvl1pPr>
            <a:lvl2pPr marL="198346" indent="-194673" algn="l" defTabSz="913526" rtl="0" eaLnBrk="1" fontAlgn="base" latinLnBrk="0" hangingPunct="1">
              <a:spcBef>
                <a:spcPct val="0"/>
              </a:spcBef>
              <a:spcAft>
                <a:spcPct val="0"/>
              </a:spcAft>
              <a:buClr>
                <a:schemeClr val="tx2"/>
              </a:buClr>
              <a:buSzPct val="125000"/>
              <a:buFont typeface="Arial" charset="0"/>
              <a:buChar char="▪"/>
              <a:defRPr lang="en-US" sz="1632" baseline="0" dirty="0">
                <a:solidFill>
                  <a:schemeClr val="tx1"/>
                </a:solidFill>
                <a:latin typeface="+mn-lt"/>
                <a:ea typeface="+mn-ea"/>
                <a:cs typeface="+mn-cs"/>
              </a:defRPr>
            </a:lvl2pPr>
            <a:lvl3pPr marL="455462" indent="-253443" algn="l" defTabSz="913526" rtl="0" eaLnBrk="1" fontAlgn="base" latinLnBrk="0" hangingPunct="1">
              <a:spcBef>
                <a:spcPct val="0"/>
              </a:spcBef>
              <a:spcAft>
                <a:spcPct val="0"/>
              </a:spcAft>
              <a:buClr>
                <a:schemeClr val="tx2"/>
              </a:buClr>
              <a:buSzPct val="120000"/>
              <a:buFont typeface="Arial" charset="0"/>
              <a:buChar char="–"/>
              <a:defRPr lang="en-US" sz="1632" baseline="0" dirty="0">
                <a:solidFill>
                  <a:schemeClr val="tx1"/>
                </a:solidFill>
                <a:latin typeface="+mn-lt"/>
                <a:ea typeface="+mn-ea"/>
                <a:cs typeface="+mn-cs"/>
              </a:defRPr>
            </a:lvl3pPr>
            <a:lvl4pPr marL="628097" indent="-157942" algn="l" defTabSz="913526" rtl="0" eaLnBrk="1" fontAlgn="base" latinLnBrk="0" hangingPunct="1">
              <a:spcBef>
                <a:spcPct val="0"/>
              </a:spcBef>
              <a:spcAft>
                <a:spcPct val="0"/>
              </a:spcAft>
              <a:buClr>
                <a:schemeClr val="tx2"/>
              </a:buClr>
              <a:buSzPct val="120000"/>
              <a:buFont typeface="Arial" charset="0"/>
              <a:buChar char="▫"/>
              <a:defRPr lang="en-US" sz="1632" baseline="0" dirty="0">
                <a:solidFill>
                  <a:schemeClr val="tx1"/>
                </a:solidFill>
                <a:latin typeface="+mn-lt"/>
                <a:ea typeface="+mn-ea"/>
                <a:cs typeface="+mn-cs"/>
              </a:defRPr>
            </a:lvl4pPr>
            <a:lvl5pPr marL="764001" indent="-132231" algn="l" defTabSz="913526" rtl="0" eaLnBrk="1" fontAlgn="base" latinLnBrk="0" hangingPunct="1">
              <a:spcBef>
                <a:spcPct val="0"/>
              </a:spcBef>
              <a:spcAft>
                <a:spcPct val="0"/>
              </a:spcAft>
              <a:buClr>
                <a:schemeClr val="tx2"/>
              </a:buClr>
              <a:buSzPct val="89000"/>
              <a:buFont typeface="Arial" charset="0"/>
              <a:buChar char="-"/>
              <a:defRPr lang="en-US" sz="1632" baseline="0" dirty="0">
                <a:solidFill>
                  <a:schemeClr val="tx1"/>
                </a:solidFill>
                <a:latin typeface="+mn-lt"/>
                <a:ea typeface="+mn-ea"/>
                <a:cs typeface="+mn-cs"/>
              </a:defRPr>
            </a:lvl5pPr>
            <a:lvl6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6pPr>
            <a:lvl7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7pPr>
            <a:lvl8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8pPr>
            <a:lvl9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9pPr>
          </a:lstStyle>
          <a:p>
            <a:r>
              <a:rPr lang="en-US" sz="4000" kern="0"/>
              <a:t>Information about COVID-19 and SARS-CoV-2, the virus that causes the illness is evolving daily</a:t>
            </a:r>
          </a:p>
          <a:p>
            <a:r>
              <a:rPr lang="en-US" sz="4000" kern="0"/>
              <a:t>Recommendations change frequently</a:t>
            </a:r>
          </a:p>
          <a:p>
            <a:r>
              <a:rPr lang="en-US" sz="4000" kern="0"/>
              <a:t>What you hear today may be outdated soon</a:t>
            </a:r>
          </a:p>
          <a:p>
            <a:r>
              <a:rPr lang="en-US" sz="4000" kern="0"/>
              <a:t>Trusted sources of up-to-date information</a:t>
            </a:r>
          </a:p>
          <a:p>
            <a:pPr lvl="1"/>
            <a:r>
              <a:rPr lang="en-US" sz="3600" kern="0"/>
              <a:t>NJ Department of Health - </a:t>
            </a:r>
            <a:r>
              <a:rPr lang="en-US" sz="3600" kern="0">
                <a:hlinkClick r:id="rId2"/>
              </a:rPr>
              <a:t>www.nj.gov/health/</a:t>
            </a:r>
            <a:r>
              <a:rPr lang="en-US" sz="3600" kern="0"/>
              <a:t> </a:t>
            </a:r>
          </a:p>
          <a:p>
            <a:pPr lvl="1"/>
            <a:r>
              <a:rPr lang="en-US" sz="3600" kern="0"/>
              <a:t>Centers for Disease Control and Prevention - </a:t>
            </a:r>
            <a:r>
              <a:rPr lang="en-US" sz="3600" kern="0">
                <a:hlinkClick r:id="rId3"/>
              </a:rPr>
              <a:t>www.cdc.gov</a:t>
            </a:r>
            <a:r>
              <a:rPr lang="en-US" sz="3600" kern="0"/>
              <a:t> </a:t>
            </a:r>
          </a:p>
          <a:p>
            <a:pPr lvl="1"/>
            <a:r>
              <a:rPr lang="en-US" sz="3600" kern="0"/>
              <a:t>American Academy of Pediatrics – </a:t>
            </a:r>
            <a:r>
              <a:rPr lang="en-US" sz="3600" kern="0">
                <a:hlinkClick r:id="rId4"/>
              </a:rPr>
              <a:t>www.aap.org</a:t>
            </a:r>
            <a:r>
              <a:rPr lang="en-US" sz="3600" kern="0"/>
              <a:t>   and </a:t>
            </a:r>
            <a:r>
              <a:rPr lang="en-US" sz="3600" kern="0">
                <a:hlinkClick r:id="rId5"/>
              </a:rPr>
              <a:t>www.healthychildren.org</a:t>
            </a:r>
            <a:r>
              <a:rPr lang="en-US" sz="3600" kern="0"/>
              <a:t> </a:t>
            </a:r>
          </a:p>
          <a:p>
            <a:pPr lvl="1"/>
            <a:endParaRPr lang="en-US" sz="3600" kern="0"/>
          </a:p>
        </p:txBody>
      </p:sp>
    </p:spTree>
    <p:extLst>
      <p:ext uri="{BB962C8B-B14F-4D97-AF65-F5344CB8AC3E}">
        <p14:creationId xmlns:p14="http://schemas.microsoft.com/office/powerpoint/2010/main" val="335387440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Guillain-Barré Syndrome</a:t>
            </a:r>
          </a:p>
        </p:txBody>
      </p:sp>
      <p:sp>
        <p:nvSpPr>
          <p:cNvPr id="3" name="Content Placeholder 2"/>
          <p:cNvSpPr>
            <a:spLocks noGrp="1"/>
          </p:cNvSpPr>
          <p:nvPr>
            <p:ph idx="1"/>
          </p:nvPr>
        </p:nvSpPr>
        <p:spPr>
          <a:xfrm>
            <a:off x="838200" y="1594513"/>
            <a:ext cx="10958565" cy="4351338"/>
          </a:xfrm>
        </p:spPr>
        <p:txBody>
          <a:bodyPr/>
          <a:lstStyle/>
          <a:p>
            <a:r>
              <a:rPr lang="en-US" dirty="0"/>
              <a:t>Ascending paralysis</a:t>
            </a:r>
          </a:p>
          <a:p>
            <a:r>
              <a:rPr lang="en-US" dirty="0"/>
              <a:t>Usually self-limited with full recovery</a:t>
            </a:r>
          </a:p>
          <a:p>
            <a:r>
              <a:rPr lang="en-US" dirty="0"/>
              <a:t>Incidence slightly more common after J&amp;J vaccine than baseline</a:t>
            </a:r>
          </a:p>
          <a:p>
            <a:pPr lvl="1"/>
            <a:r>
              <a:rPr lang="en-US" dirty="0"/>
              <a:t>100 cases reported after 13 million doses</a:t>
            </a:r>
          </a:p>
          <a:p>
            <a:pPr lvl="1"/>
            <a:r>
              <a:rPr lang="en-US" dirty="0"/>
              <a:t>Baseline is 3000 to 6000 cases per year</a:t>
            </a:r>
          </a:p>
          <a:p>
            <a:r>
              <a:rPr lang="en-US" dirty="0"/>
              <a:t>Onset about 2 weeks after immunization</a:t>
            </a:r>
          </a:p>
          <a:p>
            <a:r>
              <a:rPr lang="en-US" dirty="0"/>
              <a:t>FDA added warning to J&amp;J EUA fact sheet on 7/12/21</a:t>
            </a:r>
          </a:p>
        </p:txBody>
      </p:sp>
      <p:pic>
        <p:nvPicPr>
          <p:cNvPr id="4" name="Picture 3"/>
          <p:cNvPicPr>
            <a:picLocks noChangeAspect="1"/>
          </p:cNvPicPr>
          <p:nvPr/>
        </p:nvPicPr>
        <p:blipFill>
          <a:blip r:embed="rId3"/>
          <a:stretch>
            <a:fillRect/>
          </a:stretch>
        </p:blipFill>
        <p:spPr>
          <a:xfrm>
            <a:off x="6186779" y="4856742"/>
            <a:ext cx="5449246" cy="1234094"/>
          </a:xfrm>
          <a:prstGeom prst="rect">
            <a:avLst/>
          </a:prstGeom>
        </p:spPr>
      </p:pic>
      <p:sp>
        <p:nvSpPr>
          <p:cNvPr id="5" name="TextBox 4"/>
          <p:cNvSpPr txBox="1"/>
          <p:nvPr/>
        </p:nvSpPr>
        <p:spPr>
          <a:xfrm>
            <a:off x="974690" y="5945851"/>
            <a:ext cx="462607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https://www.fda.gov/media/146304/download</a:t>
            </a:r>
          </a:p>
        </p:txBody>
      </p:sp>
    </p:spTree>
    <p:extLst>
      <p:ext uri="{BB962C8B-B14F-4D97-AF65-F5344CB8AC3E}">
        <p14:creationId xmlns:p14="http://schemas.microsoft.com/office/powerpoint/2010/main" val="142161070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45C0BE-5805-44CF-AC15-585B986E99F2}"/>
              </a:ext>
            </a:extLst>
          </p:cNvPr>
          <p:cNvSpPr>
            <a:spLocks noGrp="1"/>
          </p:cNvSpPr>
          <p:nvPr>
            <p:ph type="title"/>
          </p:nvPr>
        </p:nvSpPr>
        <p:spPr/>
        <p:txBody>
          <a:bodyPr>
            <a:normAutofit/>
          </a:bodyPr>
          <a:lstStyle/>
          <a:p>
            <a:pPr algn="ctr"/>
            <a:r>
              <a:rPr lang="en-US" sz="6000" dirty="0"/>
              <a:t>Fertility</a:t>
            </a:r>
          </a:p>
        </p:txBody>
      </p:sp>
      <p:sp>
        <p:nvSpPr>
          <p:cNvPr id="3" name="Content Placeholder 2">
            <a:extLst>
              <a:ext uri="{FF2B5EF4-FFF2-40B4-BE49-F238E27FC236}">
                <a16:creationId xmlns:a16="http://schemas.microsoft.com/office/drawing/2014/main" id="{AD11E94D-68F0-4A6E-8BCA-15B46A1E8C4C}"/>
              </a:ext>
            </a:extLst>
          </p:cNvPr>
          <p:cNvSpPr>
            <a:spLocks noGrp="1"/>
          </p:cNvSpPr>
          <p:nvPr>
            <p:ph idx="1"/>
          </p:nvPr>
        </p:nvSpPr>
        <p:spPr>
          <a:xfrm>
            <a:off x="838200" y="1532964"/>
            <a:ext cx="10515600" cy="4643999"/>
          </a:xfrm>
        </p:spPr>
        <p:txBody>
          <a:bodyPr>
            <a:normAutofit/>
          </a:bodyPr>
          <a:lstStyle/>
          <a:p>
            <a:r>
              <a:rPr lang="en-US" sz="3600" dirty="0"/>
              <a:t>No evidence of any effect of these COVID-19 vaccines on either male or female fertility</a:t>
            </a:r>
          </a:p>
          <a:p>
            <a:r>
              <a:rPr lang="en-US" sz="3600" dirty="0"/>
              <a:t>No biologic reason to expect it</a:t>
            </a:r>
          </a:p>
          <a:p>
            <a:r>
              <a:rPr lang="en-US" sz="3600" dirty="0"/>
              <a:t>No clinical evidence</a:t>
            </a:r>
          </a:p>
          <a:p>
            <a:r>
              <a:rPr lang="en-US" sz="3600" dirty="0"/>
              <a:t>ACOG recommends vaccine for all eligible people who may consider future pregnancy, as well as all pregnant and breastfeeding women</a:t>
            </a:r>
          </a:p>
          <a:p>
            <a:endParaRPr lang="en-US" sz="3600" dirty="0"/>
          </a:p>
        </p:txBody>
      </p:sp>
      <p:sp>
        <p:nvSpPr>
          <p:cNvPr id="4" name="TextBox 3">
            <a:extLst>
              <a:ext uri="{FF2B5EF4-FFF2-40B4-BE49-F238E27FC236}">
                <a16:creationId xmlns:a16="http://schemas.microsoft.com/office/drawing/2014/main" id="{37370501-7428-4119-835E-84CF63D22BC5}"/>
              </a:ext>
            </a:extLst>
          </p:cNvPr>
          <p:cNvSpPr txBox="1"/>
          <p:nvPr/>
        </p:nvSpPr>
        <p:spPr>
          <a:xfrm>
            <a:off x="1127251" y="5569545"/>
            <a:ext cx="11217150"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hlinkClick r:id="rId2"/>
              </a:rPr>
              <a:t>https://www.cdc.gov/coronavirus/2019-ncov/vaccines/facts.html</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hlinkClick r:id="rId3"/>
              </a:rPr>
              <a:t>https://www.acog.org/clinical/clinical-guidance/practice-advisory/articles/2020/12/covid-19-vaccination-considerations-for-obstetric-gynecologic-care</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a:t>
            </a:r>
          </a:p>
        </p:txBody>
      </p:sp>
      <p:pic>
        <p:nvPicPr>
          <p:cNvPr id="6" name="Picture 5">
            <a:extLst>
              <a:ext uri="{FF2B5EF4-FFF2-40B4-BE49-F238E27FC236}">
                <a16:creationId xmlns:a16="http://schemas.microsoft.com/office/drawing/2014/main" id="{68EFA9DA-D25C-46AC-9651-735315FF9888}"/>
              </a:ext>
            </a:extLst>
          </p:cNvPr>
          <p:cNvPicPr>
            <a:picLocks noChangeAspect="1"/>
          </p:cNvPicPr>
          <p:nvPr/>
        </p:nvPicPr>
        <p:blipFill>
          <a:blip r:embed="rId4"/>
          <a:stretch>
            <a:fillRect/>
          </a:stretch>
        </p:blipFill>
        <p:spPr>
          <a:xfrm>
            <a:off x="10067677" y="2419139"/>
            <a:ext cx="1781424" cy="1514686"/>
          </a:xfrm>
          <a:prstGeom prst="rect">
            <a:avLst/>
          </a:prstGeom>
        </p:spPr>
      </p:pic>
    </p:spTree>
    <p:extLst>
      <p:ext uri="{BB962C8B-B14F-4D97-AF65-F5344CB8AC3E}">
        <p14:creationId xmlns:p14="http://schemas.microsoft.com/office/powerpoint/2010/main" val="260683852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COVID-19 Variants</a:t>
            </a:r>
          </a:p>
        </p:txBody>
      </p:sp>
      <p:sp>
        <p:nvSpPr>
          <p:cNvPr id="3" name="Content Placeholder 2"/>
          <p:cNvSpPr>
            <a:spLocks noGrp="1"/>
          </p:cNvSpPr>
          <p:nvPr>
            <p:ph idx="1"/>
          </p:nvPr>
        </p:nvSpPr>
        <p:spPr>
          <a:xfrm>
            <a:off x="838200" y="1343303"/>
            <a:ext cx="10515600" cy="4977109"/>
          </a:xfrm>
        </p:spPr>
        <p:txBody>
          <a:bodyPr>
            <a:normAutofit/>
          </a:bodyPr>
          <a:lstStyle/>
          <a:p>
            <a:r>
              <a:rPr lang="en-US" dirty="0"/>
              <a:t>Arise as viruses multiply</a:t>
            </a:r>
          </a:p>
          <a:p>
            <a:r>
              <a:rPr lang="en-US" dirty="0"/>
              <a:t>Variants of interest – changes in binding protein, therapy, possible increased illness and transmission</a:t>
            </a:r>
          </a:p>
          <a:p>
            <a:pPr lvl="1"/>
            <a:r>
              <a:rPr lang="en-US" dirty="0"/>
              <a:t>Many: arising in US and globally</a:t>
            </a:r>
          </a:p>
          <a:p>
            <a:r>
              <a:rPr lang="en-US" dirty="0"/>
              <a:t>Variants of concern – increased transmission and illness, decreased susceptibility to antibodies and therapy</a:t>
            </a:r>
          </a:p>
          <a:p>
            <a:pPr lvl="1"/>
            <a:r>
              <a:rPr lang="en-US" dirty="0"/>
              <a:t>B1.1.7 alpha UK; B1.351 beta So Africa; B1.617.2 delta India; P1 gamma Japan/Brazil</a:t>
            </a:r>
          </a:p>
          <a:p>
            <a:r>
              <a:rPr lang="en-US" dirty="0"/>
              <a:t>Variants of high consequence – reduced susceptibility to preventive measures and countermeasures</a:t>
            </a:r>
          </a:p>
          <a:p>
            <a:pPr lvl="1"/>
            <a:r>
              <a:rPr lang="en-US" dirty="0"/>
              <a:t>None yet</a:t>
            </a:r>
          </a:p>
          <a:p>
            <a:pPr lvl="1"/>
            <a:endParaRPr lang="en-US" dirty="0"/>
          </a:p>
        </p:txBody>
      </p:sp>
      <p:sp>
        <p:nvSpPr>
          <p:cNvPr id="4" name="TextBox 3">
            <a:extLst>
              <a:ext uri="{FF2B5EF4-FFF2-40B4-BE49-F238E27FC236}">
                <a16:creationId xmlns:a16="http://schemas.microsoft.com/office/drawing/2014/main" id="{CA839583-5030-45CB-8F42-7BBA94185CF3}"/>
              </a:ext>
            </a:extLst>
          </p:cNvPr>
          <p:cNvSpPr txBox="1"/>
          <p:nvPr/>
        </p:nvSpPr>
        <p:spPr>
          <a:xfrm>
            <a:off x="2156346" y="6123543"/>
            <a:ext cx="6471965" cy="369332"/>
          </a:xfrm>
          <a:prstGeom prst="rect">
            <a:avLst/>
          </a:prstGeom>
          <a:noFill/>
        </p:spPr>
        <p:txBody>
          <a:bodyPr wrap="none" rtlCol="0">
            <a:spAutoFit/>
          </a:bodyPr>
          <a:lstStyle/>
          <a:p>
            <a:r>
              <a:rPr lang="en-US" dirty="0">
                <a:hlinkClick r:id="rId2"/>
              </a:rPr>
              <a:t>https://www.cdc.gov/coronavirus/2019-ncov/variants/variant.html</a:t>
            </a:r>
            <a:r>
              <a:rPr lang="en-US" dirty="0"/>
              <a:t> </a:t>
            </a:r>
          </a:p>
        </p:txBody>
      </p:sp>
    </p:spTree>
    <p:extLst>
      <p:ext uri="{BB962C8B-B14F-4D97-AF65-F5344CB8AC3E}">
        <p14:creationId xmlns:p14="http://schemas.microsoft.com/office/powerpoint/2010/main" val="61473877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09217" y="121719"/>
            <a:ext cx="10515600" cy="1125875"/>
          </a:xfrm>
        </p:spPr>
        <p:txBody>
          <a:bodyPr/>
          <a:lstStyle/>
          <a:p>
            <a:pPr algn="ctr"/>
            <a:r>
              <a:rPr lang="en-US" dirty="0"/>
              <a:t>COVID-19 Variants</a:t>
            </a:r>
          </a:p>
        </p:txBody>
      </p:sp>
      <p:sp>
        <p:nvSpPr>
          <p:cNvPr id="22" name="TextBox 21">
            <a:extLst>
              <a:ext uri="{FF2B5EF4-FFF2-40B4-BE49-F238E27FC236}">
                <a16:creationId xmlns:a16="http://schemas.microsoft.com/office/drawing/2014/main" id="{7CE53D66-8B11-4A66-9D99-F9BFE5E95C41}"/>
              </a:ext>
            </a:extLst>
          </p:cNvPr>
          <p:cNvSpPr txBox="1"/>
          <p:nvPr/>
        </p:nvSpPr>
        <p:spPr>
          <a:xfrm>
            <a:off x="825050" y="6496820"/>
            <a:ext cx="995945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hlinkClick r:id="rId3"/>
              </a:rPr>
              <a:t>https://www.nj.gov/health/cd/documents/topics/NCOV/COVID_19_Variant_Report_Week_2021_34.pdf</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a:t>
            </a:r>
          </a:p>
        </p:txBody>
      </p:sp>
      <p:pic>
        <p:nvPicPr>
          <p:cNvPr id="5" name="Picture 4">
            <a:extLst>
              <a:ext uri="{FF2B5EF4-FFF2-40B4-BE49-F238E27FC236}">
                <a16:creationId xmlns:a16="http://schemas.microsoft.com/office/drawing/2014/main" id="{8F3781BC-498C-4152-8230-1C677A13E384}"/>
              </a:ext>
            </a:extLst>
          </p:cNvPr>
          <p:cNvPicPr>
            <a:picLocks noChangeAspect="1"/>
          </p:cNvPicPr>
          <p:nvPr/>
        </p:nvPicPr>
        <p:blipFill>
          <a:blip r:embed="rId4"/>
          <a:stretch>
            <a:fillRect/>
          </a:stretch>
        </p:blipFill>
        <p:spPr>
          <a:xfrm>
            <a:off x="311724" y="909378"/>
            <a:ext cx="4839151" cy="5525271"/>
          </a:xfrm>
          <a:prstGeom prst="rect">
            <a:avLst/>
          </a:prstGeom>
        </p:spPr>
      </p:pic>
      <p:pic>
        <p:nvPicPr>
          <p:cNvPr id="8" name="Picture 7">
            <a:extLst>
              <a:ext uri="{FF2B5EF4-FFF2-40B4-BE49-F238E27FC236}">
                <a16:creationId xmlns:a16="http://schemas.microsoft.com/office/drawing/2014/main" id="{AB43AE5A-BC9E-421C-83A8-E9F56498145D}"/>
              </a:ext>
            </a:extLst>
          </p:cNvPr>
          <p:cNvPicPr>
            <a:picLocks noChangeAspect="1"/>
          </p:cNvPicPr>
          <p:nvPr/>
        </p:nvPicPr>
        <p:blipFill>
          <a:blip r:embed="rId5"/>
          <a:stretch>
            <a:fillRect/>
          </a:stretch>
        </p:blipFill>
        <p:spPr>
          <a:xfrm>
            <a:off x="311724" y="294030"/>
            <a:ext cx="3343742" cy="578203"/>
          </a:xfrm>
          <a:prstGeom prst="rect">
            <a:avLst/>
          </a:prstGeom>
        </p:spPr>
      </p:pic>
      <p:pic>
        <p:nvPicPr>
          <p:cNvPr id="12" name="Picture 11">
            <a:extLst>
              <a:ext uri="{FF2B5EF4-FFF2-40B4-BE49-F238E27FC236}">
                <a16:creationId xmlns:a16="http://schemas.microsoft.com/office/drawing/2014/main" id="{5E86E1C0-8E6B-4675-8146-C2E1D74234F7}"/>
              </a:ext>
            </a:extLst>
          </p:cNvPr>
          <p:cNvPicPr>
            <a:picLocks noChangeAspect="1"/>
          </p:cNvPicPr>
          <p:nvPr/>
        </p:nvPicPr>
        <p:blipFill>
          <a:blip r:embed="rId6"/>
          <a:stretch>
            <a:fillRect/>
          </a:stretch>
        </p:blipFill>
        <p:spPr>
          <a:xfrm>
            <a:off x="5497978" y="968261"/>
            <a:ext cx="6524332" cy="5389062"/>
          </a:xfrm>
          <a:prstGeom prst="rect">
            <a:avLst/>
          </a:prstGeom>
        </p:spPr>
      </p:pic>
      <p:pic>
        <p:nvPicPr>
          <p:cNvPr id="14" name="Picture 13">
            <a:extLst>
              <a:ext uri="{FF2B5EF4-FFF2-40B4-BE49-F238E27FC236}">
                <a16:creationId xmlns:a16="http://schemas.microsoft.com/office/drawing/2014/main" id="{BCAA9A2B-0B92-4603-BDBA-B1EEF3AE551F}"/>
              </a:ext>
            </a:extLst>
          </p:cNvPr>
          <p:cNvPicPr>
            <a:picLocks noChangeAspect="1"/>
          </p:cNvPicPr>
          <p:nvPr/>
        </p:nvPicPr>
        <p:blipFill>
          <a:blip r:embed="rId7"/>
          <a:stretch>
            <a:fillRect/>
          </a:stretch>
        </p:blipFill>
        <p:spPr>
          <a:xfrm>
            <a:off x="5194392" y="1153037"/>
            <a:ext cx="1240441" cy="4551925"/>
          </a:xfrm>
          <a:prstGeom prst="rect">
            <a:avLst/>
          </a:prstGeom>
        </p:spPr>
      </p:pic>
      <p:sp>
        <p:nvSpPr>
          <p:cNvPr id="23" name="TextBox 22">
            <a:extLst>
              <a:ext uri="{FF2B5EF4-FFF2-40B4-BE49-F238E27FC236}">
                <a16:creationId xmlns:a16="http://schemas.microsoft.com/office/drawing/2014/main" id="{B0F66768-F686-4ACE-8FB1-409AC60223F9}"/>
              </a:ext>
            </a:extLst>
          </p:cNvPr>
          <p:cNvSpPr txBox="1"/>
          <p:nvPr/>
        </p:nvSpPr>
        <p:spPr>
          <a:xfrm>
            <a:off x="669256" y="1594012"/>
            <a:ext cx="1120534"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panose="020F0502020204030204"/>
                <a:ea typeface="+mn-ea"/>
                <a:cs typeface="+mn-cs"/>
              </a:rPr>
              <a:t>Alph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panose="020F0502020204030204"/>
                <a:ea typeface="+mn-ea"/>
                <a:cs typeface="+mn-cs"/>
              </a:rPr>
              <a:t>  UK</a:t>
            </a:r>
          </a:p>
        </p:txBody>
      </p:sp>
      <p:sp>
        <p:nvSpPr>
          <p:cNvPr id="26" name="TextBox 25">
            <a:extLst>
              <a:ext uri="{FF2B5EF4-FFF2-40B4-BE49-F238E27FC236}">
                <a16:creationId xmlns:a16="http://schemas.microsoft.com/office/drawing/2014/main" id="{98161267-3C7B-48CD-A7BF-16A8DFABC099}"/>
              </a:ext>
            </a:extLst>
          </p:cNvPr>
          <p:cNvSpPr txBox="1"/>
          <p:nvPr/>
        </p:nvSpPr>
        <p:spPr>
          <a:xfrm>
            <a:off x="3370676" y="3945886"/>
            <a:ext cx="866135"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panose="020F0502020204030204"/>
                <a:ea typeface="+mn-ea"/>
                <a:cs typeface="+mn-cs"/>
              </a:rPr>
              <a:t>Delt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panose="020F0502020204030204"/>
                <a:ea typeface="+mn-ea"/>
                <a:cs typeface="+mn-cs"/>
              </a:rPr>
              <a:t>India</a:t>
            </a:r>
          </a:p>
        </p:txBody>
      </p:sp>
      <p:sp>
        <p:nvSpPr>
          <p:cNvPr id="27" name="TextBox 26">
            <a:extLst>
              <a:ext uri="{FF2B5EF4-FFF2-40B4-BE49-F238E27FC236}">
                <a16:creationId xmlns:a16="http://schemas.microsoft.com/office/drawing/2014/main" id="{A3C163A2-DBB0-44F9-9E12-91E6F971A9A6}"/>
              </a:ext>
            </a:extLst>
          </p:cNvPr>
          <p:cNvSpPr txBox="1"/>
          <p:nvPr/>
        </p:nvSpPr>
        <p:spPr>
          <a:xfrm>
            <a:off x="8533397" y="3480871"/>
            <a:ext cx="1120534"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panose="020F0502020204030204"/>
                <a:ea typeface="+mn-ea"/>
                <a:cs typeface="+mn-cs"/>
              </a:rPr>
              <a:t>Alph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panose="020F0502020204030204"/>
                <a:ea typeface="+mn-ea"/>
                <a:cs typeface="+mn-cs"/>
              </a:rPr>
              <a:t>  UK</a:t>
            </a:r>
          </a:p>
        </p:txBody>
      </p:sp>
      <p:sp>
        <p:nvSpPr>
          <p:cNvPr id="28" name="TextBox 27">
            <a:extLst>
              <a:ext uri="{FF2B5EF4-FFF2-40B4-BE49-F238E27FC236}">
                <a16:creationId xmlns:a16="http://schemas.microsoft.com/office/drawing/2014/main" id="{CB8A83D6-284A-4A0B-BFFF-B297924E9758}"/>
              </a:ext>
            </a:extLst>
          </p:cNvPr>
          <p:cNvSpPr txBox="1"/>
          <p:nvPr/>
        </p:nvSpPr>
        <p:spPr>
          <a:xfrm>
            <a:off x="10991749" y="1765742"/>
            <a:ext cx="866135"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panose="020F0502020204030204"/>
                <a:ea typeface="+mn-ea"/>
                <a:cs typeface="+mn-cs"/>
              </a:rPr>
              <a:t>Delt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panose="020F0502020204030204"/>
                <a:ea typeface="+mn-ea"/>
                <a:cs typeface="+mn-cs"/>
              </a:rPr>
              <a:t>India</a:t>
            </a:r>
          </a:p>
        </p:txBody>
      </p:sp>
      <p:sp>
        <p:nvSpPr>
          <p:cNvPr id="31" name="TextBox 30">
            <a:extLst>
              <a:ext uri="{FF2B5EF4-FFF2-40B4-BE49-F238E27FC236}">
                <a16:creationId xmlns:a16="http://schemas.microsoft.com/office/drawing/2014/main" id="{97907850-CCA9-404F-827E-1FFF86AC094C}"/>
              </a:ext>
            </a:extLst>
          </p:cNvPr>
          <p:cNvSpPr txBox="1"/>
          <p:nvPr/>
        </p:nvSpPr>
        <p:spPr>
          <a:xfrm>
            <a:off x="6025143" y="906090"/>
            <a:ext cx="4525406"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panose="020F0502020204030204"/>
                <a:ea typeface="+mn-ea"/>
                <a:cs typeface="+mn-cs"/>
              </a:rPr>
              <a:t>New Jersey – December</a:t>
            </a:r>
            <a:r>
              <a:rPr lang="en-US" sz="2400" b="1" dirty="0">
                <a:solidFill>
                  <a:prstClr val="black"/>
                </a:solidFill>
                <a:latin typeface="Calibri" panose="020F0502020204030204"/>
              </a:rPr>
              <a:t> to August</a:t>
            </a:r>
            <a:endParaRPr kumimoji="0" lang="en-US" sz="24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8847604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EFD7963-DEDB-4733-902D-E8F4D1781FD3}"/>
              </a:ext>
            </a:extLst>
          </p:cNvPr>
          <p:cNvGraphicFramePr>
            <a:graphicFrameLocks noChangeAspect="1"/>
          </p:cNvGraphicFramePr>
          <p:nvPr>
            <p:custDataLst>
              <p:tags r:id="rId1"/>
            </p:custDataLst>
          </p:nvPr>
        </p:nvGraphicFramePr>
        <p:xfrm>
          <a:off x="-2665413" y="1589"/>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7EFD7963-DEDB-4733-902D-E8F4D1781FD3}"/>
                          </a:ext>
                        </a:extLst>
                      </p:cNvPr>
                      <p:cNvPicPr/>
                      <p:nvPr/>
                    </p:nvPicPr>
                    <p:blipFill>
                      <a:blip r:embed="rId5"/>
                      <a:stretch>
                        <a:fillRect/>
                      </a:stretch>
                    </p:blipFill>
                    <p:spPr>
                      <a:xfrm>
                        <a:off x="-2665413" y="1589"/>
                        <a:ext cx="1588" cy="1588"/>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75EF27C1-DB7C-48C8-8AD0-7581913039CB}"/>
              </a:ext>
            </a:extLst>
          </p:cNvPr>
          <p:cNvSpPr txBox="1"/>
          <p:nvPr/>
        </p:nvSpPr>
        <p:spPr>
          <a:xfrm>
            <a:off x="835025" y="2023214"/>
            <a:ext cx="4535365" cy="3008003"/>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800"/>
            </a:lvl1pPr>
            <a:lvl2pPr marL="685800" lvl="1" indent="-228600">
              <a:lnSpc>
                <a:spcPct val="90000"/>
              </a:lnSpc>
              <a:spcBef>
                <a:spcPts val="500"/>
              </a:spcBef>
              <a:buFont typeface="Arial" panose="020B0604020202020204" pitchFamily="34" charset="0"/>
              <a:buChar char="•"/>
              <a:defRPr sz="2400"/>
            </a:lvl2pPr>
            <a:lvl3pPr marL="1143000" lvl="2" indent="-228600">
              <a:lnSpc>
                <a:spcPct val="90000"/>
              </a:lnSpc>
              <a:spcBef>
                <a:spcPts val="500"/>
              </a:spcBef>
              <a:buFont typeface="Arial" panose="020B0604020202020204" pitchFamily="34" charset="0"/>
              <a:buChar char="•"/>
              <a:defRPr sz="2000"/>
            </a:lvl3pPr>
            <a:lvl4pPr marL="1600200" lvl="3" indent="-228600">
              <a:lnSpc>
                <a:spcPct val="90000"/>
              </a:lnSpc>
              <a:spcBef>
                <a:spcPts val="500"/>
              </a:spcBef>
              <a:buFont typeface="Arial" panose="020B0604020202020204" pitchFamily="34" charset="0"/>
              <a:buChar char="•"/>
            </a:lvl4pPr>
            <a:lvl5pPr marL="2057400" lvl="4"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
                <a:srgbClr val="000000"/>
              </a:buClr>
              <a:buSzTx/>
              <a:buFont typeface="Arial" panose="020B0604020202020204" pitchFamily="34" charset="0"/>
              <a:buNone/>
              <a:tabLst/>
              <a:defRPr/>
            </a:pPr>
            <a:r>
              <a:rPr kumimoji="0" lang="en-US" sz="2400" b="0" i="0" u="none" strike="noStrike" kern="1200" cap="none" spc="0" normalizeH="0" baseline="0" noProof="0" dirty="0">
                <a:ln>
                  <a:noFill/>
                </a:ln>
                <a:solidFill>
                  <a:srgbClr val="000000"/>
                </a:solidFill>
                <a:effectLst/>
                <a:uLnTx/>
                <a:uFillTx/>
                <a:latin typeface="Open Sans" panose="020B0606030504020204"/>
                <a:ea typeface="+mn-ea"/>
                <a:cs typeface="+mn-cs"/>
              </a:rPr>
              <a:t>You can </a:t>
            </a:r>
            <a:r>
              <a:rPr kumimoji="0" lang="en-US" sz="2400" b="1" i="0" u="none" strike="noStrike" kern="1200" cap="none" spc="0" normalizeH="0" baseline="0" noProof="0" dirty="0">
                <a:ln>
                  <a:noFill/>
                </a:ln>
                <a:solidFill>
                  <a:srgbClr val="000000"/>
                </a:solidFill>
                <a:effectLst/>
                <a:uLnTx/>
                <a:uFillTx/>
                <a:latin typeface="Open Sans" panose="020B0606030504020204"/>
                <a:ea typeface="+mn-ea"/>
                <a:cs typeface="+mn-cs"/>
              </a:rPr>
              <a:t>make an appointment </a:t>
            </a:r>
            <a:r>
              <a:rPr kumimoji="0" lang="en-US" sz="2400" b="0" i="0" u="none" strike="noStrike" kern="1200" cap="none" spc="0" normalizeH="0" baseline="0" noProof="0" dirty="0">
                <a:ln>
                  <a:noFill/>
                </a:ln>
                <a:solidFill>
                  <a:srgbClr val="000000"/>
                </a:solidFill>
                <a:effectLst/>
                <a:uLnTx/>
                <a:uFillTx/>
                <a:latin typeface="Open Sans" panose="020B0606030504020204"/>
                <a:ea typeface="+mn-ea"/>
                <a:cs typeface="+mn-cs"/>
              </a:rPr>
              <a:t>for the COVID-19 vaccine, </a:t>
            </a:r>
            <a:r>
              <a:rPr kumimoji="0" lang="en-US" sz="2400" b="1" i="0" u="none" strike="noStrike" kern="1200" cap="none" spc="0" normalizeH="0" baseline="0" noProof="0" dirty="0">
                <a:ln>
                  <a:noFill/>
                </a:ln>
                <a:solidFill>
                  <a:srgbClr val="000000"/>
                </a:solidFill>
                <a:effectLst/>
                <a:uLnTx/>
                <a:uFillTx/>
                <a:latin typeface="Open Sans" panose="020B0606030504020204"/>
                <a:ea typeface="+mn-ea"/>
                <a:cs typeface="+mn-cs"/>
              </a:rPr>
              <a:t>get help </a:t>
            </a:r>
            <a:r>
              <a:rPr kumimoji="0" lang="en-US" sz="2400" b="0" i="0" u="none" strike="noStrike" kern="1200" cap="none" spc="0" normalizeH="0" baseline="0" noProof="0" dirty="0">
                <a:ln>
                  <a:noFill/>
                </a:ln>
                <a:solidFill>
                  <a:srgbClr val="000000"/>
                </a:solidFill>
                <a:effectLst/>
                <a:uLnTx/>
                <a:uFillTx/>
                <a:latin typeface="Open Sans" panose="020B0606030504020204"/>
                <a:ea typeface="+mn-ea"/>
                <a:cs typeface="+mn-cs"/>
              </a:rPr>
              <a:t>with the scheduling system, </a:t>
            </a:r>
            <a:r>
              <a:rPr kumimoji="0" lang="en-US" sz="2400" b="1" i="0" u="none" strike="noStrike" kern="1200" cap="none" spc="0" normalizeH="0" baseline="0" noProof="0" dirty="0">
                <a:ln>
                  <a:noFill/>
                </a:ln>
                <a:solidFill>
                  <a:srgbClr val="000000"/>
                </a:solidFill>
                <a:effectLst/>
                <a:uLnTx/>
                <a:uFillTx/>
                <a:latin typeface="Open Sans" panose="020B0606030504020204"/>
                <a:ea typeface="+mn-ea"/>
                <a:cs typeface="+mn-cs"/>
              </a:rPr>
              <a:t>check registration </a:t>
            </a:r>
            <a:r>
              <a:rPr kumimoji="0" lang="en-US" sz="2400" b="0" i="0" u="none" strike="noStrike" kern="1200" cap="none" spc="0" normalizeH="0" baseline="0" noProof="0" dirty="0">
                <a:ln>
                  <a:noFill/>
                </a:ln>
                <a:solidFill>
                  <a:srgbClr val="000000"/>
                </a:solidFill>
                <a:effectLst/>
                <a:uLnTx/>
                <a:uFillTx/>
                <a:latin typeface="Open Sans" panose="020B0606030504020204"/>
                <a:ea typeface="+mn-ea"/>
                <a:cs typeface="+mn-cs"/>
              </a:rPr>
              <a:t>status, and </a:t>
            </a:r>
            <a:r>
              <a:rPr kumimoji="0" lang="en-US" sz="2400" b="1" i="0" u="none" strike="noStrike" kern="1200" cap="none" spc="0" normalizeH="0" baseline="0" noProof="0" dirty="0">
                <a:ln>
                  <a:noFill/>
                </a:ln>
                <a:solidFill>
                  <a:srgbClr val="000000"/>
                </a:solidFill>
                <a:effectLst/>
                <a:uLnTx/>
                <a:uFillTx/>
                <a:latin typeface="Open Sans" panose="020B0606030504020204"/>
                <a:ea typeface="+mn-ea"/>
                <a:cs typeface="+mn-cs"/>
              </a:rPr>
              <a:t>ask vaccine questions</a:t>
            </a:r>
            <a:r>
              <a:rPr kumimoji="0" lang="en-US" sz="2400" b="0" i="0" u="none" strike="noStrike" kern="1200" cap="none" spc="0" normalizeH="0" baseline="0" noProof="0" dirty="0">
                <a:ln>
                  <a:noFill/>
                </a:ln>
                <a:solidFill>
                  <a:srgbClr val="000000"/>
                </a:solidFill>
                <a:effectLst/>
                <a:uLnTx/>
                <a:uFillTx/>
                <a:latin typeface="Open Sans" panose="020B0606030504020204"/>
                <a:ea typeface="+mn-ea"/>
                <a:cs typeface="+mn-cs"/>
              </a:rPr>
              <a:t> by phone</a:t>
            </a:r>
          </a:p>
          <a:p>
            <a:pPr marL="0" marR="0" lvl="0" indent="0" algn="l" defTabSz="914400" rtl="0" eaLnBrk="1" fontAlgn="auto" latinLnBrk="0" hangingPunct="1">
              <a:lnSpc>
                <a:spcPct val="90000"/>
              </a:lnSpc>
              <a:spcBef>
                <a:spcPts val="1000"/>
              </a:spcBef>
              <a:spcAft>
                <a:spcPts val="0"/>
              </a:spcAft>
              <a:buClr>
                <a:srgbClr val="000000"/>
              </a:buClr>
              <a:buSzTx/>
              <a:buFont typeface="Arial" panose="020B0604020202020204" pitchFamily="34" charset="0"/>
              <a:buNone/>
              <a:tabLst/>
              <a:defRPr/>
            </a:pPr>
            <a:endParaRPr kumimoji="0" lang="en-US" sz="2400" b="0" i="0" u="none" strike="noStrike" kern="1200" cap="none" spc="0" normalizeH="0" baseline="0" noProof="0" dirty="0">
              <a:ln>
                <a:noFill/>
              </a:ln>
              <a:solidFill>
                <a:srgbClr val="000000"/>
              </a:solidFill>
              <a:effectLst/>
              <a:uLnTx/>
              <a:uFillTx/>
              <a:latin typeface="Open Sans" panose="020B0606030504020204"/>
              <a:ea typeface="+mn-ea"/>
              <a:cs typeface="+mn-cs"/>
            </a:endParaRPr>
          </a:p>
          <a:p>
            <a:pPr marL="0" marR="0" lvl="0" indent="0" algn="l" defTabSz="914400" rtl="0" eaLnBrk="1" fontAlgn="auto" latinLnBrk="0" hangingPunct="1">
              <a:lnSpc>
                <a:spcPct val="90000"/>
              </a:lnSpc>
              <a:spcBef>
                <a:spcPts val="1000"/>
              </a:spcBef>
              <a:spcAft>
                <a:spcPts val="0"/>
              </a:spcAft>
              <a:buClr>
                <a:srgbClr val="000000"/>
              </a:buClr>
              <a:buSzTx/>
              <a:buFont typeface="Arial" panose="020B0604020202020204" pitchFamily="34" charset="0"/>
              <a:buNone/>
              <a:tabLst/>
              <a:defRPr/>
            </a:pPr>
            <a:r>
              <a:rPr kumimoji="0" lang="en-US" sz="2400" b="1" i="0" u="none" strike="noStrike" kern="1200" cap="none" spc="0" normalizeH="0" baseline="0" noProof="0" dirty="0">
                <a:ln>
                  <a:noFill/>
                </a:ln>
                <a:solidFill>
                  <a:srgbClr val="000000"/>
                </a:solidFill>
                <a:effectLst/>
                <a:uLnTx/>
                <a:uFillTx/>
                <a:latin typeface="Open Sans" panose="020B0606030504020204"/>
                <a:ea typeface="+mn-ea"/>
                <a:cs typeface="+mn-cs"/>
              </a:rPr>
              <a:t>Interpreters are available</a:t>
            </a:r>
          </a:p>
        </p:txBody>
      </p:sp>
      <p:sp>
        <p:nvSpPr>
          <p:cNvPr id="37" name="TextBox 36">
            <a:extLst>
              <a:ext uri="{FF2B5EF4-FFF2-40B4-BE49-F238E27FC236}">
                <a16:creationId xmlns:a16="http://schemas.microsoft.com/office/drawing/2014/main" id="{DD5DAA7E-16DB-4B39-B325-1C0E114C1D64}"/>
              </a:ext>
            </a:extLst>
          </p:cNvPr>
          <p:cNvSpPr txBox="1">
            <a:spLocks/>
          </p:cNvSpPr>
          <p:nvPr/>
        </p:nvSpPr>
        <p:spPr>
          <a:xfrm>
            <a:off x="685056" y="5072169"/>
            <a:ext cx="8480219" cy="923330"/>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800"/>
            </a:lvl1pPr>
            <a:lvl2pPr marL="685800" lvl="1" indent="-228600">
              <a:lnSpc>
                <a:spcPct val="90000"/>
              </a:lnSpc>
              <a:spcBef>
                <a:spcPts val="500"/>
              </a:spcBef>
              <a:buFont typeface="Arial" panose="020B0604020202020204" pitchFamily="34" charset="0"/>
              <a:buChar char="•"/>
              <a:defRPr sz="2400"/>
            </a:lvl2pPr>
            <a:lvl3pPr marL="1143000" lvl="2" indent="-228600">
              <a:lnSpc>
                <a:spcPct val="90000"/>
              </a:lnSpc>
              <a:spcBef>
                <a:spcPts val="500"/>
              </a:spcBef>
              <a:buFont typeface="Arial" panose="020B0604020202020204" pitchFamily="34" charset="0"/>
              <a:buChar char="•"/>
              <a:defRPr sz="2000"/>
            </a:lvl3pPr>
            <a:lvl4pPr marL="1600200" lvl="3" indent="-228600">
              <a:lnSpc>
                <a:spcPct val="90000"/>
              </a:lnSpc>
              <a:spcBef>
                <a:spcPts val="500"/>
              </a:spcBef>
              <a:buFont typeface="Arial" panose="020B0604020202020204" pitchFamily="34" charset="0"/>
              <a:buChar char="•"/>
            </a:lvl4pPr>
            <a:lvl5pPr marL="2057400" lvl="4"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3429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6000" b="1" i="0" u="none" strike="noStrike" kern="1200" cap="none" spc="0" normalizeH="0" baseline="0" noProof="0" dirty="0">
                <a:ln>
                  <a:noFill/>
                </a:ln>
                <a:solidFill>
                  <a:srgbClr val="00A261"/>
                </a:solidFill>
                <a:effectLst/>
                <a:uLnTx/>
                <a:uFillTx/>
                <a:latin typeface="Open Sans" panose="020B0606030504020204"/>
                <a:ea typeface="+mn-ea"/>
                <a:cs typeface="+mn-cs"/>
              </a:rPr>
              <a:t>Call </a:t>
            </a:r>
            <a:r>
              <a:rPr kumimoji="0" lang="en-US" sz="6000" b="1" i="0" u="none" strike="noStrike" kern="1200" cap="none" spc="0" normalizeH="0" baseline="0" noProof="0" dirty="0">
                <a:ln>
                  <a:noFill/>
                </a:ln>
                <a:solidFill>
                  <a:srgbClr val="0962AB"/>
                </a:solidFill>
                <a:effectLst/>
                <a:uLnTx/>
                <a:uFillTx/>
                <a:latin typeface="Open Sans" panose="020B0606030504020204"/>
                <a:ea typeface="+mn-ea"/>
                <a:cs typeface="+mn-cs"/>
              </a:rPr>
              <a:t>855-568-0545</a:t>
            </a:r>
          </a:p>
        </p:txBody>
      </p:sp>
      <p:grpSp>
        <p:nvGrpSpPr>
          <p:cNvPr id="2" name="Group 1">
            <a:extLst>
              <a:ext uri="{FF2B5EF4-FFF2-40B4-BE49-F238E27FC236}">
                <a16:creationId xmlns:a16="http://schemas.microsoft.com/office/drawing/2014/main" id="{65AED042-51A6-415E-BA58-B424F3F57066}"/>
              </a:ext>
            </a:extLst>
          </p:cNvPr>
          <p:cNvGrpSpPr/>
          <p:nvPr/>
        </p:nvGrpSpPr>
        <p:grpSpPr>
          <a:xfrm>
            <a:off x="5712624" y="3086100"/>
            <a:ext cx="5686862" cy="3263378"/>
            <a:chOff x="3159924" y="3268506"/>
            <a:chExt cx="5686862" cy="3080972"/>
          </a:xfrm>
        </p:grpSpPr>
        <p:grpSp>
          <p:nvGrpSpPr>
            <p:cNvPr id="322" name="Group 321">
              <a:extLst>
                <a:ext uri="{FF2B5EF4-FFF2-40B4-BE49-F238E27FC236}">
                  <a16:creationId xmlns:a16="http://schemas.microsoft.com/office/drawing/2014/main" id="{B825D80F-4D34-47A2-A993-B51A08A682B9}"/>
                </a:ext>
              </a:extLst>
            </p:cNvPr>
            <p:cNvGrpSpPr/>
            <p:nvPr/>
          </p:nvGrpSpPr>
          <p:grpSpPr>
            <a:xfrm>
              <a:off x="6256953" y="3428112"/>
              <a:ext cx="2589833" cy="2921366"/>
              <a:chOff x="303330" y="2078484"/>
              <a:chExt cx="1855438" cy="2763183"/>
            </a:xfrm>
          </p:grpSpPr>
          <p:sp>
            <p:nvSpPr>
              <p:cNvPr id="335" name="Freeform: Shape 334">
                <a:extLst>
                  <a:ext uri="{FF2B5EF4-FFF2-40B4-BE49-F238E27FC236}">
                    <a16:creationId xmlns:a16="http://schemas.microsoft.com/office/drawing/2014/main" id="{CBF345A7-05C7-46DD-A8CA-964863086923}"/>
                  </a:ext>
                </a:extLst>
              </p:cNvPr>
              <p:cNvSpPr/>
              <p:nvPr/>
            </p:nvSpPr>
            <p:spPr>
              <a:xfrm>
                <a:off x="303330" y="2800154"/>
                <a:ext cx="1855438" cy="1851033"/>
              </a:xfrm>
              <a:custGeom>
                <a:avLst/>
                <a:gdLst>
                  <a:gd name="connsiteX0" fmla="*/ 1709312 w 1855438"/>
                  <a:gd name="connsiteY0" fmla="*/ 1178810 h 1851033"/>
                  <a:gd name="connsiteX1" fmla="*/ 1855439 w 1855438"/>
                  <a:gd name="connsiteY1" fmla="*/ 1006611 h 1851033"/>
                  <a:gd name="connsiteX2" fmla="*/ 1630765 w 1855438"/>
                  <a:gd name="connsiteY2" fmla="*/ 822785 h 1851033"/>
                  <a:gd name="connsiteX3" fmla="*/ 1623962 w 1855438"/>
                  <a:gd name="connsiteY3" fmla="*/ 822875 h 1851033"/>
                  <a:gd name="connsiteX4" fmla="*/ 1623633 w 1855438"/>
                  <a:gd name="connsiteY4" fmla="*/ 822875 h 1851033"/>
                  <a:gd name="connsiteX5" fmla="*/ 1557132 w 1855438"/>
                  <a:gd name="connsiteY5" fmla="*/ 832944 h 1851033"/>
                  <a:gd name="connsiteX6" fmla="*/ 1557162 w 1855438"/>
                  <a:gd name="connsiteY6" fmla="*/ 832944 h 1851033"/>
                  <a:gd name="connsiteX7" fmla="*/ 1505077 w 1855438"/>
                  <a:gd name="connsiteY7" fmla="*/ 849337 h 1851033"/>
                  <a:gd name="connsiteX8" fmla="*/ 937774 w 1855438"/>
                  <a:gd name="connsiteY8" fmla="*/ 0 h 1851033"/>
                  <a:gd name="connsiteX9" fmla="*/ 927704 w 1855438"/>
                  <a:gd name="connsiteY9" fmla="*/ 90 h 1851033"/>
                  <a:gd name="connsiteX10" fmla="*/ 917635 w 1855438"/>
                  <a:gd name="connsiteY10" fmla="*/ 0 h 1851033"/>
                  <a:gd name="connsiteX11" fmla="*/ 350332 w 1855438"/>
                  <a:gd name="connsiteY11" fmla="*/ 849337 h 1851033"/>
                  <a:gd name="connsiteX12" fmla="*/ 298246 w 1855438"/>
                  <a:gd name="connsiteY12" fmla="*/ 832944 h 1851033"/>
                  <a:gd name="connsiteX13" fmla="*/ 298246 w 1855438"/>
                  <a:gd name="connsiteY13" fmla="*/ 832944 h 1851033"/>
                  <a:gd name="connsiteX14" fmla="*/ 231746 w 1855438"/>
                  <a:gd name="connsiteY14" fmla="*/ 822875 h 1851033"/>
                  <a:gd name="connsiteX15" fmla="*/ 231417 w 1855438"/>
                  <a:gd name="connsiteY15" fmla="*/ 822875 h 1851033"/>
                  <a:gd name="connsiteX16" fmla="*/ 224614 w 1855438"/>
                  <a:gd name="connsiteY16" fmla="*/ 822785 h 1851033"/>
                  <a:gd name="connsiteX17" fmla="*/ 0 w 1855438"/>
                  <a:gd name="connsiteY17" fmla="*/ 1006581 h 1851033"/>
                  <a:gd name="connsiteX18" fmla="*/ 146096 w 1855438"/>
                  <a:gd name="connsiteY18" fmla="*/ 1178780 h 1851033"/>
                  <a:gd name="connsiteX19" fmla="*/ 152510 w 1855438"/>
                  <a:gd name="connsiteY19" fmla="*/ 1181058 h 1851033"/>
                  <a:gd name="connsiteX20" fmla="*/ 165696 w 1855438"/>
                  <a:gd name="connsiteY20" fmla="*/ 1185104 h 1851033"/>
                  <a:gd name="connsiteX21" fmla="*/ 165336 w 1855438"/>
                  <a:gd name="connsiteY21" fmla="*/ 1188490 h 1851033"/>
                  <a:gd name="connsiteX22" fmla="*/ 151641 w 1855438"/>
                  <a:gd name="connsiteY22" fmla="*/ 1446878 h 1851033"/>
                  <a:gd name="connsiteX23" fmla="*/ 228809 w 1855438"/>
                  <a:gd name="connsiteY23" fmla="*/ 1806170 h 1851033"/>
                  <a:gd name="connsiteX24" fmla="*/ 237770 w 1855438"/>
                  <a:gd name="connsiteY24" fmla="*/ 1820945 h 1851033"/>
                  <a:gd name="connsiteX25" fmla="*/ 237770 w 1855438"/>
                  <a:gd name="connsiteY25" fmla="*/ 1820945 h 1851033"/>
                  <a:gd name="connsiteX26" fmla="*/ 239928 w 1855438"/>
                  <a:gd name="connsiteY26" fmla="*/ 1823672 h 1851033"/>
                  <a:gd name="connsiteX27" fmla="*/ 242235 w 1855438"/>
                  <a:gd name="connsiteY27" fmla="*/ 1826339 h 1851033"/>
                  <a:gd name="connsiteX28" fmla="*/ 247839 w 1855438"/>
                  <a:gd name="connsiteY28" fmla="*/ 1831973 h 1851033"/>
                  <a:gd name="connsiteX29" fmla="*/ 250866 w 1855438"/>
                  <a:gd name="connsiteY29" fmla="*/ 1834611 h 1851033"/>
                  <a:gd name="connsiteX30" fmla="*/ 255032 w 1855438"/>
                  <a:gd name="connsiteY30" fmla="*/ 1837877 h 1851033"/>
                  <a:gd name="connsiteX31" fmla="*/ 257279 w 1855438"/>
                  <a:gd name="connsiteY31" fmla="*/ 1839465 h 1851033"/>
                  <a:gd name="connsiteX32" fmla="*/ 260456 w 1855438"/>
                  <a:gd name="connsiteY32" fmla="*/ 1841503 h 1851033"/>
                  <a:gd name="connsiteX33" fmla="*/ 264112 w 1855438"/>
                  <a:gd name="connsiteY33" fmla="*/ 1843631 h 1851033"/>
                  <a:gd name="connsiteX34" fmla="*/ 266869 w 1855438"/>
                  <a:gd name="connsiteY34" fmla="*/ 1845070 h 1851033"/>
                  <a:gd name="connsiteX35" fmla="*/ 268368 w 1855438"/>
                  <a:gd name="connsiteY35" fmla="*/ 1845759 h 1851033"/>
                  <a:gd name="connsiteX36" fmla="*/ 275440 w 1855438"/>
                  <a:gd name="connsiteY36" fmla="*/ 1848486 h 1851033"/>
                  <a:gd name="connsiteX37" fmla="*/ 277868 w 1855438"/>
                  <a:gd name="connsiteY37" fmla="*/ 1849175 h 1851033"/>
                  <a:gd name="connsiteX38" fmla="*/ 280175 w 1855438"/>
                  <a:gd name="connsiteY38" fmla="*/ 1849745 h 1851033"/>
                  <a:gd name="connsiteX39" fmla="*/ 280445 w 1855438"/>
                  <a:gd name="connsiteY39" fmla="*/ 1849775 h 1851033"/>
                  <a:gd name="connsiteX40" fmla="*/ 282423 w 1855438"/>
                  <a:gd name="connsiteY40" fmla="*/ 1850164 h 1851033"/>
                  <a:gd name="connsiteX41" fmla="*/ 282453 w 1855438"/>
                  <a:gd name="connsiteY41" fmla="*/ 1850164 h 1851033"/>
                  <a:gd name="connsiteX42" fmla="*/ 282783 w 1855438"/>
                  <a:gd name="connsiteY42" fmla="*/ 1850224 h 1851033"/>
                  <a:gd name="connsiteX43" fmla="*/ 284611 w 1855438"/>
                  <a:gd name="connsiteY43" fmla="*/ 1850494 h 1851033"/>
                  <a:gd name="connsiteX44" fmla="*/ 285150 w 1855438"/>
                  <a:gd name="connsiteY44" fmla="*/ 1850554 h 1851033"/>
                  <a:gd name="connsiteX45" fmla="*/ 286649 w 1855438"/>
                  <a:gd name="connsiteY45" fmla="*/ 1850674 h 1851033"/>
                  <a:gd name="connsiteX46" fmla="*/ 287697 w 1855438"/>
                  <a:gd name="connsiteY46" fmla="*/ 1850734 h 1851033"/>
                  <a:gd name="connsiteX47" fmla="*/ 290035 w 1855438"/>
                  <a:gd name="connsiteY47" fmla="*/ 1850794 h 1851033"/>
                  <a:gd name="connsiteX48" fmla="*/ 329593 w 1855438"/>
                  <a:gd name="connsiteY48" fmla="*/ 1850853 h 1851033"/>
                  <a:gd name="connsiteX49" fmla="*/ 349552 w 1855438"/>
                  <a:gd name="connsiteY49" fmla="*/ 1850883 h 1851033"/>
                  <a:gd name="connsiteX50" fmla="*/ 349552 w 1855438"/>
                  <a:gd name="connsiteY50" fmla="*/ 1851033 h 1851033"/>
                  <a:gd name="connsiteX51" fmla="*/ 1516855 w 1855438"/>
                  <a:gd name="connsiteY51" fmla="*/ 1851033 h 1851033"/>
                  <a:gd name="connsiteX52" fmla="*/ 1516855 w 1855438"/>
                  <a:gd name="connsiteY52" fmla="*/ 1850853 h 1851033"/>
                  <a:gd name="connsiteX53" fmla="*/ 1553386 w 1855438"/>
                  <a:gd name="connsiteY53" fmla="*/ 1850794 h 1851033"/>
                  <a:gd name="connsiteX54" fmla="*/ 1565524 w 1855438"/>
                  <a:gd name="connsiteY54" fmla="*/ 1850764 h 1851033"/>
                  <a:gd name="connsiteX55" fmla="*/ 1567651 w 1855438"/>
                  <a:gd name="connsiteY55" fmla="*/ 1850704 h 1851033"/>
                  <a:gd name="connsiteX56" fmla="*/ 1569030 w 1855438"/>
                  <a:gd name="connsiteY56" fmla="*/ 1850614 h 1851033"/>
                  <a:gd name="connsiteX57" fmla="*/ 1570258 w 1855438"/>
                  <a:gd name="connsiteY57" fmla="*/ 1850494 h 1851033"/>
                  <a:gd name="connsiteX58" fmla="*/ 1570408 w 1855438"/>
                  <a:gd name="connsiteY58" fmla="*/ 1850464 h 1851033"/>
                  <a:gd name="connsiteX59" fmla="*/ 1570798 w 1855438"/>
                  <a:gd name="connsiteY59" fmla="*/ 1850434 h 1851033"/>
                  <a:gd name="connsiteX60" fmla="*/ 1572746 w 1855438"/>
                  <a:gd name="connsiteY60" fmla="*/ 1850164 h 1851033"/>
                  <a:gd name="connsiteX61" fmla="*/ 1572836 w 1855438"/>
                  <a:gd name="connsiteY61" fmla="*/ 1850164 h 1851033"/>
                  <a:gd name="connsiteX62" fmla="*/ 1573525 w 1855438"/>
                  <a:gd name="connsiteY62" fmla="*/ 1850044 h 1851033"/>
                  <a:gd name="connsiteX63" fmla="*/ 1575084 w 1855438"/>
                  <a:gd name="connsiteY63" fmla="*/ 1849715 h 1851033"/>
                  <a:gd name="connsiteX64" fmla="*/ 1575473 w 1855438"/>
                  <a:gd name="connsiteY64" fmla="*/ 1849655 h 1851033"/>
                  <a:gd name="connsiteX65" fmla="*/ 1577691 w 1855438"/>
                  <a:gd name="connsiteY65" fmla="*/ 1849115 h 1851033"/>
                  <a:gd name="connsiteX66" fmla="*/ 1580088 w 1855438"/>
                  <a:gd name="connsiteY66" fmla="*/ 1848426 h 1851033"/>
                  <a:gd name="connsiteX67" fmla="*/ 1580208 w 1855438"/>
                  <a:gd name="connsiteY67" fmla="*/ 1848396 h 1851033"/>
                  <a:gd name="connsiteX68" fmla="*/ 1582456 w 1855438"/>
                  <a:gd name="connsiteY68" fmla="*/ 1847647 h 1851033"/>
                  <a:gd name="connsiteX69" fmla="*/ 1585393 w 1855438"/>
                  <a:gd name="connsiteY69" fmla="*/ 1846508 h 1851033"/>
                  <a:gd name="connsiteX70" fmla="*/ 1587161 w 1855438"/>
                  <a:gd name="connsiteY70" fmla="*/ 1845699 h 1851033"/>
                  <a:gd name="connsiteX71" fmla="*/ 1608408 w 1855438"/>
                  <a:gd name="connsiteY71" fmla="*/ 1831194 h 1851033"/>
                  <a:gd name="connsiteX72" fmla="*/ 1611555 w 1855438"/>
                  <a:gd name="connsiteY72" fmla="*/ 1828047 h 1851033"/>
                  <a:gd name="connsiteX73" fmla="*/ 1613743 w 1855438"/>
                  <a:gd name="connsiteY73" fmla="*/ 1825710 h 1851033"/>
                  <a:gd name="connsiteX74" fmla="*/ 1614732 w 1855438"/>
                  <a:gd name="connsiteY74" fmla="*/ 1824571 h 1851033"/>
                  <a:gd name="connsiteX75" fmla="*/ 1617279 w 1855438"/>
                  <a:gd name="connsiteY75" fmla="*/ 1821484 h 1851033"/>
                  <a:gd name="connsiteX76" fmla="*/ 1619796 w 1855438"/>
                  <a:gd name="connsiteY76" fmla="*/ 1818098 h 1851033"/>
                  <a:gd name="connsiteX77" fmla="*/ 1619886 w 1855438"/>
                  <a:gd name="connsiteY77" fmla="*/ 1817978 h 1851033"/>
                  <a:gd name="connsiteX78" fmla="*/ 1622074 w 1855438"/>
                  <a:gd name="connsiteY78" fmla="*/ 1814682 h 1851033"/>
                  <a:gd name="connsiteX79" fmla="*/ 1626629 w 1855438"/>
                  <a:gd name="connsiteY79" fmla="*/ 1806110 h 1851033"/>
                  <a:gd name="connsiteX80" fmla="*/ 1703798 w 1855438"/>
                  <a:gd name="connsiteY80" fmla="*/ 1446819 h 1851033"/>
                  <a:gd name="connsiteX81" fmla="*/ 1690132 w 1855438"/>
                  <a:gd name="connsiteY81" fmla="*/ 1188430 h 1851033"/>
                  <a:gd name="connsiteX82" fmla="*/ 1689773 w 1855438"/>
                  <a:gd name="connsiteY82" fmla="*/ 1185044 h 1851033"/>
                  <a:gd name="connsiteX83" fmla="*/ 1702929 w 1855438"/>
                  <a:gd name="connsiteY83" fmla="*/ 1180998 h 1851033"/>
                  <a:gd name="connsiteX84" fmla="*/ 1709312 w 1855438"/>
                  <a:gd name="connsiteY84" fmla="*/ 1178810 h 1851033"/>
                  <a:gd name="connsiteX85" fmla="*/ 1571607 w 1855438"/>
                  <a:gd name="connsiteY85" fmla="*/ 830427 h 1851033"/>
                  <a:gd name="connsiteX86" fmla="*/ 1569419 w 1855438"/>
                  <a:gd name="connsiteY86" fmla="*/ 830756 h 1851033"/>
                  <a:gd name="connsiteX87" fmla="*/ 1571607 w 1855438"/>
                  <a:gd name="connsiteY87" fmla="*/ 830427 h 1851033"/>
                  <a:gd name="connsiteX88" fmla="*/ 1598249 w 1855438"/>
                  <a:gd name="connsiteY88" fmla="*/ 827849 h 1851033"/>
                  <a:gd name="connsiteX89" fmla="*/ 1594893 w 1855438"/>
                  <a:gd name="connsiteY89" fmla="*/ 828059 h 1851033"/>
                  <a:gd name="connsiteX90" fmla="*/ 1598249 w 1855438"/>
                  <a:gd name="connsiteY90" fmla="*/ 827849 h 1851033"/>
                  <a:gd name="connsiteX91" fmla="*/ 1585123 w 1855438"/>
                  <a:gd name="connsiteY91" fmla="*/ 828808 h 1851033"/>
                  <a:gd name="connsiteX92" fmla="*/ 1581916 w 1855438"/>
                  <a:gd name="connsiteY92" fmla="*/ 829138 h 1851033"/>
                  <a:gd name="connsiteX93" fmla="*/ 1585123 w 1855438"/>
                  <a:gd name="connsiteY93" fmla="*/ 828808 h 1851033"/>
                  <a:gd name="connsiteX94" fmla="*/ 285989 w 1855438"/>
                  <a:gd name="connsiteY94" fmla="*/ 830756 h 1851033"/>
                  <a:gd name="connsiteX95" fmla="*/ 283802 w 1855438"/>
                  <a:gd name="connsiteY95" fmla="*/ 830427 h 1851033"/>
                  <a:gd name="connsiteX96" fmla="*/ 285989 w 1855438"/>
                  <a:gd name="connsiteY96" fmla="*/ 830756 h 1851033"/>
                  <a:gd name="connsiteX97" fmla="*/ 273522 w 1855438"/>
                  <a:gd name="connsiteY97" fmla="*/ 829138 h 1851033"/>
                  <a:gd name="connsiteX98" fmla="*/ 270316 w 1855438"/>
                  <a:gd name="connsiteY98" fmla="*/ 828808 h 1851033"/>
                  <a:gd name="connsiteX99" fmla="*/ 273522 w 1855438"/>
                  <a:gd name="connsiteY99" fmla="*/ 829138 h 1851033"/>
                  <a:gd name="connsiteX100" fmla="*/ 260516 w 1855438"/>
                  <a:gd name="connsiteY100" fmla="*/ 828059 h 1851033"/>
                  <a:gd name="connsiteX101" fmla="*/ 257160 w 1855438"/>
                  <a:gd name="connsiteY101" fmla="*/ 827849 h 1851033"/>
                  <a:gd name="connsiteX102" fmla="*/ 260516 w 1855438"/>
                  <a:gd name="connsiteY102" fmla="*/ 828059 h 185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1855438" h="1851033">
                    <a:moveTo>
                      <a:pt x="1709312" y="1178810"/>
                    </a:moveTo>
                    <a:cubicBezTo>
                      <a:pt x="1794633" y="1152798"/>
                      <a:pt x="1855439" y="1085518"/>
                      <a:pt x="1855439" y="1006611"/>
                    </a:cubicBezTo>
                    <a:cubicBezTo>
                      <a:pt x="1855439" y="905078"/>
                      <a:pt x="1754804" y="822785"/>
                      <a:pt x="1630765" y="822785"/>
                    </a:cubicBezTo>
                    <a:cubicBezTo>
                      <a:pt x="1628487" y="822785"/>
                      <a:pt x="1626240" y="822845"/>
                      <a:pt x="1623962" y="822875"/>
                    </a:cubicBezTo>
                    <a:lnTo>
                      <a:pt x="1623633" y="822875"/>
                    </a:lnTo>
                    <a:cubicBezTo>
                      <a:pt x="1600407" y="823474"/>
                      <a:pt x="1578080" y="827010"/>
                      <a:pt x="1557132" y="832944"/>
                    </a:cubicBezTo>
                    <a:cubicBezTo>
                      <a:pt x="1557132" y="832944"/>
                      <a:pt x="1557132" y="832944"/>
                      <a:pt x="1557162" y="832944"/>
                    </a:cubicBezTo>
                    <a:cubicBezTo>
                      <a:pt x="1538822" y="836660"/>
                      <a:pt x="1521350" y="842204"/>
                      <a:pt x="1505077" y="849337"/>
                    </a:cubicBezTo>
                    <a:cubicBezTo>
                      <a:pt x="1593005" y="449947"/>
                      <a:pt x="1638167" y="0"/>
                      <a:pt x="937774" y="0"/>
                    </a:cubicBezTo>
                    <a:cubicBezTo>
                      <a:pt x="934357" y="0"/>
                      <a:pt x="931061" y="60"/>
                      <a:pt x="927704" y="90"/>
                    </a:cubicBezTo>
                    <a:cubicBezTo>
                      <a:pt x="924348" y="30"/>
                      <a:pt x="921021" y="0"/>
                      <a:pt x="917635" y="0"/>
                    </a:cubicBezTo>
                    <a:cubicBezTo>
                      <a:pt x="217271" y="0"/>
                      <a:pt x="262404" y="449917"/>
                      <a:pt x="350332" y="849337"/>
                    </a:cubicBezTo>
                    <a:cubicBezTo>
                      <a:pt x="334059" y="842174"/>
                      <a:pt x="316617" y="836660"/>
                      <a:pt x="298246" y="832944"/>
                    </a:cubicBezTo>
                    <a:cubicBezTo>
                      <a:pt x="298246" y="832944"/>
                      <a:pt x="298246" y="832944"/>
                      <a:pt x="298246" y="832944"/>
                    </a:cubicBezTo>
                    <a:cubicBezTo>
                      <a:pt x="277298" y="827010"/>
                      <a:pt x="255002" y="823474"/>
                      <a:pt x="231746" y="822875"/>
                    </a:cubicBezTo>
                    <a:lnTo>
                      <a:pt x="231417" y="822875"/>
                    </a:lnTo>
                    <a:cubicBezTo>
                      <a:pt x="229139" y="822815"/>
                      <a:pt x="226891" y="822785"/>
                      <a:pt x="224614" y="822785"/>
                    </a:cubicBezTo>
                    <a:cubicBezTo>
                      <a:pt x="100634" y="822755"/>
                      <a:pt x="0" y="905048"/>
                      <a:pt x="0" y="1006581"/>
                    </a:cubicBezTo>
                    <a:cubicBezTo>
                      <a:pt x="0" y="1085488"/>
                      <a:pt x="60806" y="1152768"/>
                      <a:pt x="146096" y="1178780"/>
                    </a:cubicBezTo>
                    <a:cubicBezTo>
                      <a:pt x="148194" y="1179559"/>
                      <a:pt x="150352" y="1180309"/>
                      <a:pt x="152510" y="1181058"/>
                    </a:cubicBezTo>
                    <a:cubicBezTo>
                      <a:pt x="156855" y="1182556"/>
                      <a:pt x="161230" y="1183935"/>
                      <a:pt x="165696" y="1185104"/>
                    </a:cubicBezTo>
                    <a:cubicBezTo>
                      <a:pt x="165576" y="1186243"/>
                      <a:pt x="165456" y="1187321"/>
                      <a:pt x="165336" y="1188490"/>
                    </a:cubicBezTo>
                    <a:cubicBezTo>
                      <a:pt x="157874" y="1257567"/>
                      <a:pt x="147565" y="1302820"/>
                      <a:pt x="151641" y="1446878"/>
                    </a:cubicBezTo>
                    <a:cubicBezTo>
                      <a:pt x="157544" y="1656778"/>
                      <a:pt x="219879" y="1785253"/>
                      <a:pt x="228809" y="1806170"/>
                    </a:cubicBezTo>
                    <a:cubicBezTo>
                      <a:pt x="230907" y="1811055"/>
                      <a:pt x="233994" y="1816090"/>
                      <a:pt x="237770" y="1820945"/>
                    </a:cubicBezTo>
                    <a:cubicBezTo>
                      <a:pt x="237770" y="1820945"/>
                      <a:pt x="237770" y="1820945"/>
                      <a:pt x="237770" y="1820945"/>
                    </a:cubicBezTo>
                    <a:cubicBezTo>
                      <a:pt x="238459" y="1821844"/>
                      <a:pt x="239208" y="1822773"/>
                      <a:pt x="239928" y="1823672"/>
                    </a:cubicBezTo>
                    <a:cubicBezTo>
                      <a:pt x="240677" y="1824571"/>
                      <a:pt x="241456" y="1825500"/>
                      <a:pt x="242235" y="1826339"/>
                    </a:cubicBezTo>
                    <a:cubicBezTo>
                      <a:pt x="244003" y="1828287"/>
                      <a:pt x="245831" y="1830175"/>
                      <a:pt x="247839" y="1831973"/>
                    </a:cubicBezTo>
                    <a:cubicBezTo>
                      <a:pt x="248828" y="1832872"/>
                      <a:pt x="249817" y="1833772"/>
                      <a:pt x="250866" y="1834611"/>
                    </a:cubicBezTo>
                    <a:cubicBezTo>
                      <a:pt x="252215" y="1835749"/>
                      <a:pt x="253623" y="1836828"/>
                      <a:pt x="255032" y="1837877"/>
                    </a:cubicBezTo>
                    <a:cubicBezTo>
                      <a:pt x="255751" y="1838417"/>
                      <a:pt x="256530" y="1838926"/>
                      <a:pt x="257279" y="1839465"/>
                    </a:cubicBezTo>
                    <a:cubicBezTo>
                      <a:pt x="258328" y="1840155"/>
                      <a:pt x="259407" y="1840844"/>
                      <a:pt x="260456" y="1841503"/>
                    </a:cubicBezTo>
                    <a:cubicBezTo>
                      <a:pt x="261655" y="1842252"/>
                      <a:pt x="262884" y="1842972"/>
                      <a:pt x="264112" y="1843631"/>
                    </a:cubicBezTo>
                    <a:cubicBezTo>
                      <a:pt x="265041" y="1844140"/>
                      <a:pt x="265940" y="1844590"/>
                      <a:pt x="266869" y="1845070"/>
                    </a:cubicBezTo>
                    <a:cubicBezTo>
                      <a:pt x="267379" y="1845309"/>
                      <a:pt x="267858" y="1845519"/>
                      <a:pt x="268368" y="1845759"/>
                    </a:cubicBezTo>
                    <a:cubicBezTo>
                      <a:pt x="270675" y="1846808"/>
                      <a:pt x="273073" y="1847737"/>
                      <a:pt x="275440" y="1848486"/>
                    </a:cubicBezTo>
                    <a:cubicBezTo>
                      <a:pt x="276249" y="1848756"/>
                      <a:pt x="277029" y="1848995"/>
                      <a:pt x="277868" y="1849175"/>
                    </a:cubicBezTo>
                    <a:cubicBezTo>
                      <a:pt x="278617" y="1849415"/>
                      <a:pt x="279396" y="1849565"/>
                      <a:pt x="280175" y="1849745"/>
                    </a:cubicBezTo>
                    <a:cubicBezTo>
                      <a:pt x="280265" y="1849775"/>
                      <a:pt x="280355" y="1849775"/>
                      <a:pt x="280445" y="1849775"/>
                    </a:cubicBezTo>
                    <a:cubicBezTo>
                      <a:pt x="281074" y="1849954"/>
                      <a:pt x="281764" y="1850044"/>
                      <a:pt x="282423" y="1850164"/>
                    </a:cubicBezTo>
                    <a:cubicBezTo>
                      <a:pt x="282423" y="1850164"/>
                      <a:pt x="282423" y="1850164"/>
                      <a:pt x="282453" y="1850164"/>
                    </a:cubicBezTo>
                    <a:cubicBezTo>
                      <a:pt x="282543" y="1850194"/>
                      <a:pt x="282663" y="1850224"/>
                      <a:pt x="282783" y="1850224"/>
                    </a:cubicBezTo>
                    <a:cubicBezTo>
                      <a:pt x="283382" y="1850314"/>
                      <a:pt x="283981" y="1850434"/>
                      <a:pt x="284611" y="1850494"/>
                    </a:cubicBezTo>
                    <a:cubicBezTo>
                      <a:pt x="284790" y="1850524"/>
                      <a:pt x="284970" y="1850524"/>
                      <a:pt x="285150" y="1850554"/>
                    </a:cubicBezTo>
                    <a:cubicBezTo>
                      <a:pt x="285660" y="1850584"/>
                      <a:pt x="286139" y="1850644"/>
                      <a:pt x="286649" y="1850674"/>
                    </a:cubicBezTo>
                    <a:cubicBezTo>
                      <a:pt x="287008" y="1850704"/>
                      <a:pt x="287368" y="1850734"/>
                      <a:pt x="287697" y="1850734"/>
                    </a:cubicBezTo>
                    <a:cubicBezTo>
                      <a:pt x="288507" y="1850764"/>
                      <a:pt x="289256" y="1850794"/>
                      <a:pt x="290035" y="1850794"/>
                    </a:cubicBezTo>
                    <a:lnTo>
                      <a:pt x="329593" y="1850853"/>
                    </a:lnTo>
                    <a:lnTo>
                      <a:pt x="349552" y="1850883"/>
                    </a:lnTo>
                    <a:lnTo>
                      <a:pt x="349552" y="1851033"/>
                    </a:lnTo>
                    <a:lnTo>
                      <a:pt x="1516855" y="1851033"/>
                    </a:lnTo>
                    <a:lnTo>
                      <a:pt x="1516855" y="1850853"/>
                    </a:lnTo>
                    <a:lnTo>
                      <a:pt x="1553386" y="1850794"/>
                    </a:lnTo>
                    <a:lnTo>
                      <a:pt x="1565524" y="1850764"/>
                    </a:lnTo>
                    <a:cubicBezTo>
                      <a:pt x="1566213" y="1850764"/>
                      <a:pt x="1566962" y="1850734"/>
                      <a:pt x="1567651" y="1850704"/>
                    </a:cubicBezTo>
                    <a:cubicBezTo>
                      <a:pt x="1568101" y="1850704"/>
                      <a:pt x="1568580" y="1850674"/>
                      <a:pt x="1569030" y="1850614"/>
                    </a:cubicBezTo>
                    <a:cubicBezTo>
                      <a:pt x="1569449" y="1850584"/>
                      <a:pt x="1569839" y="1850554"/>
                      <a:pt x="1570258" y="1850494"/>
                    </a:cubicBezTo>
                    <a:cubicBezTo>
                      <a:pt x="1570318" y="1850494"/>
                      <a:pt x="1570378" y="1850494"/>
                      <a:pt x="1570408" y="1850464"/>
                    </a:cubicBezTo>
                    <a:cubicBezTo>
                      <a:pt x="1570528" y="1850464"/>
                      <a:pt x="1570678" y="1850434"/>
                      <a:pt x="1570798" y="1850434"/>
                    </a:cubicBezTo>
                    <a:cubicBezTo>
                      <a:pt x="1571457" y="1850374"/>
                      <a:pt x="1572087" y="1850254"/>
                      <a:pt x="1572746" y="1850164"/>
                    </a:cubicBezTo>
                    <a:lnTo>
                      <a:pt x="1572836" y="1850164"/>
                    </a:lnTo>
                    <a:cubicBezTo>
                      <a:pt x="1573076" y="1850134"/>
                      <a:pt x="1573285" y="1850074"/>
                      <a:pt x="1573525" y="1850044"/>
                    </a:cubicBezTo>
                    <a:cubicBezTo>
                      <a:pt x="1574035" y="1849984"/>
                      <a:pt x="1574544" y="1849865"/>
                      <a:pt x="1575084" y="1849715"/>
                    </a:cubicBezTo>
                    <a:cubicBezTo>
                      <a:pt x="1575203" y="1849715"/>
                      <a:pt x="1575353" y="1849685"/>
                      <a:pt x="1575473" y="1849655"/>
                    </a:cubicBezTo>
                    <a:cubicBezTo>
                      <a:pt x="1576192" y="1849535"/>
                      <a:pt x="1576942" y="1849325"/>
                      <a:pt x="1577691" y="1849115"/>
                    </a:cubicBezTo>
                    <a:cubicBezTo>
                      <a:pt x="1578500" y="1848906"/>
                      <a:pt x="1579279" y="1848696"/>
                      <a:pt x="1580088" y="1848426"/>
                    </a:cubicBezTo>
                    <a:cubicBezTo>
                      <a:pt x="1580118" y="1848426"/>
                      <a:pt x="1580148" y="1848426"/>
                      <a:pt x="1580208" y="1848396"/>
                    </a:cubicBezTo>
                    <a:cubicBezTo>
                      <a:pt x="1580957" y="1848156"/>
                      <a:pt x="1581736" y="1847887"/>
                      <a:pt x="1582456" y="1847647"/>
                    </a:cubicBezTo>
                    <a:cubicBezTo>
                      <a:pt x="1583445" y="1847317"/>
                      <a:pt x="1584404" y="1846928"/>
                      <a:pt x="1585393" y="1846508"/>
                    </a:cubicBezTo>
                    <a:cubicBezTo>
                      <a:pt x="1585992" y="1846238"/>
                      <a:pt x="1586561" y="1845969"/>
                      <a:pt x="1587161" y="1845699"/>
                    </a:cubicBezTo>
                    <a:cubicBezTo>
                      <a:pt x="1594923" y="1842193"/>
                      <a:pt x="1602175" y="1837068"/>
                      <a:pt x="1608408" y="1831194"/>
                    </a:cubicBezTo>
                    <a:cubicBezTo>
                      <a:pt x="1609487" y="1830175"/>
                      <a:pt x="1610566" y="1829096"/>
                      <a:pt x="1611555" y="1828047"/>
                    </a:cubicBezTo>
                    <a:cubicBezTo>
                      <a:pt x="1612304" y="1827298"/>
                      <a:pt x="1613054" y="1826489"/>
                      <a:pt x="1613743" y="1825710"/>
                    </a:cubicBezTo>
                    <a:cubicBezTo>
                      <a:pt x="1614102" y="1825350"/>
                      <a:pt x="1614432" y="1824961"/>
                      <a:pt x="1614732" y="1824571"/>
                    </a:cubicBezTo>
                    <a:cubicBezTo>
                      <a:pt x="1615631" y="1823552"/>
                      <a:pt x="1616440" y="1822533"/>
                      <a:pt x="1617279" y="1821484"/>
                    </a:cubicBezTo>
                    <a:cubicBezTo>
                      <a:pt x="1618148" y="1820346"/>
                      <a:pt x="1618987" y="1819237"/>
                      <a:pt x="1619796" y="1818098"/>
                    </a:cubicBezTo>
                    <a:cubicBezTo>
                      <a:pt x="1619826" y="1818038"/>
                      <a:pt x="1619856" y="1818008"/>
                      <a:pt x="1619886" y="1817978"/>
                    </a:cubicBezTo>
                    <a:cubicBezTo>
                      <a:pt x="1620696" y="1816899"/>
                      <a:pt x="1621415" y="1815760"/>
                      <a:pt x="1622074" y="1814682"/>
                    </a:cubicBezTo>
                    <a:cubicBezTo>
                      <a:pt x="1623902" y="1811805"/>
                      <a:pt x="1625431" y="1808928"/>
                      <a:pt x="1626629" y="1806110"/>
                    </a:cubicBezTo>
                    <a:cubicBezTo>
                      <a:pt x="1635590" y="1785193"/>
                      <a:pt x="1697924" y="1656718"/>
                      <a:pt x="1703798" y="1446819"/>
                    </a:cubicBezTo>
                    <a:cubicBezTo>
                      <a:pt x="1707874" y="1302760"/>
                      <a:pt x="1697535" y="1257477"/>
                      <a:pt x="1690132" y="1188430"/>
                    </a:cubicBezTo>
                    <a:cubicBezTo>
                      <a:pt x="1689953" y="1187261"/>
                      <a:pt x="1689893" y="1186183"/>
                      <a:pt x="1689773" y="1185044"/>
                    </a:cubicBezTo>
                    <a:cubicBezTo>
                      <a:pt x="1694208" y="1183875"/>
                      <a:pt x="1698614" y="1182496"/>
                      <a:pt x="1702929" y="1180998"/>
                    </a:cubicBezTo>
                    <a:cubicBezTo>
                      <a:pt x="1705087" y="1180309"/>
                      <a:pt x="1707214" y="1179559"/>
                      <a:pt x="1709312" y="1178810"/>
                    </a:cubicBezTo>
                    <a:close/>
                    <a:moveTo>
                      <a:pt x="1571607" y="830427"/>
                    </a:moveTo>
                    <a:cubicBezTo>
                      <a:pt x="1570888" y="830547"/>
                      <a:pt x="1570139" y="830636"/>
                      <a:pt x="1569419" y="830756"/>
                    </a:cubicBezTo>
                    <a:cubicBezTo>
                      <a:pt x="1570139" y="830636"/>
                      <a:pt x="1570888" y="830547"/>
                      <a:pt x="1571607" y="830427"/>
                    </a:cubicBezTo>
                    <a:close/>
                    <a:moveTo>
                      <a:pt x="1598249" y="827849"/>
                    </a:moveTo>
                    <a:cubicBezTo>
                      <a:pt x="1597110" y="827909"/>
                      <a:pt x="1596002" y="827999"/>
                      <a:pt x="1594893" y="828059"/>
                    </a:cubicBezTo>
                    <a:cubicBezTo>
                      <a:pt x="1596031" y="827999"/>
                      <a:pt x="1597140" y="827909"/>
                      <a:pt x="1598249" y="827849"/>
                    </a:cubicBezTo>
                    <a:close/>
                    <a:moveTo>
                      <a:pt x="1585123" y="828808"/>
                    </a:moveTo>
                    <a:cubicBezTo>
                      <a:pt x="1584044" y="828898"/>
                      <a:pt x="1582995" y="829018"/>
                      <a:pt x="1581916" y="829138"/>
                    </a:cubicBezTo>
                    <a:cubicBezTo>
                      <a:pt x="1582965" y="829018"/>
                      <a:pt x="1584044" y="828898"/>
                      <a:pt x="1585123" y="828808"/>
                    </a:cubicBezTo>
                    <a:close/>
                    <a:moveTo>
                      <a:pt x="285989" y="830756"/>
                    </a:moveTo>
                    <a:cubicBezTo>
                      <a:pt x="285270" y="830636"/>
                      <a:pt x="284521" y="830547"/>
                      <a:pt x="283802" y="830427"/>
                    </a:cubicBezTo>
                    <a:cubicBezTo>
                      <a:pt x="284551" y="830547"/>
                      <a:pt x="285270" y="830636"/>
                      <a:pt x="285989" y="830756"/>
                    </a:cubicBezTo>
                    <a:close/>
                    <a:moveTo>
                      <a:pt x="273522" y="829138"/>
                    </a:moveTo>
                    <a:cubicBezTo>
                      <a:pt x="272443" y="829018"/>
                      <a:pt x="271395" y="828898"/>
                      <a:pt x="270316" y="828808"/>
                    </a:cubicBezTo>
                    <a:cubicBezTo>
                      <a:pt x="271395" y="828898"/>
                      <a:pt x="272443" y="829018"/>
                      <a:pt x="273522" y="829138"/>
                    </a:cubicBezTo>
                    <a:close/>
                    <a:moveTo>
                      <a:pt x="260516" y="828059"/>
                    </a:moveTo>
                    <a:cubicBezTo>
                      <a:pt x="259407" y="827999"/>
                      <a:pt x="258298" y="827909"/>
                      <a:pt x="257160" y="827849"/>
                    </a:cubicBezTo>
                    <a:cubicBezTo>
                      <a:pt x="258298" y="827909"/>
                      <a:pt x="259407" y="827999"/>
                      <a:pt x="260516" y="828059"/>
                    </a:cubicBezTo>
                    <a:close/>
                  </a:path>
                </a:pathLst>
              </a:custGeom>
              <a:solidFill>
                <a:schemeClr val="accent4"/>
              </a:solidFill>
              <a:ln w="298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336" name="Freeform: Shape 335">
                <a:extLst>
                  <a:ext uri="{FF2B5EF4-FFF2-40B4-BE49-F238E27FC236}">
                    <a16:creationId xmlns:a16="http://schemas.microsoft.com/office/drawing/2014/main" id="{0FA27825-9DA2-4CF1-B7A2-FF64B976300D}"/>
                  </a:ext>
                </a:extLst>
              </p:cNvPr>
              <p:cNvSpPr/>
              <p:nvPr/>
            </p:nvSpPr>
            <p:spPr>
              <a:xfrm>
                <a:off x="345945" y="4796295"/>
                <a:ext cx="1801944" cy="45372"/>
              </a:xfrm>
              <a:custGeom>
                <a:avLst/>
                <a:gdLst>
                  <a:gd name="connsiteX0" fmla="*/ 1801945 w 1801944"/>
                  <a:gd name="connsiteY0" fmla="*/ 22686 h 45372"/>
                  <a:gd name="connsiteX1" fmla="*/ 900972 w 1801944"/>
                  <a:gd name="connsiteY1" fmla="*/ 45372 h 45372"/>
                  <a:gd name="connsiteX2" fmla="*/ 0 w 1801944"/>
                  <a:gd name="connsiteY2" fmla="*/ 22686 h 45372"/>
                  <a:gd name="connsiteX3" fmla="*/ 900972 w 1801944"/>
                  <a:gd name="connsiteY3" fmla="*/ 0 h 45372"/>
                  <a:gd name="connsiteX4" fmla="*/ 1801945 w 1801944"/>
                  <a:gd name="connsiteY4" fmla="*/ 22686 h 453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1944" h="45372">
                    <a:moveTo>
                      <a:pt x="1801945" y="22686"/>
                    </a:moveTo>
                    <a:cubicBezTo>
                      <a:pt x="1801945" y="35215"/>
                      <a:pt x="1398566" y="45372"/>
                      <a:pt x="900972" y="45372"/>
                    </a:cubicBezTo>
                    <a:cubicBezTo>
                      <a:pt x="403379" y="45372"/>
                      <a:pt x="0" y="35215"/>
                      <a:pt x="0" y="22686"/>
                    </a:cubicBezTo>
                    <a:cubicBezTo>
                      <a:pt x="0" y="10157"/>
                      <a:pt x="403379" y="0"/>
                      <a:pt x="900972" y="0"/>
                    </a:cubicBezTo>
                    <a:cubicBezTo>
                      <a:pt x="1398566" y="0"/>
                      <a:pt x="1801945" y="10157"/>
                      <a:pt x="1801945" y="22686"/>
                    </a:cubicBezTo>
                    <a:close/>
                  </a:path>
                </a:pathLst>
              </a:custGeom>
              <a:solidFill>
                <a:srgbClr val="D8D8D8"/>
              </a:solidFill>
              <a:ln w="298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337" name="Freeform: Shape 336">
                <a:extLst>
                  <a:ext uri="{FF2B5EF4-FFF2-40B4-BE49-F238E27FC236}">
                    <a16:creationId xmlns:a16="http://schemas.microsoft.com/office/drawing/2014/main" id="{7361C803-0A6E-424C-8F0D-C021EE6AF34B}"/>
                  </a:ext>
                </a:extLst>
              </p:cNvPr>
              <p:cNvSpPr/>
              <p:nvPr/>
            </p:nvSpPr>
            <p:spPr>
              <a:xfrm>
                <a:off x="801256" y="4278440"/>
                <a:ext cx="859556" cy="1438"/>
              </a:xfrm>
              <a:custGeom>
                <a:avLst/>
                <a:gdLst>
                  <a:gd name="connsiteX0" fmla="*/ 0 w 859556"/>
                  <a:gd name="connsiteY0" fmla="*/ 1438 h 1438"/>
                  <a:gd name="connsiteX1" fmla="*/ 859556 w 859556"/>
                  <a:gd name="connsiteY1" fmla="*/ 1438 h 1438"/>
                  <a:gd name="connsiteX2" fmla="*/ 859496 w 859556"/>
                  <a:gd name="connsiteY2" fmla="*/ 0 h 1438"/>
                  <a:gd name="connsiteX3" fmla="*/ 60 w 859556"/>
                  <a:gd name="connsiteY3" fmla="*/ 0 h 1438"/>
                  <a:gd name="connsiteX4" fmla="*/ 0 w 859556"/>
                  <a:gd name="connsiteY4" fmla="*/ 1438 h 1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9556" h="1438">
                    <a:moveTo>
                      <a:pt x="0" y="1438"/>
                    </a:moveTo>
                    <a:lnTo>
                      <a:pt x="859556" y="1438"/>
                    </a:lnTo>
                    <a:cubicBezTo>
                      <a:pt x="859526" y="959"/>
                      <a:pt x="859526" y="479"/>
                      <a:pt x="859496" y="0"/>
                    </a:cubicBezTo>
                    <a:lnTo>
                      <a:pt x="60" y="0"/>
                    </a:lnTo>
                    <a:cubicBezTo>
                      <a:pt x="60" y="479"/>
                      <a:pt x="30" y="989"/>
                      <a:pt x="0" y="1438"/>
                    </a:cubicBezTo>
                    <a:close/>
                  </a:path>
                </a:pathLst>
              </a:custGeom>
              <a:noFill/>
              <a:ln w="298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338" name="Freeform: Shape 337">
                <a:extLst>
                  <a:ext uri="{FF2B5EF4-FFF2-40B4-BE49-F238E27FC236}">
                    <a16:creationId xmlns:a16="http://schemas.microsoft.com/office/drawing/2014/main" id="{FA00FB5B-2114-4D77-AF61-23951DEFA041}"/>
                  </a:ext>
                </a:extLst>
              </p:cNvPr>
              <p:cNvSpPr/>
              <p:nvPr/>
            </p:nvSpPr>
            <p:spPr>
              <a:xfrm>
                <a:off x="620334" y="2838514"/>
                <a:ext cx="1221400" cy="1439925"/>
              </a:xfrm>
              <a:custGeom>
                <a:avLst/>
                <a:gdLst>
                  <a:gd name="connsiteX0" fmla="*/ 1076560 w 1221400"/>
                  <a:gd name="connsiteY0" fmla="*/ 990668 h 1439925"/>
                  <a:gd name="connsiteX1" fmla="*/ 1076560 w 1221400"/>
                  <a:gd name="connsiteY1" fmla="*/ 990638 h 1439925"/>
                  <a:gd name="connsiteX2" fmla="*/ 1099936 w 1221400"/>
                  <a:gd name="connsiteY2" fmla="*/ 916196 h 1439925"/>
                  <a:gd name="connsiteX3" fmla="*/ 1100295 w 1221400"/>
                  <a:gd name="connsiteY3" fmla="*/ 915327 h 1439925"/>
                  <a:gd name="connsiteX4" fmla="*/ 1101284 w 1221400"/>
                  <a:gd name="connsiteY4" fmla="*/ 912870 h 1439925"/>
                  <a:gd name="connsiteX5" fmla="*/ 1103951 w 1221400"/>
                  <a:gd name="connsiteY5" fmla="*/ 906846 h 1439925"/>
                  <a:gd name="connsiteX6" fmla="*/ 1105390 w 1221400"/>
                  <a:gd name="connsiteY6" fmla="*/ 903849 h 1439925"/>
                  <a:gd name="connsiteX7" fmla="*/ 1105899 w 1221400"/>
                  <a:gd name="connsiteY7" fmla="*/ 902800 h 1439925"/>
                  <a:gd name="connsiteX8" fmla="*/ 1106499 w 1221400"/>
                  <a:gd name="connsiteY8" fmla="*/ 901662 h 1439925"/>
                  <a:gd name="connsiteX9" fmla="*/ 1107398 w 1221400"/>
                  <a:gd name="connsiteY9" fmla="*/ 899924 h 1439925"/>
                  <a:gd name="connsiteX10" fmla="*/ 1107727 w 1221400"/>
                  <a:gd name="connsiteY10" fmla="*/ 899384 h 1439925"/>
                  <a:gd name="connsiteX11" fmla="*/ 1166675 w 1221400"/>
                  <a:gd name="connsiteY11" fmla="*/ 833903 h 1439925"/>
                  <a:gd name="connsiteX12" fmla="*/ 620770 w 1221400"/>
                  <a:gd name="connsiteY12" fmla="*/ 0 h 1439925"/>
                  <a:gd name="connsiteX13" fmla="*/ 610700 w 1221400"/>
                  <a:gd name="connsiteY13" fmla="*/ 90 h 1439925"/>
                  <a:gd name="connsiteX14" fmla="*/ 600631 w 1221400"/>
                  <a:gd name="connsiteY14" fmla="*/ 0 h 1439925"/>
                  <a:gd name="connsiteX15" fmla="*/ 54725 w 1221400"/>
                  <a:gd name="connsiteY15" fmla="*/ 833903 h 1439925"/>
                  <a:gd name="connsiteX16" fmla="*/ 113673 w 1221400"/>
                  <a:gd name="connsiteY16" fmla="*/ 899384 h 1439925"/>
                  <a:gd name="connsiteX17" fmla="*/ 114003 w 1221400"/>
                  <a:gd name="connsiteY17" fmla="*/ 899924 h 1439925"/>
                  <a:gd name="connsiteX18" fmla="*/ 114902 w 1221400"/>
                  <a:gd name="connsiteY18" fmla="*/ 901662 h 1439925"/>
                  <a:gd name="connsiteX19" fmla="*/ 115501 w 1221400"/>
                  <a:gd name="connsiteY19" fmla="*/ 902800 h 1439925"/>
                  <a:gd name="connsiteX20" fmla="*/ 116010 w 1221400"/>
                  <a:gd name="connsiteY20" fmla="*/ 903849 h 1439925"/>
                  <a:gd name="connsiteX21" fmla="*/ 117449 w 1221400"/>
                  <a:gd name="connsiteY21" fmla="*/ 906846 h 1439925"/>
                  <a:gd name="connsiteX22" fmla="*/ 120116 w 1221400"/>
                  <a:gd name="connsiteY22" fmla="*/ 912870 h 1439925"/>
                  <a:gd name="connsiteX23" fmla="*/ 121105 w 1221400"/>
                  <a:gd name="connsiteY23" fmla="*/ 915327 h 1439925"/>
                  <a:gd name="connsiteX24" fmla="*/ 121465 w 1221400"/>
                  <a:gd name="connsiteY24" fmla="*/ 916196 h 1439925"/>
                  <a:gd name="connsiteX25" fmla="*/ 144840 w 1221400"/>
                  <a:gd name="connsiteY25" fmla="*/ 990638 h 1439925"/>
                  <a:gd name="connsiteX26" fmla="*/ 144840 w 1221400"/>
                  <a:gd name="connsiteY26" fmla="*/ 990668 h 1439925"/>
                  <a:gd name="connsiteX27" fmla="*/ 183290 w 1221400"/>
                  <a:gd name="connsiteY27" fmla="*/ 1347173 h 1439925"/>
                  <a:gd name="connsiteX28" fmla="*/ 180982 w 1221400"/>
                  <a:gd name="connsiteY28" fmla="*/ 1439926 h 1439925"/>
                  <a:gd name="connsiteX29" fmla="*/ 1040418 w 1221400"/>
                  <a:gd name="connsiteY29" fmla="*/ 1439926 h 1439925"/>
                  <a:gd name="connsiteX30" fmla="*/ 1038111 w 1221400"/>
                  <a:gd name="connsiteY30" fmla="*/ 1347173 h 1439925"/>
                  <a:gd name="connsiteX31" fmla="*/ 1076560 w 1221400"/>
                  <a:gd name="connsiteY31" fmla="*/ 990668 h 1439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221400" h="1439925">
                    <a:moveTo>
                      <a:pt x="1076560" y="990668"/>
                    </a:moveTo>
                    <a:cubicBezTo>
                      <a:pt x="1076560" y="990668"/>
                      <a:pt x="1076560" y="990638"/>
                      <a:pt x="1076560" y="990638"/>
                    </a:cubicBezTo>
                    <a:cubicBezTo>
                      <a:pt x="1085401" y="954556"/>
                      <a:pt x="1094032" y="930491"/>
                      <a:pt x="1099936" y="916196"/>
                    </a:cubicBezTo>
                    <a:cubicBezTo>
                      <a:pt x="1100026" y="915867"/>
                      <a:pt x="1100175" y="915597"/>
                      <a:pt x="1100295" y="915327"/>
                    </a:cubicBezTo>
                    <a:cubicBezTo>
                      <a:pt x="1100625" y="914458"/>
                      <a:pt x="1100985" y="913649"/>
                      <a:pt x="1101284" y="912870"/>
                    </a:cubicBezTo>
                    <a:cubicBezTo>
                      <a:pt x="1102273" y="910562"/>
                      <a:pt x="1103202" y="908555"/>
                      <a:pt x="1103951" y="906846"/>
                    </a:cubicBezTo>
                    <a:cubicBezTo>
                      <a:pt x="1104401" y="905857"/>
                      <a:pt x="1104910" y="904838"/>
                      <a:pt x="1105390" y="903849"/>
                    </a:cubicBezTo>
                    <a:cubicBezTo>
                      <a:pt x="1105570" y="903490"/>
                      <a:pt x="1105750" y="903130"/>
                      <a:pt x="1105899" y="902800"/>
                    </a:cubicBezTo>
                    <a:cubicBezTo>
                      <a:pt x="1106139" y="902351"/>
                      <a:pt x="1106349" y="901991"/>
                      <a:pt x="1106499" y="901662"/>
                    </a:cubicBezTo>
                    <a:cubicBezTo>
                      <a:pt x="1106918" y="900882"/>
                      <a:pt x="1107218" y="900343"/>
                      <a:pt x="1107398" y="899924"/>
                    </a:cubicBezTo>
                    <a:cubicBezTo>
                      <a:pt x="1107638" y="899564"/>
                      <a:pt x="1107727" y="899384"/>
                      <a:pt x="1107727" y="899384"/>
                    </a:cubicBezTo>
                    <a:cubicBezTo>
                      <a:pt x="1121183" y="874031"/>
                      <a:pt x="1141532" y="851764"/>
                      <a:pt x="1166675" y="833903"/>
                    </a:cubicBezTo>
                    <a:cubicBezTo>
                      <a:pt x="1261646" y="438439"/>
                      <a:pt x="1312142" y="0"/>
                      <a:pt x="620770" y="0"/>
                    </a:cubicBezTo>
                    <a:cubicBezTo>
                      <a:pt x="617353" y="0"/>
                      <a:pt x="614057" y="60"/>
                      <a:pt x="610700" y="90"/>
                    </a:cubicBezTo>
                    <a:cubicBezTo>
                      <a:pt x="607344" y="30"/>
                      <a:pt x="604017" y="0"/>
                      <a:pt x="600631" y="0"/>
                    </a:cubicBezTo>
                    <a:cubicBezTo>
                      <a:pt x="-90742" y="0"/>
                      <a:pt x="-40245" y="438439"/>
                      <a:pt x="54725" y="833903"/>
                    </a:cubicBezTo>
                    <a:cubicBezTo>
                      <a:pt x="79868" y="851764"/>
                      <a:pt x="100217" y="874061"/>
                      <a:pt x="113673" y="899384"/>
                    </a:cubicBezTo>
                    <a:cubicBezTo>
                      <a:pt x="113673" y="899384"/>
                      <a:pt x="113763" y="899564"/>
                      <a:pt x="114003" y="899924"/>
                    </a:cubicBezTo>
                    <a:cubicBezTo>
                      <a:pt x="114182" y="900343"/>
                      <a:pt x="114512" y="900882"/>
                      <a:pt x="114902" y="901662"/>
                    </a:cubicBezTo>
                    <a:cubicBezTo>
                      <a:pt x="115051" y="901991"/>
                      <a:pt x="115261" y="902351"/>
                      <a:pt x="115501" y="902800"/>
                    </a:cubicBezTo>
                    <a:cubicBezTo>
                      <a:pt x="115651" y="903130"/>
                      <a:pt x="115831" y="903490"/>
                      <a:pt x="116010" y="903849"/>
                    </a:cubicBezTo>
                    <a:cubicBezTo>
                      <a:pt x="116520" y="904838"/>
                      <a:pt x="116999" y="905857"/>
                      <a:pt x="117449" y="906846"/>
                    </a:cubicBezTo>
                    <a:cubicBezTo>
                      <a:pt x="118228" y="908584"/>
                      <a:pt x="119127" y="910562"/>
                      <a:pt x="120116" y="912870"/>
                    </a:cubicBezTo>
                    <a:cubicBezTo>
                      <a:pt x="120446" y="913649"/>
                      <a:pt x="120805" y="914458"/>
                      <a:pt x="121105" y="915327"/>
                    </a:cubicBezTo>
                    <a:cubicBezTo>
                      <a:pt x="121255" y="915597"/>
                      <a:pt x="121375" y="915867"/>
                      <a:pt x="121465" y="916196"/>
                    </a:cubicBezTo>
                    <a:cubicBezTo>
                      <a:pt x="127368" y="930491"/>
                      <a:pt x="135999" y="954556"/>
                      <a:pt x="144840" y="990638"/>
                    </a:cubicBezTo>
                    <a:cubicBezTo>
                      <a:pt x="144840" y="990638"/>
                      <a:pt x="144840" y="990668"/>
                      <a:pt x="144840" y="990668"/>
                    </a:cubicBezTo>
                    <a:cubicBezTo>
                      <a:pt x="163391" y="1065709"/>
                      <a:pt x="183290" y="1147403"/>
                      <a:pt x="183290" y="1347173"/>
                    </a:cubicBezTo>
                    <a:cubicBezTo>
                      <a:pt x="183290" y="1379599"/>
                      <a:pt x="182421" y="1410527"/>
                      <a:pt x="180982" y="1439926"/>
                    </a:cubicBezTo>
                    <a:lnTo>
                      <a:pt x="1040418" y="1439926"/>
                    </a:lnTo>
                    <a:cubicBezTo>
                      <a:pt x="1038950" y="1410527"/>
                      <a:pt x="1038111" y="1379599"/>
                      <a:pt x="1038111" y="1347173"/>
                    </a:cubicBezTo>
                    <a:cubicBezTo>
                      <a:pt x="1038111" y="1147433"/>
                      <a:pt x="1058010" y="1065709"/>
                      <a:pt x="1076560" y="990668"/>
                    </a:cubicBezTo>
                    <a:close/>
                  </a:path>
                </a:pathLst>
              </a:custGeom>
              <a:noFill/>
              <a:ln w="298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339" name="Freeform: Shape 338">
                <a:extLst>
                  <a:ext uri="{FF2B5EF4-FFF2-40B4-BE49-F238E27FC236}">
                    <a16:creationId xmlns:a16="http://schemas.microsoft.com/office/drawing/2014/main" id="{EAD77238-03ED-4FFE-97C8-8FDC0442FD92}"/>
                  </a:ext>
                </a:extLst>
              </p:cNvPr>
              <p:cNvSpPr/>
              <p:nvPr/>
            </p:nvSpPr>
            <p:spPr>
              <a:xfrm>
                <a:off x="589888" y="4646633"/>
                <a:ext cx="125377" cy="172468"/>
              </a:xfrm>
              <a:custGeom>
                <a:avLst/>
                <a:gdLst>
                  <a:gd name="connsiteX0" fmla="*/ 125328 w 125377"/>
                  <a:gd name="connsiteY0" fmla="*/ 2337 h 172468"/>
                  <a:gd name="connsiteX1" fmla="*/ 119964 w 125377"/>
                  <a:gd name="connsiteY1" fmla="*/ 25114 h 172468"/>
                  <a:gd name="connsiteX2" fmla="*/ 116787 w 125377"/>
                  <a:gd name="connsiteY2" fmla="*/ 38719 h 172468"/>
                  <a:gd name="connsiteX3" fmla="*/ 85800 w 125377"/>
                  <a:gd name="connsiteY3" fmla="*/ 171030 h 172468"/>
                  <a:gd name="connsiteX4" fmla="*/ 83972 w 125377"/>
                  <a:gd name="connsiteY4" fmla="*/ 172469 h 172468"/>
                  <a:gd name="connsiteX5" fmla="*/ 1858 w 125377"/>
                  <a:gd name="connsiteY5" fmla="*/ 172469 h 172468"/>
                  <a:gd name="connsiteX6" fmla="*/ 0 w 125377"/>
                  <a:gd name="connsiteY6" fmla="*/ 170611 h 172468"/>
                  <a:gd name="connsiteX7" fmla="*/ 0 w 125377"/>
                  <a:gd name="connsiteY7" fmla="*/ 1858 h 172468"/>
                  <a:gd name="connsiteX8" fmla="*/ 1858 w 125377"/>
                  <a:gd name="connsiteY8" fmla="*/ 0 h 172468"/>
                  <a:gd name="connsiteX9" fmla="*/ 123500 w 125377"/>
                  <a:gd name="connsiteY9" fmla="*/ 0 h 172468"/>
                  <a:gd name="connsiteX10" fmla="*/ 125328 w 125377"/>
                  <a:gd name="connsiteY10" fmla="*/ 2337 h 172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5377" h="172468">
                    <a:moveTo>
                      <a:pt x="125328" y="2337"/>
                    </a:moveTo>
                    <a:lnTo>
                      <a:pt x="119964" y="25114"/>
                    </a:lnTo>
                    <a:lnTo>
                      <a:pt x="116787" y="38719"/>
                    </a:lnTo>
                    <a:lnTo>
                      <a:pt x="85800" y="171030"/>
                    </a:lnTo>
                    <a:cubicBezTo>
                      <a:pt x="85620" y="171899"/>
                      <a:pt x="84841" y="172469"/>
                      <a:pt x="83972" y="172469"/>
                    </a:cubicBezTo>
                    <a:lnTo>
                      <a:pt x="1858" y="172469"/>
                    </a:lnTo>
                    <a:cubicBezTo>
                      <a:pt x="809" y="172469"/>
                      <a:pt x="0" y="171659"/>
                      <a:pt x="0" y="170611"/>
                    </a:cubicBezTo>
                    <a:lnTo>
                      <a:pt x="0" y="1858"/>
                    </a:lnTo>
                    <a:cubicBezTo>
                      <a:pt x="0" y="809"/>
                      <a:pt x="809" y="0"/>
                      <a:pt x="1858" y="0"/>
                    </a:cubicBezTo>
                    <a:lnTo>
                      <a:pt x="123500" y="0"/>
                    </a:lnTo>
                    <a:cubicBezTo>
                      <a:pt x="124729" y="30"/>
                      <a:pt x="125598" y="1169"/>
                      <a:pt x="125328" y="2337"/>
                    </a:cubicBezTo>
                    <a:close/>
                  </a:path>
                </a:pathLst>
              </a:custGeom>
              <a:solidFill>
                <a:srgbClr val="946846"/>
              </a:solidFill>
              <a:ln w="298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340" name="Freeform: Shape 339">
                <a:extLst>
                  <a:ext uri="{FF2B5EF4-FFF2-40B4-BE49-F238E27FC236}">
                    <a16:creationId xmlns:a16="http://schemas.microsoft.com/office/drawing/2014/main" id="{8258741F-BFA1-4B6C-BECC-2370DD5B6CA9}"/>
                  </a:ext>
                </a:extLst>
              </p:cNvPr>
              <p:cNvSpPr/>
              <p:nvPr/>
            </p:nvSpPr>
            <p:spPr>
              <a:xfrm>
                <a:off x="1731248" y="4646692"/>
                <a:ext cx="125377" cy="172439"/>
              </a:xfrm>
              <a:custGeom>
                <a:avLst/>
                <a:gdLst>
                  <a:gd name="connsiteX0" fmla="*/ 125378 w 125377"/>
                  <a:gd name="connsiteY0" fmla="*/ 1829 h 172439"/>
                  <a:gd name="connsiteX1" fmla="*/ 125378 w 125377"/>
                  <a:gd name="connsiteY1" fmla="*/ 170582 h 172439"/>
                  <a:gd name="connsiteX2" fmla="*/ 123519 w 125377"/>
                  <a:gd name="connsiteY2" fmla="*/ 172440 h 172439"/>
                  <a:gd name="connsiteX3" fmla="*/ 41406 w 125377"/>
                  <a:gd name="connsiteY3" fmla="*/ 172440 h 172439"/>
                  <a:gd name="connsiteX4" fmla="*/ 39578 w 125377"/>
                  <a:gd name="connsiteY4" fmla="*/ 171001 h 172439"/>
                  <a:gd name="connsiteX5" fmla="*/ 8590 w 125377"/>
                  <a:gd name="connsiteY5" fmla="*/ 38690 h 172439"/>
                  <a:gd name="connsiteX6" fmla="*/ 5414 w 125377"/>
                  <a:gd name="connsiteY6" fmla="*/ 25085 h 172439"/>
                  <a:gd name="connsiteX7" fmla="*/ 49 w 125377"/>
                  <a:gd name="connsiteY7" fmla="*/ 2308 h 172439"/>
                  <a:gd name="connsiteX8" fmla="*/ 1877 w 125377"/>
                  <a:gd name="connsiteY8" fmla="*/ 1 h 172439"/>
                  <a:gd name="connsiteX9" fmla="*/ 123519 w 125377"/>
                  <a:gd name="connsiteY9" fmla="*/ 1 h 172439"/>
                  <a:gd name="connsiteX10" fmla="*/ 125378 w 125377"/>
                  <a:gd name="connsiteY10" fmla="*/ 1829 h 172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5377" h="172439">
                    <a:moveTo>
                      <a:pt x="125378" y="1829"/>
                    </a:moveTo>
                    <a:lnTo>
                      <a:pt x="125378" y="170582"/>
                    </a:lnTo>
                    <a:cubicBezTo>
                      <a:pt x="125378" y="171630"/>
                      <a:pt x="124568" y="172440"/>
                      <a:pt x="123519" y="172440"/>
                    </a:cubicBezTo>
                    <a:lnTo>
                      <a:pt x="41406" y="172440"/>
                    </a:lnTo>
                    <a:cubicBezTo>
                      <a:pt x="40537" y="172440"/>
                      <a:pt x="39758" y="171840"/>
                      <a:pt x="39578" y="171001"/>
                    </a:cubicBezTo>
                    <a:lnTo>
                      <a:pt x="8590" y="38690"/>
                    </a:lnTo>
                    <a:lnTo>
                      <a:pt x="5414" y="25085"/>
                    </a:lnTo>
                    <a:lnTo>
                      <a:pt x="49" y="2308"/>
                    </a:lnTo>
                    <a:cubicBezTo>
                      <a:pt x="-220" y="1140"/>
                      <a:pt x="649" y="1"/>
                      <a:pt x="1877" y="1"/>
                    </a:cubicBezTo>
                    <a:lnTo>
                      <a:pt x="123519" y="1"/>
                    </a:lnTo>
                    <a:cubicBezTo>
                      <a:pt x="124568" y="-29"/>
                      <a:pt x="125378" y="780"/>
                      <a:pt x="125378" y="1829"/>
                    </a:cubicBezTo>
                    <a:close/>
                  </a:path>
                </a:pathLst>
              </a:custGeom>
              <a:solidFill>
                <a:srgbClr val="946846"/>
              </a:solidFill>
              <a:ln w="298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341" name="Freeform: Shape 340">
                <a:extLst>
                  <a:ext uri="{FF2B5EF4-FFF2-40B4-BE49-F238E27FC236}">
                    <a16:creationId xmlns:a16="http://schemas.microsoft.com/office/drawing/2014/main" id="{20B4D44C-105F-4587-98CF-B46B36618F27}"/>
                  </a:ext>
                </a:extLst>
              </p:cNvPr>
              <p:cNvSpPr/>
              <p:nvPr/>
            </p:nvSpPr>
            <p:spPr>
              <a:xfrm>
                <a:off x="589888" y="4646633"/>
                <a:ext cx="125377" cy="38719"/>
              </a:xfrm>
              <a:custGeom>
                <a:avLst/>
                <a:gdLst>
                  <a:gd name="connsiteX0" fmla="*/ 125328 w 125377"/>
                  <a:gd name="connsiteY0" fmla="*/ 2337 h 38719"/>
                  <a:gd name="connsiteX1" fmla="*/ 119964 w 125377"/>
                  <a:gd name="connsiteY1" fmla="*/ 25114 h 38719"/>
                  <a:gd name="connsiteX2" fmla="*/ 116787 w 125377"/>
                  <a:gd name="connsiteY2" fmla="*/ 38719 h 38719"/>
                  <a:gd name="connsiteX3" fmla="*/ 0 w 125377"/>
                  <a:gd name="connsiteY3" fmla="*/ 38719 h 38719"/>
                  <a:gd name="connsiteX4" fmla="*/ 0 w 125377"/>
                  <a:gd name="connsiteY4" fmla="*/ 0 h 38719"/>
                  <a:gd name="connsiteX5" fmla="*/ 123500 w 125377"/>
                  <a:gd name="connsiteY5" fmla="*/ 0 h 38719"/>
                  <a:gd name="connsiteX6" fmla="*/ 125328 w 125377"/>
                  <a:gd name="connsiteY6" fmla="*/ 2337 h 38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5377" h="38719">
                    <a:moveTo>
                      <a:pt x="125328" y="2337"/>
                    </a:moveTo>
                    <a:lnTo>
                      <a:pt x="119964" y="25114"/>
                    </a:lnTo>
                    <a:lnTo>
                      <a:pt x="116787" y="38719"/>
                    </a:lnTo>
                    <a:lnTo>
                      <a:pt x="0" y="38719"/>
                    </a:lnTo>
                    <a:lnTo>
                      <a:pt x="0" y="0"/>
                    </a:lnTo>
                    <a:lnTo>
                      <a:pt x="123500" y="0"/>
                    </a:lnTo>
                    <a:cubicBezTo>
                      <a:pt x="124729" y="30"/>
                      <a:pt x="125598" y="1169"/>
                      <a:pt x="125328" y="2337"/>
                    </a:cubicBezTo>
                    <a:close/>
                  </a:path>
                </a:pathLst>
              </a:custGeom>
              <a:solidFill>
                <a:srgbClr val="424242">
                  <a:alpha val="20000"/>
                </a:srgbClr>
              </a:solidFill>
              <a:ln w="298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342" name="Freeform: Shape 341">
                <a:extLst>
                  <a:ext uri="{FF2B5EF4-FFF2-40B4-BE49-F238E27FC236}">
                    <a16:creationId xmlns:a16="http://schemas.microsoft.com/office/drawing/2014/main" id="{29977B0C-9950-40E3-A1B3-4224509F3395}"/>
                  </a:ext>
                </a:extLst>
              </p:cNvPr>
              <p:cNvSpPr/>
              <p:nvPr/>
            </p:nvSpPr>
            <p:spPr>
              <a:xfrm>
                <a:off x="1731248" y="4646663"/>
                <a:ext cx="125377" cy="38719"/>
              </a:xfrm>
              <a:custGeom>
                <a:avLst/>
                <a:gdLst>
                  <a:gd name="connsiteX0" fmla="*/ 125378 w 125377"/>
                  <a:gd name="connsiteY0" fmla="*/ 0 h 38719"/>
                  <a:gd name="connsiteX1" fmla="*/ 125378 w 125377"/>
                  <a:gd name="connsiteY1" fmla="*/ 38719 h 38719"/>
                  <a:gd name="connsiteX2" fmla="*/ 8590 w 125377"/>
                  <a:gd name="connsiteY2" fmla="*/ 38719 h 38719"/>
                  <a:gd name="connsiteX3" fmla="*/ 5414 w 125377"/>
                  <a:gd name="connsiteY3" fmla="*/ 25114 h 38719"/>
                  <a:gd name="connsiteX4" fmla="*/ 49 w 125377"/>
                  <a:gd name="connsiteY4" fmla="*/ 2337 h 38719"/>
                  <a:gd name="connsiteX5" fmla="*/ 1877 w 125377"/>
                  <a:gd name="connsiteY5" fmla="*/ 30 h 38719"/>
                  <a:gd name="connsiteX6" fmla="*/ 125378 w 125377"/>
                  <a:gd name="connsiteY6" fmla="*/ 30 h 38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5377" h="38719">
                    <a:moveTo>
                      <a:pt x="125378" y="0"/>
                    </a:moveTo>
                    <a:lnTo>
                      <a:pt x="125378" y="38719"/>
                    </a:lnTo>
                    <a:lnTo>
                      <a:pt x="8590" y="38719"/>
                    </a:lnTo>
                    <a:lnTo>
                      <a:pt x="5414" y="25114"/>
                    </a:lnTo>
                    <a:lnTo>
                      <a:pt x="49" y="2337"/>
                    </a:lnTo>
                    <a:cubicBezTo>
                      <a:pt x="-220" y="1169"/>
                      <a:pt x="649" y="30"/>
                      <a:pt x="1877" y="30"/>
                    </a:cubicBezTo>
                    <a:lnTo>
                      <a:pt x="125378" y="30"/>
                    </a:lnTo>
                    <a:close/>
                  </a:path>
                </a:pathLst>
              </a:custGeom>
              <a:solidFill>
                <a:srgbClr val="424242">
                  <a:alpha val="20000"/>
                </a:srgbClr>
              </a:solidFill>
              <a:ln w="298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grpSp>
            <p:nvGrpSpPr>
              <p:cNvPr id="343" name="Graphic 484">
                <a:extLst>
                  <a:ext uri="{FF2B5EF4-FFF2-40B4-BE49-F238E27FC236}">
                    <a16:creationId xmlns:a16="http://schemas.microsoft.com/office/drawing/2014/main" id="{87598E85-A0E1-4216-AD99-D33A989AA06E}"/>
                  </a:ext>
                </a:extLst>
              </p:cNvPr>
              <p:cNvGrpSpPr/>
              <p:nvPr/>
            </p:nvGrpSpPr>
            <p:grpSpPr>
              <a:xfrm>
                <a:off x="1025550" y="3061550"/>
                <a:ext cx="89346" cy="89346"/>
                <a:chOff x="924782" y="3061550"/>
                <a:chExt cx="89346" cy="89346"/>
              </a:xfrm>
              <a:solidFill>
                <a:srgbClr val="A5A5A5"/>
              </a:solidFill>
            </p:grpSpPr>
            <p:sp>
              <p:nvSpPr>
                <p:cNvPr id="471" name="Freeform: Shape 470">
                  <a:extLst>
                    <a:ext uri="{FF2B5EF4-FFF2-40B4-BE49-F238E27FC236}">
                      <a16:creationId xmlns:a16="http://schemas.microsoft.com/office/drawing/2014/main" id="{FE696E1B-7F1D-4593-991A-DA7D8DAC099F}"/>
                    </a:ext>
                  </a:extLst>
                </p:cNvPr>
                <p:cNvSpPr/>
                <p:nvPr/>
              </p:nvSpPr>
              <p:spPr>
                <a:xfrm>
                  <a:off x="924782" y="3061550"/>
                  <a:ext cx="89346" cy="89345"/>
                </a:xfrm>
                <a:custGeom>
                  <a:avLst/>
                  <a:gdLst>
                    <a:gd name="connsiteX0" fmla="*/ 39908 w 89346"/>
                    <a:gd name="connsiteY0" fmla="*/ 49438 h 89345"/>
                    <a:gd name="connsiteX1" fmla="*/ 260 w 89346"/>
                    <a:gd name="connsiteY1" fmla="*/ 259 h 89345"/>
                    <a:gd name="connsiteX2" fmla="*/ 49438 w 89346"/>
                    <a:gd name="connsiteY2" fmla="*/ 39908 h 89345"/>
                    <a:gd name="connsiteX3" fmla="*/ 89086 w 89346"/>
                    <a:gd name="connsiteY3" fmla="*/ 89086 h 89345"/>
                    <a:gd name="connsiteX4" fmla="*/ 39908 w 89346"/>
                    <a:gd name="connsiteY4" fmla="*/ 49438 h 89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346" h="89345">
                      <a:moveTo>
                        <a:pt x="39908" y="49438"/>
                      </a:moveTo>
                      <a:cubicBezTo>
                        <a:pt x="15364" y="24893"/>
                        <a:pt x="-2377" y="2897"/>
                        <a:pt x="260" y="259"/>
                      </a:cubicBezTo>
                      <a:cubicBezTo>
                        <a:pt x="2897" y="-2378"/>
                        <a:pt x="24894" y="15394"/>
                        <a:pt x="49438" y="39908"/>
                      </a:cubicBezTo>
                      <a:cubicBezTo>
                        <a:pt x="73982" y="64452"/>
                        <a:pt x="91724" y="86449"/>
                        <a:pt x="89086" y="89086"/>
                      </a:cubicBezTo>
                      <a:cubicBezTo>
                        <a:pt x="86449" y="91723"/>
                        <a:pt x="64452" y="73982"/>
                        <a:pt x="39908" y="49438"/>
                      </a:cubicBezTo>
                      <a:close/>
                    </a:path>
                  </a:pathLst>
                </a:custGeom>
                <a:solidFill>
                  <a:srgbClr val="A5A5A5"/>
                </a:solidFill>
                <a:ln w="298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472" name="Freeform: Shape 471">
                  <a:extLst>
                    <a:ext uri="{FF2B5EF4-FFF2-40B4-BE49-F238E27FC236}">
                      <a16:creationId xmlns:a16="http://schemas.microsoft.com/office/drawing/2014/main" id="{BF570C47-405B-4FE7-A41E-6E046C824606}"/>
                    </a:ext>
                  </a:extLst>
                </p:cNvPr>
                <p:cNvSpPr/>
                <p:nvPr/>
              </p:nvSpPr>
              <p:spPr>
                <a:xfrm>
                  <a:off x="924782" y="3061550"/>
                  <a:ext cx="89345" cy="89346"/>
                </a:xfrm>
                <a:custGeom>
                  <a:avLst/>
                  <a:gdLst>
                    <a:gd name="connsiteX0" fmla="*/ 49438 w 89345"/>
                    <a:gd name="connsiteY0" fmla="*/ 49438 h 89346"/>
                    <a:gd name="connsiteX1" fmla="*/ 259 w 89345"/>
                    <a:gd name="connsiteY1" fmla="*/ 89086 h 89346"/>
                    <a:gd name="connsiteX2" fmla="*/ 39908 w 89345"/>
                    <a:gd name="connsiteY2" fmla="*/ 39908 h 89346"/>
                    <a:gd name="connsiteX3" fmla="*/ 89086 w 89345"/>
                    <a:gd name="connsiteY3" fmla="*/ 260 h 89346"/>
                    <a:gd name="connsiteX4" fmla="*/ 49438 w 89345"/>
                    <a:gd name="connsiteY4" fmla="*/ 49438 h 893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345" h="89346">
                      <a:moveTo>
                        <a:pt x="49438" y="49438"/>
                      </a:moveTo>
                      <a:cubicBezTo>
                        <a:pt x="24893" y="73982"/>
                        <a:pt x="2897" y="91724"/>
                        <a:pt x="259" y="89086"/>
                      </a:cubicBezTo>
                      <a:cubicBezTo>
                        <a:pt x="-2378" y="86449"/>
                        <a:pt x="15393" y="64452"/>
                        <a:pt x="39908" y="39908"/>
                      </a:cubicBezTo>
                      <a:cubicBezTo>
                        <a:pt x="64452" y="15364"/>
                        <a:pt x="86449" y="-2377"/>
                        <a:pt x="89086" y="260"/>
                      </a:cubicBezTo>
                      <a:cubicBezTo>
                        <a:pt x="91723" y="2897"/>
                        <a:pt x="73952" y="24924"/>
                        <a:pt x="49438" y="49438"/>
                      </a:cubicBezTo>
                      <a:close/>
                    </a:path>
                  </a:pathLst>
                </a:custGeom>
                <a:solidFill>
                  <a:srgbClr val="A5A5A5"/>
                </a:solidFill>
                <a:ln w="298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grpSp>
          <p:grpSp>
            <p:nvGrpSpPr>
              <p:cNvPr id="344" name="Graphic 484">
                <a:extLst>
                  <a:ext uri="{FF2B5EF4-FFF2-40B4-BE49-F238E27FC236}">
                    <a16:creationId xmlns:a16="http://schemas.microsoft.com/office/drawing/2014/main" id="{AAC6BEC0-2A39-41BE-A2CA-F5E78E23E05D}"/>
                  </a:ext>
                </a:extLst>
              </p:cNvPr>
              <p:cNvGrpSpPr/>
              <p:nvPr/>
            </p:nvGrpSpPr>
            <p:grpSpPr>
              <a:xfrm>
                <a:off x="1346512" y="3061550"/>
                <a:ext cx="89346" cy="89346"/>
                <a:chOff x="1245744" y="3061550"/>
                <a:chExt cx="89346" cy="89346"/>
              </a:xfrm>
              <a:solidFill>
                <a:srgbClr val="A5A5A5"/>
              </a:solidFill>
            </p:grpSpPr>
            <p:sp>
              <p:nvSpPr>
                <p:cNvPr id="469" name="Freeform: Shape 468">
                  <a:extLst>
                    <a:ext uri="{FF2B5EF4-FFF2-40B4-BE49-F238E27FC236}">
                      <a16:creationId xmlns:a16="http://schemas.microsoft.com/office/drawing/2014/main" id="{A7CBE24D-4435-4D51-9C51-C1A83897D998}"/>
                    </a:ext>
                  </a:extLst>
                </p:cNvPr>
                <p:cNvSpPr/>
                <p:nvPr/>
              </p:nvSpPr>
              <p:spPr>
                <a:xfrm>
                  <a:off x="1245744" y="3061550"/>
                  <a:ext cx="89346" cy="89345"/>
                </a:xfrm>
                <a:custGeom>
                  <a:avLst/>
                  <a:gdLst>
                    <a:gd name="connsiteX0" fmla="*/ 39908 w 89346"/>
                    <a:gd name="connsiteY0" fmla="*/ 49438 h 89345"/>
                    <a:gd name="connsiteX1" fmla="*/ 260 w 89346"/>
                    <a:gd name="connsiteY1" fmla="*/ 259 h 89345"/>
                    <a:gd name="connsiteX2" fmla="*/ 49438 w 89346"/>
                    <a:gd name="connsiteY2" fmla="*/ 39908 h 89345"/>
                    <a:gd name="connsiteX3" fmla="*/ 89086 w 89346"/>
                    <a:gd name="connsiteY3" fmla="*/ 89086 h 89345"/>
                    <a:gd name="connsiteX4" fmla="*/ 39908 w 89346"/>
                    <a:gd name="connsiteY4" fmla="*/ 49438 h 89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346" h="89345">
                      <a:moveTo>
                        <a:pt x="39908" y="49438"/>
                      </a:moveTo>
                      <a:cubicBezTo>
                        <a:pt x="15364" y="24893"/>
                        <a:pt x="-2377" y="2897"/>
                        <a:pt x="260" y="259"/>
                      </a:cubicBezTo>
                      <a:cubicBezTo>
                        <a:pt x="2897" y="-2378"/>
                        <a:pt x="24894" y="15394"/>
                        <a:pt x="49438" y="39908"/>
                      </a:cubicBezTo>
                      <a:cubicBezTo>
                        <a:pt x="73982" y="64452"/>
                        <a:pt x="91724" y="86449"/>
                        <a:pt x="89086" y="89086"/>
                      </a:cubicBezTo>
                      <a:cubicBezTo>
                        <a:pt x="86449" y="91723"/>
                        <a:pt x="64452" y="73982"/>
                        <a:pt x="39908" y="49438"/>
                      </a:cubicBezTo>
                      <a:close/>
                    </a:path>
                  </a:pathLst>
                </a:custGeom>
                <a:solidFill>
                  <a:srgbClr val="A5A5A5"/>
                </a:solidFill>
                <a:ln w="298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470" name="Freeform: Shape 469">
                  <a:extLst>
                    <a:ext uri="{FF2B5EF4-FFF2-40B4-BE49-F238E27FC236}">
                      <a16:creationId xmlns:a16="http://schemas.microsoft.com/office/drawing/2014/main" id="{696104E3-A35C-4DC3-9E34-AA8D7CDEAD77}"/>
                    </a:ext>
                  </a:extLst>
                </p:cNvPr>
                <p:cNvSpPr/>
                <p:nvPr/>
              </p:nvSpPr>
              <p:spPr>
                <a:xfrm>
                  <a:off x="1245745" y="3061550"/>
                  <a:ext cx="89345" cy="89346"/>
                </a:xfrm>
                <a:custGeom>
                  <a:avLst/>
                  <a:gdLst>
                    <a:gd name="connsiteX0" fmla="*/ 49438 w 89345"/>
                    <a:gd name="connsiteY0" fmla="*/ 49438 h 89346"/>
                    <a:gd name="connsiteX1" fmla="*/ 259 w 89345"/>
                    <a:gd name="connsiteY1" fmla="*/ 89086 h 89346"/>
                    <a:gd name="connsiteX2" fmla="*/ 39908 w 89345"/>
                    <a:gd name="connsiteY2" fmla="*/ 39908 h 89346"/>
                    <a:gd name="connsiteX3" fmla="*/ 89086 w 89345"/>
                    <a:gd name="connsiteY3" fmla="*/ 260 h 89346"/>
                    <a:gd name="connsiteX4" fmla="*/ 49438 w 89345"/>
                    <a:gd name="connsiteY4" fmla="*/ 49438 h 893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345" h="89346">
                      <a:moveTo>
                        <a:pt x="49438" y="49438"/>
                      </a:moveTo>
                      <a:cubicBezTo>
                        <a:pt x="24893" y="73982"/>
                        <a:pt x="2897" y="91724"/>
                        <a:pt x="259" y="89086"/>
                      </a:cubicBezTo>
                      <a:cubicBezTo>
                        <a:pt x="-2378" y="86449"/>
                        <a:pt x="15394" y="64452"/>
                        <a:pt x="39908" y="39908"/>
                      </a:cubicBezTo>
                      <a:cubicBezTo>
                        <a:pt x="64452" y="15364"/>
                        <a:pt x="86449" y="-2377"/>
                        <a:pt x="89086" y="260"/>
                      </a:cubicBezTo>
                      <a:cubicBezTo>
                        <a:pt x="91723" y="2897"/>
                        <a:pt x="73952" y="24924"/>
                        <a:pt x="49438" y="49438"/>
                      </a:cubicBezTo>
                      <a:close/>
                    </a:path>
                  </a:pathLst>
                </a:custGeom>
                <a:solidFill>
                  <a:srgbClr val="A5A5A5"/>
                </a:solidFill>
                <a:ln w="298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grpSp>
          <p:grpSp>
            <p:nvGrpSpPr>
              <p:cNvPr id="345" name="Graphic 484">
                <a:extLst>
                  <a:ext uri="{FF2B5EF4-FFF2-40B4-BE49-F238E27FC236}">
                    <a16:creationId xmlns:a16="http://schemas.microsoft.com/office/drawing/2014/main" id="{1777E6BB-1979-4678-B310-85E030FEA6B8}"/>
                  </a:ext>
                </a:extLst>
              </p:cNvPr>
              <p:cNvGrpSpPr/>
              <p:nvPr/>
            </p:nvGrpSpPr>
            <p:grpSpPr>
              <a:xfrm>
                <a:off x="478595" y="3756668"/>
                <a:ext cx="89375" cy="89346"/>
                <a:chOff x="377827" y="3756668"/>
                <a:chExt cx="89375" cy="89346"/>
              </a:xfrm>
              <a:solidFill>
                <a:srgbClr val="A5A5A5"/>
              </a:solidFill>
            </p:grpSpPr>
            <p:sp>
              <p:nvSpPr>
                <p:cNvPr id="467" name="Freeform: Shape 466">
                  <a:extLst>
                    <a:ext uri="{FF2B5EF4-FFF2-40B4-BE49-F238E27FC236}">
                      <a16:creationId xmlns:a16="http://schemas.microsoft.com/office/drawing/2014/main" id="{9EB4C49B-D4BC-4D5C-9023-E5B327C4D016}"/>
                    </a:ext>
                  </a:extLst>
                </p:cNvPr>
                <p:cNvSpPr/>
                <p:nvPr/>
              </p:nvSpPr>
              <p:spPr>
                <a:xfrm>
                  <a:off x="377857" y="3756669"/>
                  <a:ext cx="89346" cy="89345"/>
                </a:xfrm>
                <a:custGeom>
                  <a:avLst/>
                  <a:gdLst>
                    <a:gd name="connsiteX0" fmla="*/ 39908 w 89346"/>
                    <a:gd name="connsiteY0" fmla="*/ 49438 h 89345"/>
                    <a:gd name="connsiteX1" fmla="*/ 260 w 89346"/>
                    <a:gd name="connsiteY1" fmla="*/ 259 h 89345"/>
                    <a:gd name="connsiteX2" fmla="*/ 49438 w 89346"/>
                    <a:gd name="connsiteY2" fmla="*/ 39908 h 89345"/>
                    <a:gd name="connsiteX3" fmla="*/ 89086 w 89346"/>
                    <a:gd name="connsiteY3" fmla="*/ 89086 h 89345"/>
                    <a:gd name="connsiteX4" fmla="*/ 39908 w 89346"/>
                    <a:gd name="connsiteY4" fmla="*/ 49438 h 89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346" h="89345">
                      <a:moveTo>
                        <a:pt x="39908" y="49438"/>
                      </a:moveTo>
                      <a:cubicBezTo>
                        <a:pt x="15364" y="24893"/>
                        <a:pt x="-2377" y="2897"/>
                        <a:pt x="260" y="259"/>
                      </a:cubicBezTo>
                      <a:cubicBezTo>
                        <a:pt x="2897" y="-2378"/>
                        <a:pt x="24894" y="15393"/>
                        <a:pt x="49438" y="39908"/>
                      </a:cubicBezTo>
                      <a:cubicBezTo>
                        <a:pt x="73982" y="64452"/>
                        <a:pt x="91724" y="86449"/>
                        <a:pt x="89086" y="89086"/>
                      </a:cubicBezTo>
                      <a:cubicBezTo>
                        <a:pt x="86449" y="91723"/>
                        <a:pt x="64422" y="73982"/>
                        <a:pt x="39908" y="49438"/>
                      </a:cubicBezTo>
                      <a:close/>
                    </a:path>
                  </a:pathLst>
                </a:custGeom>
                <a:solidFill>
                  <a:srgbClr val="A5A5A5"/>
                </a:solidFill>
                <a:ln w="298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468" name="Freeform: Shape 467">
                  <a:extLst>
                    <a:ext uri="{FF2B5EF4-FFF2-40B4-BE49-F238E27FC236}">
                      <a16:creationId xmlns:a16="http://schemas.microsoft.com/office/drawing/2014/main" id="{2DB98C2A-0473-4C03-9CFF-ACFC30D2BFF0}"/>
                    </a:ext>
                  </a:extLst>
                </p:cNvPr>
                <p:cNvSpPr/>
                <p:nvPr/>
              </p:nvSpPr>
              <p:spPr>
                <a:xfrm>
                  <a:off x="377827" y="3756668"/>
                  <a:ext cx="89345" cy="89346"/>
                </a:xfrm>
                <a:custGeom>
                  <a:avLst/>
                  <a:gdLst>
                    <a:gd name="connsiteX0" fmla="*/ 49438 w 89345"/>
                    <a:gd name="connsiteY0" fmla="*/ 49438 h 89346"/>
                    <a:gd name="connsiteX1" fmla="*/ 259 w 89345"/>
                    <a:gd name="connsiteY1" fmla="*/ 89086 h 89346"/>
                    <a:gd name="connsiteX2" fmla="*/ 39908 w 89345"/>
                    <a:gd name="connsiteY2" fmla="*/ 39908 h 89346"/>
                    <a:gd name="connsiteX3" fmla="*/ 89086 w 89345"/>
                    <a:gd name="connsiteY3" fmla="*/ 260 h 89346"/>
                    <a:gd name="connsiteX4" fmla="*/ 49438 w 89345"/>
                    <a:gd name="connsiteY4" fmla="*/ 49438 h 893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345" h="89346">
                      <a:moveTo>
                        <a:pt x="49438" y="49438"/>
                      </a:moveTo>
                      <a:cubicBezTo>
                        <a:pt x="24893" y="73982"/>
                        <a:pt x="2897" y="91724"/>
                        <a:pt x="259" y="89086"/>
                      </a:cubicBezTo>
                      <a:cubicBezTo>
                        <a:pt x="-2378" y="86449"/>
                        <a:pt x="15393" y="64452"/>
                        <a:pt x="39908" y="39908"/>
                      </a:cubicBezTo>
                      <a:cubicBezTo>
                        <a:pt x="64452" y="15364"/>
                        <a:pt x="86449" y="-2377"/>
                        <a:pt x="89086" y="260"/>
                      </a:cubicBezTo>
                      <a:cubicBezTo>
                        <a:pt x="91723" y="2897"/>
                        <a:pt x="73982" y="24894"/>
                        <a:pt x="49438" y="49438"/>
                      </a:cubicBezTo>
                      <a:close/>
                    </a:path>
                  </a:pathLst>
                </a:custGeom>
                <a:solidFill>
                  <a:srgbClr val="A5A5A5"/>
                </a:solidFill>
                <a:ln w="298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grpSp>
          <p:sp>
            <p:nvSpPr>
              <p:cNvPr id="346" name="Freeform: Shape 345">
                <a:extLst>
                  <a:ext uri="{FF2B5EF4-FFF2-40B4-BE49-F238E27FC236}">
                    <a16:creationId xmlns:a16="http://schemas.microsoft.com/office/drawing/2014/main" id="{150C1474-7B6F-427F-8C47-4DB4BA49D3AD}"/>
                  </a:ext>
                </a:extLst>
              </p:cNvPr>
              <p:cNvSpPr/>
              <p:nvPr/>
            </p:nvSpPr>
            <p:spPr>
              <a:xfrm>
                <a:off x="541039" y="4615615"/>
                <a:ext cx="1383884" cy="35632"/>
              </a:xfrm>
              <a:custGeom>
                <a:avLst/>
                <a:gdLst>
                  <a:gd name="connsiteX0" fmla="*/ 1383885 w 1383884"/>
                  <a:gd name="connsiteY0" fmla="*/ 0 h 35632"/>
                  <a:gd name="connsiteX1" fmla="*/ 1382206 w 1383884"/>
                  <a:gd name="connsiteY1" fmla="*/ 2577 h 35632"/>
                  <a:gd name="connsiteX2" fmla="*/ 1382116 w 1383884"/>
                  <a:gd name="connsiteY2" fmla="*/ 2697 h 35632"/>
                  <a:gd name="connsiteX3" fmla="*/ 1379599 w 1383884"/>
                  <a:gd name="connsiteY3" fmla="*/ 6084 h 35632"/>
                  <a:gd name="connsiteX4" fmla="*/ 1377052 w 1383884"/>
                  <a:gd name="connsiteY4" fmla="*/ 9170 h 35632"/>
                  <a:gd name="connsiteX5" fmla="*/ 1376063 w 1383884"/>
                  <a:gd name="connsiteY5" fmla="*/ 10309 h 35632"/>
                  <a:gd name="connsiteX6" fmla="*/ 1373875 w 1383884"/>
                  <a:gd name="connsiteY6" fmla="*/ 12647 h 35632"/>
                  <a:gd name="connsiteX7" fmla="*/ 1370729 w 1383884"/>
                  <a:gd name="connsiteY7" fmla="*/ 15793 h 35632"/>
                  <a:gd name="connsiteX8" fmla="*/ 1349481 w 1383884"/>
                  <a:gd name="connsiteY8" fmla="*/ 30298 h 35632"/>
                  <a:gd name="connsiteX9" fmla="*/ 1347713 w 1383884"/>
                  <a:gd name="connsiteY9" fmla="*/ 31107 h 35632"/>
                  <a:gd name="connsiteX10" fmla="*/ 1344776 w 1383884"/>
                  <a:gd name="connsiteY10" fmla="*/ 32246 h 35632"/>
                  <a:gd name="connsiteX11" fmla="*/ 1342528 w 1383884"/>
                  <a:gd name="connsiteY11" fmla="*/ 32995 h 35632"/>
                  <a:gd name="connsiteX12" fmla="*/ 1342408 w 1383884"/>
                  <a:gd name="connsiteY12" fmla="*/ 33025 h 35632"/>
                  <a:gd name="connsiteX13" fmla="*/ 1340011 w 1383884"/>
                  <a:gd name="connsiteY13" fmla="*/ 33715 h 35632"/>
                  <a:gd name="connsiteX14" fmla="*/ 1337793 w 1383884"/>
                  <a:gd name="connsiteY14" fmla="*/ 34254 h 35632"/>
                  <a:gd name="connsiteX15" fmla="*/ 1337404 w 1383884"/>
                  <a:gd name="connsiteY15" fmla="*/ 34314 h 35632"/>
                  <a:gd name="connsiteX16" fmla="*/ 1335845 w 1383884"/>
                  <a:gd name="connsiteY16" fmla="*/ 34644 h 35632"/>
                  <a:gd name="connsiteX17" fmla="*/ 1335216 w 1383884"/>
                  <a:gd name="connsiteY17" fmla="*/ 34734 h 35632"/>
                  <a:gd name="connsiteX18" fmla="*/ 1335156 w 1383884"/>
                  <a:gd name="connsiteY18" fmla="*/ 34764 h 35632"/>
                  <a:gd name="connsiteX19" fmla="*/ 1335066 w 1383884"/>
                  <a:gd name="connsiteY19" fmla="*/ 34764 h 35632"/>
                  <a:gd name="connsiteX20" fmla="*/ 1333118 w 1383884"/>
                  <a:gd name="connsiteY20" fmla="*/ 35033 h 35632"/>
                  <a:gd name="connsiteX21" fmla="*/ 1331320 w 1383884"/>
                  <a:gd name="connsiteY21" fmla="*/ 35213 h 35632"/>
                  <a:gd name="connsiteX22" fmla="*/ 1329941 w 1383884"/>
                  <a:gd name="connsiteY22" fmla="*/ 35303 h 35632"/>
                  <a:gd name="connsiteX23" fmla="*/ 1327814 w 1383884"/>
                  <a:gd name="connsiteY23" fmla="*/ 35363 h 35632"/>
                  <a:gd name="connsiteX24" fmla="*/ 1315676 w 1383884"/>
                  <a:gd name="connsiteY24" fmla="*/ 35393 h 35632"/>
                  <a:gd name="connsiteX25" fmla="*/ 1279145 w 1383884"/>
                  <a:gd name="connsiteY25" fmla="*/ 35453 h 35632"/>
                  <a:gd name="connsiteX26" fmla="*/ 1279145 w 1383884"/>
                  <a:gd name="connsiteY26" fmla="*/ 35633 h 35632"/>
                  <a:gd name="connsiteX27" fmla="*/ 111752 w 1383884"/>
                  <a:gd name="connsiteY27" fmla="*/ 35633 h 35632"/>
                  <a:gd name="connsiteX28" fmla="*/ 111752 w 1383884"/>
                  <a:gd name="connsiteY28" fmla="*/ 35453 h 35632"/>
                  <a:gd name="connsiteX29" fmla="*/ 52265 w 1383884"/>
                  <a:gd name="connsiteY29" fmla="*/ 35363 h 35632"/>
                  <a:gd name="connsiteX30" fmla="*/ 49928 w 1383884"/>
                  <a:gd name="connsiteY30" fmla="*/ 35303 h 35632"/>
                  <a:gd name="connsiteX31" fmla="*/ 48879 w 1383884"/>
                  <a:gd name="connsiteY31" fmla="*/ 35243 h 35632"/>
                  <a:gd name="connsiteX32" fmla="*/ 47380 w 1383884"/>
                  <a:gd name="connsiteY32" fmla="*/ 35123 h 35632"/>
                  <a:gd name="connsiteX33" fmla="*/ 46841 w 1383884"/>
                  <a:gd name="connsiteY33" fmla="*/ 35063 h 35632"/>
                  <a:gd name="connsiteX34" fmla="*/ 45013 w 1383884"/>
                  <a:gd name="connsiteY34" fmla="*/ 34794 h 35632"/>
                  <a:gd name="connsiteX35" fmla="*/ 44683 w 1383884"/>
                  <a:gd name="connsiteY35" fmla="*/ 34734 h 35632"/>
                  <a:gd name="connsiteX36" fmla="*/ 44653 w 1383884"/>
                  <a:gd name="connsiteY36" fmla="*/ 34734 h 35632"/>
                  <a:gd name="connsiteX37" fmla="*/ 42675 w 1383884"/>
                  <a:gd name="connsiteY37" fmla="*/ 34344 h 35632"/>
                  <a:gd name="connsiteX38" fmla="*/ 42405 w 1383884"/>
                  <a:gd name="connsiteY38" fmla="*/ 34314 h 35632"/>
                  <a:gd name="connsiteX39" fmla="*/ 40098 w 1383884"/>
                  <a:gd name="connsiteY39" fmla="*/ 33745 h 35632"/>
                  <a:gd name="connsiteX40" fmla="*/ 37670 w 1383884"/>
                  <a:gd name="connsiteY40" fmla="*/ 33055 h 35632"/>
                  <a:gd name="connsiteX41" fmla="*/ 30598 w 1383884"/>
                  <a:gd name="connsiteY41" fmla="*/ 30328 h 35632"/>
                  <a:gd name="connsiteX42" fmla="*/ 29099 w 1383884"/>
                  <a:gd name="connsiteY42" fmla="*/ 29639 h 35632"/>
                  <a:gd name="connsiteX43" fmla="*/ 26342 w 1383884"/>
                  <a:gd name="connsiteY43" fmla="*/ 28200 h 35632"/>
                  <a:gd name="connsiteX44" fmla="*/ 22686 w 1383884"/>
                  <a:gd name="connsiteY44" fmla="*/ 26073 h 35632"/>
                  <a:gd name="connsiteX45" fmla="*/ 19509 w 1383884"/>
                  <a:gd name="connsiteY45" fmla="*/ 24035 h 35632"/>
                  <a:gd name="connsiteX46" fmla="*/ 17262 w 1383884"/>
                  <a:gd name="connsiteY46" fmla="*/ 22447 h 35632"/>
                  <a:gd name="connsiteX47" fmla="*/ 13096 w 1383884"/>
                  <a:gd name="connsiteY47" fmla="*/ 19180 h 35632"/>
                  <a:gd name="connsiteX48" fmla="*/ 10069 w 1383884"/>
                  <a:gd name="connsiteY48" fmla="*/ 16543 h 35632"/>
                  <a:gd name="connsiteX49" fmla="*/ 4465 w 1383884"/>
                  <a:gd name="connsiteY49" fmla="*/ 10909 h 35632"/>
                  <a:gd name="connsiteX50" fmla="*/ 2158 w 1383884"/>
                  <a:gd name="connsiteY50" fmla="*/ 8241 h 35632"/>
                  <a:gd name="connsiteX51" fmla="*/ 0 w 1383884"/>
                  <a:gd name="connsiteY51" fmla="*/ 5514 h 35632"/>
                  <a:gd name="connsiteX52" fmla="*/ 4435 w 1383884"/>
                  <a:gd name="connsiteY52" fmla="*/ 8661 h 35632"/>
                  <a:gd name="connsiteX53" fmla="*/ 4465 w 1383884"/>
                  <a:gd name="connsiteY53" fmla="*/ 8691 h 35632"/>
                  <a:gd name="connsiteX54" fmla="*/ 4495 w 1383884"/>
                  <a:gd name="connsiteY54" fmla="*/ 8691 h 35632"/>
                  <a:gd name="connsiteX55" fmla="*/ 233724 w 1383884"/>
                  <a:gd name="connsiteY55" fmla="*/ 20169 h 35632"/>
                  <a:gd name="connsiteX56" fmla="*/ 338584 w 1383884"/>
                  <a:gd name="connsiteY56" fmla="*/ 18101 h 35632"/>
                  <a:gd name="connsiteX57" fmla="*/ 338614 w 1383884"/>
                  <a:gd name="connsiteY57" fmla="*/ 18101 h 35632"/>
                  <a:gd name="connsiteX58" fmla="*/ 482373 w 1383884"/>
                  <a:gd name="connsiteY58" fmla="*/ 14894 h 35632"/>
                  <a:gd name="connsiteX59" fmla="*/ 650556 w 1383884"/>
                  <a:gd name="connsiteY59" fmla="*/ 12467 h 35632"/>
                  <a:gd name="connsiteX60" fmla="*/ 699824 w 1383884"/>
                  <a:gd name="connsiteY60" fmla="*/ 12287 h 35632"/>
                  <a:gd name="connsiteX61" fmla="*/ 778881 w 1383884"/>
                  <a:gd name="connsiteY61" fmla="*/ 12677 h 35632"/>
                  <a:gd name="connsiteX62" fmla="*/ 948293 w 1383884"/>
                  <a:gd name="connsiteY62" fmla="*/ 15494 h 35632"/>
                  <a:gd name="connsiteX63" fmla="*/ 1041854 w 1383884"/>
                  <a:gd name="connsiteY63" fmla="*/ 17442 h 35632"/>
                  <a:gd name="connsiteX64" fmla="*/ 1041944 w 1383884"/>
                  <a:gd name="connsiteY64" fmla="*/ 17442 h 35632"/>
                  <a:gd name="connsiteX65" fmla="*/ 1145725 w 1383884"/>
                  <a:gd name="connsiteY65" fmla="*/ 19210 h 35632"/>
                  <a:gd name="connsiteX66" fmla="*/ 1379539 w 1383884"/>
                  <a:gd name="connsiteY66" fmla="*/ 3836 h 35632"/>
                  <a:gd name="connsiteX67" fmla="*/ 1383885 w 1383884"/>
                  <a:gd name="connsiteY67" fmla="*/ 0 h 35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1383884" h="35632">
                    <a:moveTo>
                      <a:pt x="1383885" y="0"/>
                    </a:moveTo>
                    <a:cubicBezTo>
                      <a:pt x="1383345" y="869"/>
                      <a:pt x="1382806" y="1708"/>
                      <a:pt x="1382206" y="2577"/>
                    </a:cubicBezTo>
                    <a:cubicBezTo>
                      <a:pt x="1382176" y="2607"/>
                      <a:pt x="1382146" y="2637"/>
                      <a:pt x="1382116" y="2697"/>
                    </a:cubicBezTo>
                    <a:cubicBezTo>
                      <a:pt x="1381307" y="3836"/>
                      <a:pt x="1380468" y="4945"/>
                      <a:pt x="1379599" y="6084"/>
                    </a:cubicBezTo>
                    <a:cubicBezTo>
                      <a:pt x="1378760" y="7103"/>
                      <a:pt x="1377951" y="8122"/>
                      <a:pt x="1377052" y="9170"/>
                    </a:cubicBezTo>
                    <a:cubicBezTo>
                      <a:pt x="1376752" y="9530"/>
                      <a:pt x="1376422" y="9920"/>
                      <a:pt x="1376063" y="10309"/>
                    </a:cubicBezTo>
                    <a:cubicBezTo>
                      <a:pt x="1375374" y="11118"/>
                      <a:pt x="1374624" y="11898"/>
                      <a:pt x="1373875" y="12647"/>
                    </a:cubicBezTo>
                    <a:cubicBezTo>
                      <a:pt x="1372886" y="13696"/>
                      <a:pt x="1371837" y="14775"/>
                      <a:pt x="1370729" y="15793"/>
                    </a:cubicBezTo>
                    <a:cubicBezTo>
                      <a:pt x="1364465" y="21667"/>
                      <a:pt x="1357213" y="26792"/>
                      <a:pt x="1349481" y="30298"/>
                    </a:cubicBezTo>
                    <a:cubicBezTo>
                      <a:pt x="1348881" y="30568"/>
                      <a:pt x="1348312" y="30838"/>
                      <a:pt x="1347713" y="31107"/>
                    </a:cubicBezTo>
                    <a:cubicBezTo>
                      <a:pt x="1346724" y="31497"/>
                      <a:pt x="1345765" y="31917"/>
                      <a:pt x="1344776" y="32246"/>
                    </a:cubicBezTo>
                    <a:cubicBezTo>
                      <a:pt x="1344056" y="32516"/>
                      <a:pt x="1343277" y="32786"/>
                      <a:pt x="1342528" y="32995"/>
                    </a:cubicBezTo>
                    <a:cubicBezTo>
                      <a:pt x="1342468" y="33025"/>
                      <a:pt x="1342438" y="33025"/>
                      <a:pt x="1342408" y="33025"/>
                    </a:cubicBezTo>
                    <a:cubicBezTo>
                      <a:pt x="1341599" y="33295"/>
                      <a:pt x="1340820" y="33535"/>
                      <a:pt x="1340011" y="33715"/>
                    </a:cubicBezTo>
                    <a:cubicBezTo>
                      <a:pt x="1339262" y="33924"/>
                      <a:pt x="1338512" y="34104"/>
                      <a:pt x="1337793" y="34254"/>
                    </a:cubicBezTo>
                    <a:cubicBezTo>
                      <a:pt x="1337673" y="34284"/>
                      <a:pt x="1337523" y="34314"/>
                      <a:pt x="1337404" y="34314"/>
                    </a:cubicBezTo>
                    <a:cubicBezTo>
                      <a:pt x="1336864" y="34494"/>
                      <a:pt x="1336355" y="34584"/>
                      <a:pt x="1335845" y="34644"/>
                    </a:cubicBezTo>
                    <a:cubicBezTo>
                      <a:pt x="1335605" y="34674"/>
                      <a:pt x="1335426" y="34704"/>
                      <a:pt x="1335216" y="34734"/>
                    </a:cubicBezTo>
                    <a:cubicBezTo>
                      <a:pt x="1335186" y="34734"/>
                      <a:pt x="1335186" y="34764"/>
                      <a:pt x="1335156" y="34764"/>
                    </a:cubicBezTo>
                    <a:lnTo>
                      <a:pt x="1335066" y="34764"/>
                    </a:lnTo>
                    <a:cubicBezTo>
                      <a:pt x="1334407" y="34853"/>
                      <a:pt x="1333777" y="34973"/>
                      <a:pt x="1333118" y="35033"/>
                    </a:cubicBezTo>
                    <a:cubicBezTo>
                      <a:pt x="1332519" y="35093"/>
                      <a:pt x="1331919" y="35153"/>
                      <a:pt x="1331320" y="35213"/>
                    </a:cubicBezTo>
                    <a:cubicBezTo>
                      <a:pt x="1330870" y="35273"/>
                      <a:pt x="1330391" y="35303"/>
                      <a:pt x="1329941" y="35303"/>
                    </a:cubicBezTo>
                    <a:cubicBezTo>
                      <a:pt x="1329252" y="35333"/>
                      <a:pt x="1328503" y="35363"/>
                      <a:pt x="1327814" y="35363"/>
                    </a:cubicBezTo>
                    <a:lnTo>
                      <a:pt x="1315676" y="35393"/>
                    </a:lnTo>
                    <a:lnTo>
                      <a:pt x="1279145" y="35453"/>
                    </a:lnTo>
                    <a:lnTo>
                      <a:pt x="1279145" y="35633"/>
                    </a:lnTo>
                    <a:lnTo>
                      <a:pt x="111752" y="35633"/>
                    </a:lnTo>
                    <a:lnTo>
                      <a:pt x="111752" y="35453"/>
                    </a:lnTo>
                    <a:lnTo>
                      <a:pt x="52265" y="35363"/>
                    </a:lnTo>
                    <a:cubicBezTo>
                      <a:pt x="51456" y="35363"/>
                      <a:pt x="50707" y="35333"/>
                      <a:pt x="49928" y="35303"/>
                    </a:cubicBezTo>
                    <a:cubicBezTo>
                      <a:pt x="49598" y="35303"/>
                      <a:pt x="49238" y="35273"/>
                      <a:pt x="48879" y="35243"/>
                    </a:cubicBezTo>
                    <a:cubicBezTo>
                      <a:pt x="48369" y="35213"/>
                      <a:pt x="47890" y="35153"/>
                      <a:pt x="47380" y="35123"/>
                    </a:cubicBezTo>
                    <a:cubicBezTo>
                      <a:pt x="47200" y="35093"/>
                      <a:pt x="47021" y="35093"/>
                      <a:pt x="46841" y="35063"/>
                    </a:cubicBezTo>
                    <a:cubicBezTo>
                      <a:pt x="46211" y="35003"/>
                      <a:pt x="45612" y="34883"/>
                      <a:pt x="45013" y="34794"/>
                    </a:cubicBezTo>
                    <a:cubicBezTo>
                      <a:pt x="44893" y="34794"/>
                      <a:pt x="44773" y="34764"/>
                      <a:pt x="44683" y="34734"/>
                    </a:cubicBezTo>
                    <a:cubicBezTo>
                      <a:pt x="44653" y="34734"/>
                      <a:pt x="44653" y="34734"/>
                      <a:pt x="44653" y="34734"/>
                    </a:cubicBezTo>
                    <a:cubicBezTo>
                      <a:pt x="43994" y="34614"/>
                      <a:pt x="43304" y="34494"/>
                      <a:pt x="42675" y="34344"/>
                    </a:cubicBezTo>
                    <a:cubicBezTo>
                      <a:pt x="42585" y="34344"/>
                      <a:pt x="42495" y="34344"/>
                      <a:pt x="42405" y="34314"/>
                    </a:cubicBezTo>
                    <a:cubicBezTo>
                      <a:pt x="41596" y="34134"/>
                      <a:pt x="40847" y="33984"/>
                      <a:pt x="40098" y="33745"/>
                    </a:cubicBezTo>
                    <a:cubicBezTo>
                      <a:pt x="39259" y="33535"/>
                      <a:pt x="38480" y="33325"/>
                      <a:pt x="37670" y="33055"/>
                    </a:cubicBezTo>
                    <a:cubicBezTo>
                      <a:pt x="35273" y="32336"/>
                      <a:pt x="32905" y="31407"/>
                      <a:pt x="30598" y="30328"/>
                    </a:cubicBezTo>
                    <a:cubicBezTo>
                      <a:pt x="30088" y="30088"/>
                      <a:pt x="29609" y="29879"/>
                      <a:pt x="29099" y="29639"/>
                    </a:cubicBezTo>
                    <a:cubicBezTo>
                      <a:pt x="28170" y="29189"/>
                      <a:pt x="27271" y="28710"/>
                      <a:pt x="26342" y="28200"/>
                    </a:cubicBezTo>
                    <a:cubicBezTo>
                      <a:pt x="25114" y="27541"/>
                      <a:pt x="23885" y="26852"/>
                      <a:pt x="22686" y="26073"/>
                    </a:cubicBezTo>
                    <a:cubicBezTo>
                      <a:pt x="21637" y="25413"/>
                      <a:pt x="20558" y="24724"/>
                      <a:pt x="19509" y="24035"/>
                    </a:cubicBezTo>
                    <a:cubicBezTo>
                      <a:pt x="18760" y="23495"/>
                      <a:pt x="17981" y="22986"/>
                      <a:pt x="17262" y="22447"/>
                    </a:cubicBezTo>
                    <a:cubicBezTo>
                      <a:pt x="15823" y="21398"/>
                      <a:pt x="14445" y="20289"/>
                      <a:pt x="13096" y="19180"/>
                    </a:cubicBezTo>
                    <a:cubicBezTo>
                      <a:pt x="12077" y="18311"/>
                      <a:pt x="11088" y="17412"/>
                      <a:pt x="10069" y="16543"/>
                    </a:cubicBezTo>
                    <a:cubicBezTo>
                      <a:pt x="8121" y="14715"/>
                      <a:pt x="6263" y="12827"/>
                      <a:pt x="4465" y="10909"/>
                    </a:cubicBezTo>
                    <a:cubicBezTo>
                      <a:pt x="3656" y="10040"/>
                      <a:pt x="2907" y="9111"/>
                      <a:pt x="2158" y="8241"/>
                    </a:cubicBezTo>
                    <a:cubicBezTo>
                      <a:pt x="1438" y="7342"/>
                      <a:pt x="689" y="6413"/>
                      <a:pt x="0" y="5514"/>
                    </a:cubicBezTo>
                    <a:cubicBezTo>
                      <a:pt x="1019" y="6653"/>
                      <a:pt x="2517" y="7672"/>
                      <a:pt x="4435" y="8661"/>
                    </a:cubicBezTo>
                    <a:cubicBezTo>
                      <a:pt x="4435" y="8661"/>
                      <a:pt x="4435" y="8661"/>
                      <a:pt x="4465" y="8691"/>
                    </a:cubicBezTo>
                    <a:lnTo>
                      <a:pt x="4495" y="8691"/>
                    </a:lnTo>
                    <a:cubicBezTo>
                      <a:pt x="27841" y="20559"/>
                      <a:pt x="115079" y="21967"/>
                      <a:pt x="233724" y="20169"/>
                    </a:cubicBezTo>
                    <a:cubicBezTo>
                      <a:pt x="266510" y="19659"/>
                      <a:pt x="301663" y="18940"/>
                      <a:pt x="338584" y="18101"/>
                    </a:cubicBezTo>
                    <a:lnTo>
                      <a:pt x="338614" y="18101"/>
                    </a:lnTo>
                    <a:cubicBezTo>
                      <a:pt x="384346" y="17082"/>
                      <a:pt x="432715" y="15913"/>
                      <a:pt x="482373" y="14894"/>
                    </a:cubicBezTo>
                    <a:cubicBezTo>
                      <a:pt x="537395" y="13816"/>
                      <a:pt x="594065" y="12827"/>
                      <a:pt x="650556" y="12467"/>
                    </a:cubicBezTo>
                    <a:cubicBezTo>
                      <a:pt x="667009" y="12377"/>
                      <a:pt x="683431" y="12287"/>
                      <a:pt x="699824" y="12287"/>
                    </a:cubicBezTo>
                    <a:cubicBezTo>
                      <a:pt x="726166" y="12287"/>
                      <a:pt x="752569" y="12467"/>
                      <a:pt x="778881" y="12677"/>
                    </a:cubicBezTo>
                    <a:cubicBezTo>
                      <a:pt x="836450" y="13246"/>
                      <a:pt x="893510" y="14325"/>
                      <a:pt x="948293" y="15494"/>
                    </a:cubicBezTo>
                    <a:cubicBezTo>
                      <a:pt x="980419" y="16123"/>
                      <a:pt x="1011706" y="16812"/>
                      <a:pt x="1041854" y="17442"/>
                    </a:cubicBezTo>
                    <a:lnTo>
                      <a:pt x="1041944" y="17442"/>
                    </a:lnTo>
                    <a:cubicBezTo>
                      <a:pt x="1078446" y="18161"/>
                      <a:pt x="1113239" y="18820"/>
                      <a:pt x="1145725" y="19210"/>
                    </a:cubicBezTo>
                    <a:cubicBezTo>
                      <a:pt x="1267307" y="20588"/>
                      <a:pt x="1356343" y="18311"/>
                      <a:pt x="1379539" y="3836"/>
                    </a:cubicBezTo>
                    <a:cubicBezTo>
                      <a:pt x="1381427" y="2667"/>
                      <a:pt x="1382866" y="1379"/>
                      <a:pt x="1383885" y="0"/>
                    </a:cubicBezTo>
                    <a:close/>
                  </a:path>
                </a:pathLst>
              </a:custGeom>
              <a:solidFill>
                <a:srgbClr val="A5A5A5">
                  <a:alpha val="50000"/>
                </a:srgbClr>
              </a:solidFill>
              <a:ln w="298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347" name="Freeform: Shape 346">
                <a:extLst>
                  <a:ext uri="{FF2B5EF4-FFF2-40B4-BE49-F238E27FC236}">
                    <a16:creationId xmlns:a16="http://schemas.microsoft.com/office/drawing/2014/main" id="{5EBBFE00-79B9-406E-8271-962EE44D7C6C}"/>
                  </a:ext>
                </a:extLst>
              </p:cNvPr>
              <p:cNvSpPr/>
              <p:nvPr/>
            </p:nvSpPr>
            <p:spPr>
              <a:xfrm>
                <a:off x="541309" y="3627644"/>
                <a:ext cx="271694" cy="385904"/>
              </a:xfrm>
              <a:custGeom>
                <a:avLst/>
                <a:gdLst>
                  <a:gd name="connsiteX0" fmla="*/ 114779 w 271694"/>
                  <a:gd name="connsiteY0" fmla="*/ 32576 h 385904"/>
                  <a:gd name="connsiteX1" fmla="*/ 133719 w 271694"/>
                  <a:gd name="connsiteY1" fmla="*/ 44623 h 385904"/>
                  <a:gd name="connsiteX2" fmla="*/ 163838 w 271694"/>
                  <a:gd name="connsiteY2" fmla="*/ 70636 h 385904"/>
                  <a:gd name="connsiteX3" fmla="*/ 167614 w 271694"/>
                  <a:gd name="connsiteY3" fmla="*/ 74711 h 385904"/>
                  <a:gd name="connsiteX4" fmla="*/ 171270 w 271694"/>
                  <a:gd name="connsiteY4" fmla="*/ 78847 h 385904"/>
                  <a:gd name="connsiteX5" fmla="*/ 174776 w 271694"/>
                  <a:gd name="connsiteY5" fmla="*/ 83133 h 385904"/>
                  <a:gd name="connsiteX6" fmla="*/ 178372 w 271694"/>
                  <a:gd name="connsiteY6" fmla="*/ 87748 h 385904"/>
                  <a:gd name="connsiteX7" fmla="*/ 180950 w 271694"/>
                  <a:gd name="connsiteY7" fmla="*/ 91284 h 385904"/>
                  <a:gd name="connsiteX8" fmla="*/ 182868 w 271694"/>
                  <a:gd name="connsiteY8" fmla="*/ 94071 h 385904"/>
                  <a:gd name="connsiteX9" fmla="*/ 185894 w 271694"/>
                  <a:gd name="connsiteY9" fmla="*/ 98626 h 385904"/>
                  <a:gd name="connsiteX10" fmla="*/ 188741 w 271694"/>
                  <a:gd name="connsiteY10" fmla="*/ 103271 h 385904"/>
                  <a:gd name="connsiteX11" fmla="*/ 190749 w 271694"/>
                  <a:gd name="connsiteY11" fmla="*/ 106778 h 385904"/>
                  <a:gd name="connsiteX12" fmla="*/ 192697 w 271694"/>
                  <a:gd name="connsiteY12" fmla="*/ 110284 h 385904"/>
                  <a:gd name="connsiteX13" fmla="*/ 193027 w 271694"/>
                  <a:gd name="connsiteY13" fmla="*/ 110823 h 385904"/>
                  <a:gd name="connsiteX14" fmla="*/ 193926 w 271694"/>
                  <a:gd name="connsiteY14" fmla="*/ 112532 h 385904"/>
                  <a:gd name="connsiteX15" fmla="*/ 194525 w 271694"/>
                  <a:gd name="connsiteY15" fmla="*/ 113700 h 385904"/>
                  <a:gd name="connsiteX16" fmla="*/ 195035 w 271694"/>
                  <a:gd name="connsiteY16" fmla="*/ 114719 h 385904"/>
                  <a:gd name="connsiteX17" fmla="*/ 195335 w 271694"/>
                  <a:gd name="connsiteY17" fmla="*/ 115349 h 385904"/>
                  <a:gd name="connsiteX18" fmla="*/ 196503 w 271694"/>
                  <a:gd name="connsiteY18" fmla="*/ 117746 h 385904"/>
                  <a:gd name="connsiteX19" fmla="*/ 199171 w 271694"/>
                  <a:gd name="connsiteY19" fmla="*/ 123770 h 385904"/>
                  <a:gd name="connsiteX20" fmla="*/ 200159 w 271694"/>
                  <a:gd name="connsiteY20" fmla="*/ 126227 h 385904"/>
                  <a:gd name="connsiteX21" fmla="*/ 200519 w 271694"/>
                  <a:gd name="connsiteY21" fmla="*/ 127096 h 385904"/>
                  <a:gd name="connsiteX22" fmla="*/ 223895 w 271694"/>
                  <a:gd name="connsiteY22" fmla="*/ 201538 h 385904"/>
                  <a:gd name="connsiteX23" fmla="*/ 223895 w 271694"/>
                  <a:gd name="connsiteY23" fmla="*/ 201568 h 385904"/>
                  <a:gd name="connsiteX24" fmla="*/ 227431 w 271694"/>
                  <a:gd name="connsiteY24" fmla="*/ 215953 h 385904"/>
                  <a:gd name="connsiteX25" fmla="*/ 227431 w 271694"/>
                  <a:gd name="connsiteY25" fmla="*/ 215983 h 385904"/>
                  <a:gd name="connsiteX26" fmla="*/ 235193 w 271694"/>
                  <a:gd name="connsiteY26" fmla="*/ 249068 h 385904"/>
                  <a:gd name="connsiteX27" fmla="*/ 236511 w 271694"/>
                  <a:gd name="connsiteY27" fmla="*/ 255182 h 385904"/>
                  <a:gd name="connsiteX28" fmla="*/ 237980 w 271694"/>
                  <a:gd name="connsiteY28" fmla="*/ 262074 h 385904"/>
                  <a:gd name="connsiteX29" fmla="*/ 241036 w 271694"/>
                  <a:gd name="connsiteY29" fmla="*/ 277268 h 385904"/>
                  <a:gd name="connsiteX30" fmla="*/ 241366 w 271694"/>
                  <a:gd name="connsiteY30" fmla="*/ 279037 h 385904"/>
                  <a:gd name="connsiteX31" fmla="*/ 244153 w 271694"/>
                  <a:gd name="connsiteY31" fmla="*/ 294321 h 385904"/>
                  <a:gd name="connsiteX32" fmla="*/ 250746 w 271694"/>
                  <a:gd name="connsiteY32" fmla="*/ 338224 h 385904"/>
                  <a:gd name="connsiteX33" fmla="*/ 251406 w 271694"/>
                  <a:gd name="connsiteY33" fmla="*/ 343529 h 385904"/>
                  <a:gd name="connsiteX34" fmla="*/ 252694 w 271694"/>
                  <a:gd name="connsiteY34" fmla="*/ 354347 h 385904"/>
                  <a:gd name="connsiteX35" fmla="*/ 254342 w 271694"/>
                  <a:gd name="connsiteY35" fmla="*/ 369961 h 385904"/>
                  <a:gd name="connsiteX36" fmla="*/ 254702 w 271694"/>
                  <a:gd name="connsiteY36" fmla="*/ 373677 h 385904"/>
                  <a:gd name="connsiteX37" fmla="*/ 255212 w 271694"/>
                  <a:gd name="connsiteY37" fmla="*/ 378862 h 385904"/>
                  <a:gd name="connsiteX38" fmla="*/ 255841 w 271694"/>
                  <a:gd name="connsiteY38" fmla="*/ 385904 h 385904"/>
                  <a:gd name="connsiteX39" fmla="*/ 255841 w 271694"/>
                  <a:gd name="connsiteY39" fmla="*/ 385904 h 385904"/>
                  <a:gd name="connsiteX40" fmla="*/ 271694 w 271694"/>
                  <a:gd name="connsiteY40" fmla="*/ 376134 h 385904"/>
                  <a:gd name="connsiteX41" fmla="*/ 212237 w 271694"/>
                  <a:gd name="connsiteY41" fmla="*/ 110434 h 385904"/>
                  <a:gd name="connsiteX42" fmla="*/ 212237 w 271694"/>
                  <a:gd name="connsiteY42" fmla="*/ 110434 h 385904"/>
                  <a:gd name="connsiteX43" fmla="*/ 6233 w 271694"/>
                  <a:gd name="connsiteY43" fmla="*/ 0 h 385904"/>
                  <a:gd name="connsiteX44" fmla="*/ 0 w 271694"/>
                  <a:gd name="connsiteY44" fmla="*/ 120 h 385904"/>
                  <a:gd name="connsiteX45" fmla="*/ 114779 w 271694"/>
                  <a:gd name="connsiteY45" fmla="*/ 32576 h 385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71694" h="385904">
                    <a:moveTo>
                      <a:pt x="114779" y="32576"/>
                    </a:moveTo>
                    <a:cubicBezTo>
                      <a:pt x="121372" y="36322"/>
                      <a:pt x="127696" y="40368"/>
                      <a:pt x="133719" y="44623"/>
                    </a:cubicBezTo>
                    <a:cubicBezTo>
                      <a:pt x="144778" y="52475"/>
                      <a:pt x="154907" y="61166"/>
                      <a:pt x="163838" y="70636"/>
                    </a:cubicBezTo>
                    <a:cubicBezTo>
                      <a:pt x="165126" y="71984"/>
                      <a:pt x="166385" y="73363"/>
                      <a:pt x="167614" y="74711"/>
                    </a:cubicBezTo>
                    <a:cubicBezTo>
                      <a:pt x="168872" y="76060"/>
                      <a:pt x="170071" y="77469"/>
                      <a:pt x="171270" y="78847"/>
                    </a:cubicBezTo>
                    <a:cubicBezTo>
                      <a:pt x="172469" y="80286"/>
                      <a:pt x="173607" y="81664"/>
                      <a:pt x="174776" y="83133"/>
                    </a:cubicBezTo>
                    <a:cubicBezTo>
                      <a:pt x="176005" y="84661"/>
                      <a:pt x="177204" y="86189"/>
                      <a:pt x="178372" y="87748"/>
                    </a:cubicBezTo>
                    <a:cubicBezTo>
                      <a:pt x="179241" y="88946"/>
                      <a:pt x="180081" y="90085"/>
                      <a:pt x="180950" y="91284"/>
                    </a:cubicBezTo>
                    <a:cubicBezTo>
                      <a:pt x="181609" y="92213"/>
                      <a:pt x="182238" y="93142"/>
                      <a:pt x="182868" y="94071"/>
                    </a:cubicBezTo>
                    <a:cubicBezTo>
                      <a:pt x="183887" y="95570"/>
                      <a:pt x="184935" y="97098"/>
                      <a:pt x="185894" y="98626"/>
                    </a:cubicBezTo>
                    <a:cubicBezTo>
                      <a:pt x="186883" y="100155"/>
                      <a:pt x="187842" y="101713"/>
                      <a:pt x="188741" y="103271"/>
                    </a:cubicBezTo>
                    <a:cubicBezTo>
                      <a:pt x="189431" y="104440"/>
                      <a:pt x="190090" y="105579"/>
                      <a:pt x="190749" y="106778"/>
                    </a:cubicBezTo>
                    <a:cubicBezTo>
                      <a:pt x="191409" y="107947"/>
                      <a:pt x="192068" y="109115"/>
                      <a:pt x="192697" y="110284"/>
                    </a:cubicBezTo>
                    <a:cubicBezTo>
                      <a:pt x="192697" y="110284"/>
                      <a:pt x="192787" y="110464"/>
                      <a:pt x="193027" y="110823"/>
                    </a:cubicBezTo>
                    <a:cubicBezTo>
                      <a:pt x="193207" y="111243"/>
                      <a:pt x="193536" y="111782"/>
                      <a:pt x="193926" y="112532"/>
                    </a:cubicBezTo>
                    <a:cubicBezTo>
                      <a:pt x="194046" y="112861"/>
                      <a:pt x="194286" y="113221"/>
                      <a:pt x="194525" y="113700"/>
                    </a:cubicBezTo>
                    <a:cubicBezTo>
                      <a:pt x="194645" y="114000"/>
                      <a:pt x="194825" y="114360"/>
                      <a:pt x="195035" y="114719"/>
                    </a:cubicBezTo>
                    <a:cubicBezTo>
                      <a:pt x="195125" y="114929"/>
                      <a:pt x="195245" y="115139"/>
                      <a:pt x="195335" y="115349"/>
                    </a:cubicBezTo>
                    <a:cubicBezTo>
                      <a:pt x="195724" y="116158"/>
                      <a:pt x="196144" y="116907"/>
                      <a:pt x="196503" y="117746"/>
                    </a:cubicBezTo>
                    <a:cubicBezTo>
                      <a:pt x="197253" y="119454"/>
                      <a:pt x="198182" y="121462"/>
                      <a:pt x="199171" y="123770"/>
                    </a:cubicBezTo>
                    <a:cubicBezTo>
                      <a:pt x="199470" y="124519"/>
                      <a:pt x="199830" y="125358"/>
                      <a:pt x="200159" y="126227"/>
                    </a:cubicBezTo>
                    <a:cubicBezTo>
                      <a:pt x="200279" y="126497"/>
                      <a:pt x="200429" y="126767"/>
                      <a:pt x="200519" y="127096"/>
                    </a:cubicBezTo>
                    <a:cubicBezTo>
                      <a:pt x="206423" y="141391"/>
                      <a:pt x="215024" y="165426"/>
                      <a:pt x="223895" y="201538"/>
                    </a:cubicBezTo>
                    <a:lnTo>
                      <a:pt x="223895" y="201568"/>
                    </a:lnTo>
                    <a:cubicBezTo>
                      <a:pt x="225093" y="206333"/>
                      <a:pt x="226232" y="211098"/>
                      <a:pt x="227431" y="215953"/>
                    </a:cubicBezTo>
                    <a:lnTo>
                      <a:pt x="227431" y="215983"/>
                    </a:lnTo>
                    <a:cubicBezTo>
                      <a:pt x="230008" y="226652"/>
                      <a:pt x="232615" y="237530"/>
                      <a:pt x="235193" y="249068"/>
                    </a:cubicBezTo>
                    <a:cubicBezTo>
                      <a:pt x="235612" y="251076"/>
                      <a:pt x="236062" y="253144"/>
                      <a:pt x="236511" y="255182"/>
                    </a:cubicBezTo>
                    <a:cubicBezTo>
                      <a:pt x="237021" y="257459"/>
                      <a:pt x="237470" y="259737"/>
                      <a:pt x="237980" y="262074"/>
                    </a:cubicBezTo>
                    <a:cubicBezTo>
                      <a:pt x="238999" y="267019"/>
                      <a:pt x="239988" y="272084"/>
                      <a:pt x="241036" y="277268"/>
                    </a:cubicBezTo>
                    <a:cubicBezTo>
                      <a:pt x="241126" y="277868"/>
                      <a:pt x="241246" y="278437"/>
                      <a:pt x="241366" y="279037"/>
                    </a:cubicBezTo>
                    <a:cubicBezTo>
                      <a:pt x="242325" y="284011"/>
                      <a:pt x="243254" y="289106"/>
                      <a:pt x="244153" y="294321"/>
                    </a:cubicBezTo>
                    <a:cubicBezTo>
                      <a:pt x="246491" y="307866"/>
                      <a:pt x="248708" y="322401"/>
                      <a:pt x="250746" y="338224"/>
                    </a:cubicBezTo>
                    <a:cubicBezTo>
                      <a:pt x="250986" y="339992"/>
                      <a:pt x="251196" y="341731"/>
                      <a:pt x="251406" y="343529"/>
                    </a:cubicBezTo>
                    <a:cubicBezTo>
                      <a:pt x="251825" y="347035"/>
                      <a:pt x="252275" y="350661"/>
                      <a:pt x="252694" y="354347"/>
                    </a:cubicBezTo>
                    <a:cubicBezTo>
                      <a:pt x="253264" y="359412"/>
                      <a:pt x="253833" y="364656"/>
                      <a:pt x="254342" y="369961"/>
                    </a:cubicBezTo>
                    <a:cubicBezTo>
                      <a:pt x="254462" y="371190"/>
                      <a:pt x="254582" y="372418"/>
                      <a:pt x="254702" y="373677"/>
                    </a:cubicBezTo>
                    <a:cubicBezTo>
                      <a:pt x="254882" y="375385"/>
                      <a:pt x="255032" y="377123"/>
                      <a:pt x="255212" y="378862"/>
                    </a:cubicBezTo>
                    <a:cubicBezTo>
                      <a:pt x="255421" y="381169"/>
                      <a:pt x="255631" y="383537"/>
                      <a:pt x="255841" y="385904"/>
                    </a:cubicBezTo>
                    <a:cubicBezTo>
                      <a:pt x="255841" y="385904"/>
                      <a:pt x="255841" y="385904"/>
                      <a:pt x="255841" y="385904"/>
                    </a:cubicBezTo>
                    <a:lnTo>
                      <a:pt x="271694" y="376134"/>
                    </a:lnTo>
                    <a:cubicBezTo>
                      <a:pt x="252514" y="176454"/>
                      <a:pt x="212237" y="110434"/>
                      <a:pt x="212237" y="110434"/>
                    </a:cubicBezTo>
                    <a:lnTo>
                      <a:pt x="212237" y="110434"/>
                    </a:lnTo>
                    <a:cubicBezTo>
                      <a:pt x="177593" y="45432"/>
                      <a:pt x="98416" y="0"/>
                      <a:pt x="6233" y="0"/>
                    </a:cubicBezTo>
                    <a:cubicBezTo>
                      <a:pt x="4136" y="0"/>
                      <a:pt x="2068" y="90"/>
                      <a:pt x="0" y="120"/>
                    </a:cubicBezTo>
                    <a:cubicBezTo>
                      <a:pt x="42495" y="2188"/>
                      <a:pt x="81844" y="13845"/>
                      <a:pt x="114779" y="32576"/>
                    </a:cubicBezTo>
                    <a:close/>
                  </a:path>
                </a:pathLst>
              </a:custGeom>
              <a:solidFill>
                <a:srgbClr val="A5A5A5"/>
              </a:solidFill>
              <a:ln w="298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348" name="Freeform: Shape 347">
                <a:extLst>
                  <a:ext uri="{FF2B5EF4-FFF2-40B4-BE49-F238E27FC236}">
                    <a16:creationId xmlns:a16="http://schemas.microsoft.com/office/drawing/2014/main" id="{D8EBCB2A-7765-422C-9470-752C778C43E4}"/>
                  </a:ext>
                </a:extLst>
              </p:cNvPr>
              <p:cNvSpPr/>
              <p:nvPr/>
            </p:nvSpPr>
            <p:spPr>
              <a:xfrm>
                <a:off x="1894126" y="3756669"/>
                <a:ext cx="89346" cy="89345"/>
              </a:xfrm>
              <a:custGeom>
                <a:avLst/>
                <a:gdLst>
                  <a:gd name="connsiteX0" fmla="*/ 39908 w 89346"/>
                  <a:gd name="connsiteY0" fmla="*/ 49438 h 89345"/>
                  <a:gd name="connsiteX1" fmla="*/ 260 w 89346"/>
                  <a:gd name="connsiteY1" fmla="*/ 259 h 89345"/>
                  <a:gd name="connsiteX2" fmla="*/ 49438 w 89346"/>
                  <a:gd name="connsiteY2" fmla="*/ 39908 h 89345"/>
                  <a:gd name="connsiteX3" fmla="*/ 89086 w 89346"/>
                  <a:gd name="connsiteY3" fmla="*/ 89086 h 89345"/>
                  <a:gd name="connsiteX4" fmla="*/ 39908 w 89346"/>
                  <a:gd name="connsiteY4" fmla="*/ 49438 h 893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346" h="89345">
                    <a:moveTo>
                      <a:pt x="39908" y="49438"/>
                    </a:moveTo>
                    <a:cubicBezTo>
                      <a:pt x="15364" y="24893"/>
                      <a:pt x="-2377" y="2897"/>
                      <a:pt x="260" y="259"/>
                    </a:cubicBezTo>
                    <a:cubicBezTo>
                      <a:pt x="2897" y="-2378"/>
                      <a:pt x="24894" y="15393"/>
                      <a:pt x="49438" y="39908"/>
                    </a:cubicBezTo>
                    <a:cubicBezTo>
                      <a:pt x="73982" y="64452"/>
                      <a:pt x="91724" y="86449"/>
                      <a:pt x="89086" y="89086"/>
                    </a:cubicBezTo>
                    <a:cubicBezTo>
                      <a:pt x="86479" y="91723"/>
                      <a:pt x="64452" y="73982"/>
                      <a:pt x="39908" y="49438"/>
                    </a:cubicBezTo>
                    <a:close/>
                  </a:path>
                </a:pathLst>
              </a:custGeom>
              <a:solidFill>
                <a:srgbClr val="A5A5A5"/>
              </a:solidFill>
              <a:ln w="298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349" name="Freeform: Shape 348">
                <a:extLst>
                  <a:ext uri="{FF2B5EF4-FFF2-40B4-BE49-F238E27FC236}">
                    <a16:creationId xmlns:a16="http://schemas.microsoft.com/office/drawing/2014/main" id="{5C07A983-12F0-4CBB-8858-67039630360E}"/>
                  </a:ext>
                </a:extLst>
              </p:cNvPr>
              <p:cNvSpPr/>
              <p:nvPr/>
            </p:nvSpPr>
            <p:spPr>
              <a:xfrm>
                <a:off x="1894127" y="3756668"/>
                <a:ext cx="89345" cy="89346"/>
              </a:xfrm>
              <a:custGeom>
                <a:avLst/>
                <a:gdLst>
                  <a:gd name="connsiteX0" fmla="*/ 49438 w 89345"/>
                  <a:gd name="connsiteY0" fmla="*/ 49438 h 89346"/>
                  <a:gd name="connsiteX1" fmla="*/ 259 w 89345"/>
                  <a:gd name="connsiteY1" fmla="*/ 89086 h 89346"/>
                  <a:gd name="connsiteX2" fmla="*/ 39908 w 89345"/>
                  <a:gd name="connsiteY2" fmla="*/ 39908 h 89346"/>
                  <a:gd name="connsiteX3" fmla="*/ 89086 w 89345"/>
                  <a:gd name="connsiteY3" fmla="*/ 260 h 89346"/>
                  <a:gd name="connsiteX4" fmla="*/ 49438 w 89345"/>
                  <a:gd name="connsiteY4" fmla="*/ 49438 h 893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345" h="89346">
                    <a:moveTo>
                      <a:pt x="49438" y="49438"/>
                    </a:moveTo>
                    <a:cubicBezTo>
                      <a:pt x="24894" y="73982"/>
                      <a:pt x="2897" y="91724"/>
                      <a:pt x="259" y="89086"/>
                    </a:cubicBezTo>
                    <a:cubicBezTo>
                      <a:pt x="-2378" y="86449"/>
                      <a:pt x="15394" y="64452"/>
                      <a:pt x="39908" y="39908"/>
                    </a:cubicBezTo>
                    <a:cubicBezTo>
                      <a:pt x="64452" y="15364"/>
                      <a:pt x="86449" y="-2377"/>
                      <a:pt x="89086" y="260"/>
                    </a:cubicBezTo>
                    <a:cubicBezTo>
                      <a:pt x="91723" y="2897"/>
                      <a:pt x="73982" y="24894"/>
                      <a:pt x="49438" y="49438"/>
                    </a:cubicBezTo>
                    <a:close/>
                  </a:path>
                </a:pathLst>
              </a:custGeom>
              <a:solidFill>
                <a:srgbClr val="A5A5A5"/>
              </a:solidFill>
              <a:ln w="298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350" name="Freeform: Shape 349">
                <a:extLst>
                  <a:ext uri="{FF2B5EF4-FFF2-40B4-BE49-F238E27FC236}">
                    <a16:creationId xmlns:a16="http://schemas.microsoft.com/office/drawing/2014/main" id="{7D720D8A-B921-46D8-8394-41E061717FF0}"/>
                  </a:ext>
                </a:extLst>
              </p:cNvPr>
              <p:cNvSpPr/>
              <p:nvPr/>
            </p:nvSpPr>
            <p:spPr>
              <a:xfrm>
                <a:off x="1649664" y="3627614"/>
                <a:ext cx="271154" cy="382158"/>
              </a:xfrm>
              <a:custGeom>
                <a:avLst/>
                <a:gdLst>
                  <a:gd name="connsiteX0" fmla="*/ 16243 w 271154"/>
                  <a:gd name="connsiteY0" fmla="*/ 375385 h 382158"/>
                  <a:gd name="connsiteX1" fmla="*/ 16932 w 271154"/>
                  <a:gd name="connsiteY1" fmla="*/ 368433 h 382158"/>
                  <a:gd name="connsiteX2" fmla="*/ 18281 w 271154"/>
                  <a:gd name="connsiteY2" fmla="*/ 355666 h 382158"/>
                  <a:gd name="connsiteX3" fmla="*/ 22087 w 271154"/>
                  <a:gd name="connsiteY3" fmla="*/ 325398 h 382158"/>
                  <a:gd name="connsiteX4" fmla="*/ 22926 w 271154"/>
                  <a:gd name="connsiteY4" fmla="*/ 319704 h 382158"/>
                  <a:gd name="connsiteX5" fmla="*/ 27241 w 271154"/>
                  <a:gd name="connsiteY5" fmla="*/ 292852 h 382158"/>
                  <a:gd name="connsiteX6" fmla="*/ 28140 w 271154"/>
                  <a:gd name="connsiteY6" fmla="*/ 287787 h 382158"/>
                  <a:gd name="connsiteX7" fmla="*/ 29699 w 271154"/>
                  <a:gd name="connsiteY7" fmla="*/ 279366 h 382158"/>
                  <a:gd name="connsiteX8" fmla="*/ 30358 w 271154"/>
                  <a:gd name="connsiteY8" fmla="*/ 275890 h 382158"/>
                  <a:gd name="connsiteX9" fmla="*/ 31707 w 271154"/>
                  <a:gd name="connsiteY9" fmla="*/ 268967 h 382158"/>
                  <a:gd name="connsiteX10" fmla="*/ 35902 w 271154"/>
                  <a:gd name="connsiteY10" fmla="*/ 249068 h 382158"/>
                  <a:gd name="connsiteX11" fmla="*/ 37341 w 271154"/>
                  <a:gd name="connsiteY11" fmla="*/ 242715 h 382158"/>
                  <a:gd name="connsiteX12" fmla="*/ 38659 w 271154"/>
                  <a:gd name="connsiteY12" fmla="*/ 236961 h 382158"/>
                  <a:gd name="connsiteX13" fmla="*/ 41117 w 271154"/>
                  <a:gd name="connsiteY13" fmla="*/ 226592 h 382158"/>
                  <a:gd name="connsiteX14" fmla="*/ 43664 w 271154"/>
                  <a:gd name="connsiteY14" fmla="*/ 215983 h 382158"/>
                  <a:gd name="connsiteX15" fmla="*/ 43664 w 271154"/>
                  <a:gd name="connsiteY15" fmla="*/ 215953 h 382158"/>
                  <a:gd name="connsiteX16" fmla="*/ 47230 w 271154"/>
                  <a:gd name="connsiteY16" fmla="*/ 201568 h 382158"/>
                  <a:gd name="connsiteX17" fmla="*/ 47200 w 271154"/>
                  <a:gd name="connsiteY17" fmla="*/ 201538 h 382158"/>
                  <a:gd name="connsiteX18" fmla="*/ 70576 w 271154"/>
                  <a:gd name="connsiteY18" fmla="*/ 127096 h 382158"/>
                  <a:gd name="connsiteX19" fmla="*/ 70935 w 271154"/>
                  <a:gd name="connsiteY19" fmla="*/ 126227 h 382158"/>
                  <a:gd name="connsiteX20" fmla="*/ 71924 w 271154"/>
                  <a:gd name="connsiteY20" fmla="*/ 123770 h 382158"/>
                  <a:gd name="connsiteX21" fmla="*/ 74592 w 271154"/>
                  <a:gd name="connsiteY21" fmla="*/ 117746 h 382158"/>
                  <a:gd name="connsiteX22" fmla="*/ 75760 w 271154"/>
                  <a:gd name="connsiteY22" fmla="*/ 115349 h 382158"/>
                  <a:gd name="connsiteX23" fmla="*/ 76060 w 271154"/>
                  <a:gd name="connsiteY23" fmla="*/ 114719 h 382158"/>
                  <a:gd name="connsiteX24" fmla="*/ 76569 w 271154"/>
                  <a:gd name="connsiteY24" fmla="*/ 113700 h 382158"/>
                  <a:gd name="connsiteX25" fmla="*/ 77169 w 271154"/>
                  <a:gd name="connsiteY25" fmla="*/ 112532 h 382158"/>
                  <a:gd name="connsiteX26" fmla="*/ 78098 w 271154"/>
                  <a:gd name="connsiteY26" fmla="*/ 110824 h 382158"/>
                  <a:gd name="connsiteX27" fmla="*/ 78398 w 271154"/>
                  <a:gd name="connsiteY27" fmla="*/ 110284 h 382158"/>
                  <a:gd name="connsiteX28" fmla="*/ 82593 w 271154"/>
                  <a:gd name="connsiteY28" fmla="*/ 102852 h 382158"/>
                  <a:gd name="connsiteX29" fmla="*/ 84301 w 271154"/>
                  <a:gd name="connsiteY29" fmla="*/ 100005 h 382158"/>
                  <a:gd name="connsiteX30" fmla="*/ 86699 w 271154"/>
                  <a:gd name="connsiteY30" fmla="*/ 96319 h 382158"/>
                  <a:gd name="connsiteX31" fmla="*/ 89516 w 271154"/>
                  <a:gd name="connsiteY31" fmla="*/ 92153 h 382158"/>
                  <a:gd name="connsiteX32" fmla="*/ 90325 w 271154"/>
                  <a:gd name="connsiteY32" fmla="*/ 91014 h 382158"/>
                  <a:gd name="connsiteX33" fmla="*/ 99855 w 271154"/>
                  <a:gd name="connsiteY33" fmla="*/ 78817 h 382158"/>
                  <a:gd name="connsiteX34" fmla="*/ 103511 w 271154"/>
                  <a:gd name="connsiteY34" fmla="*/ 74682 h 382158"/>
                  <a:gd name="connsiteX35" fmla="*/ 137406 w 271154"/>
                  <a:gd name="connsiteY35" fmla="*/ 44593 h 382158"/>
                  <a:gd name="connsiteX36" fmla="*/ 156376 w 271154"/>
                  <a:gd name="connsiteY36" fmla="*/ 32546 h 382158"/>
                  <a:gd name="connsiteX37" fmla="*/ 271155 w 271154"/>
                  <a:gd name="connsiteY37" fmla="*/ 120 h 382158"/>
                  <a:gd name="connsiteX38" fmla="*/ 264921 w 271154"/>
                  <a:gd name="connsiteY38" fmla="*/ 0 h 382158"/>
                  <a:gd name="connsiteX39" fmla="*/ 58918 w 271154"/>
                  <a:gd name="connsiteY39" fmla="*/ 110434 h 382158"/>
                  <a:gd name="connsiteX40" fmla="*/ 58918 w 271154"/>
                  <a:gd name="connsiteY40" fmla="*/ 110434 h 382158"/>
                  <a:gd name="connsiteX41" fmla="*/ 0 w 271154"/>
                  <a:gd name="connsiteY41" fmla="*/ 375265 h 382158"/>
                  <a:gd name="connsiteX42" fmla="*/ 15644 w 271154"/>
                  <a:gd name="connsiteY42" fmla="*/ 382158 h 382158"/>
                  <a:gd name="connsiteX43" fmla="*/ 16243 w 271154"/>
                  <a:gd name="connsiteY43" fmla="*/ 375385 h 382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271154" h="382158">
                    <a:moveTo>
                      <a:pt x="16243" y="375385"/>
                    </a:moveTo>
                    <a:cubicBezTo>
                      <a:pt x="16483" y="373048"/>
                      <a:pt x="16692" y="370710"/>
                      <a:pt x="16932" y="368433"/>
                    </a:cubicBezTo>
                    <a:cubicBezTo>
                      <a:pt x="17352" y="364057"/>
                      <a:pt x="17831" y="359832"/>
                      <a:pt x="18281" y="355666"/>
                    </a:cubicBezTo>
                    <a:cubicBezTo>
                      <a:pt x="19480" y="345027"/>
                      <a:pt x="20738" y="334958"/>
                      <a:pt x="22087" y="325398"/>
                    </a:cubicBezTo>
                    <a:cubicBezTo>
                      <a:pt x="22356" y="323480"/>
                      <a:pt x="22626" y="321592"/>
                      <a:pt x="22926" y="319704"/>
                    </a:cubicBezTo>
                    <a:cubicBezTo>
                      <a:pt x="24274" y="310324"/>
                      <a:pt x="25713" y="301423"/>
                      <a:pt x="27241" y="292852"/>
                    </a:cubicBezTo>
                    <a:cubicBezTo>
                      <a:pt x="27541" y="291174"/>
                      <a:pt x="27841" y="289466"/>
                      <a:pt x="28140" y="287787"/>
                    </a:cubicBezTo>
                    <a:cubicBezTo>
                      <a:pt x="28650" y="284940"/>
                      <a:pt x="29159" y="282153"/>
                      <a:pt x="29699" y="279366"/>
                    </a:cubicBezTo>
                    <a:cubicBezTo>
                      <a:pt x="29909" y="278197"/>
                      <a:pt x="30118" y="277059"/>
                      <a:pt x="30358" y="275890"/>
                    </a:cubicBezTo>
                    <a:cubicBezTo>
                      <a:pt x="30808" y="273552"/>
                      <a:pt x="31287" y="271245"/>
                      <a:pt x="31707" y="268967"/>
                    </a:cubicBezTo>
                    <a:cubicBezTo>
                      <a:pt x="33085" y="262104"/>
                      <a:pt x="34494" y="255511"/>
                      <a:pt x="35902" y="249068"/>
                    </a:cubicBezTo>
                    <a:cubicBezTo>
                      <a:pt x="36412" y="246940"/>
                      <a:pt x="36861" y="244843"/>
                      <a:pt x="37341" y="242715"/>
                    </a:cubicBezTo>
                    <a:cubicBezTo>
                      <a:pt x="37760" y="240797"/>
                      <a:pt x="38240" y="238879"/>
                      <a:pt x="38659" y="236961"/>
                    </a:cubicBezTo>
                    <a:cubicBezTo>
                      <a:pt x="39498" y="233455"/>
                      <a:pt x="40278" y="230008"/>
                      <a:pt x="41117" y="226592"/>
                    </a:cubicBezTo>
                    <a:cubicBezTo>
                      <a:pt x="41956" y="223026"/>
                      <a:pt x="42795" y="219519"/>
                      <a:pt x="43664" y="215983"/>
                    </a:cubicBezTo>
                    <a:lnTo>
                      <a:pt x="43664" y="215953"/>
                    </a:lnTo>
                    <a:cubicBezTo>
                      <a:pt x="44863" y="211128"/>
                      <a:pt x="46062" y="206363"/>
                      <a:pt x="47230" y="201568"/>
                    </a:cubicBezTo>
                    <a:lnTo>
                      <a:pt x="47200" y="201538"/>
                    </a:lnTo>
                    <a:cubicBezTo>
                      <a:pt x="56071" y="165456"/>
                      <a:pt x="64672" y="141421"/>
                      <a:pt x="70576" y="127096"/>
                    </a:cubicBezTo>
                    <a:cubicBezTo>
                      <a:pt x="70666" y="126767"/>
                      <a:pt x="70816" y="126497"/>
                      <a:pt x="70935" y="126227"/>
                    </a:cubicBezTo>
                    <a:cubicBezTo>
                      <a:pt x="71265" y="125358"/>
                      <a:pt x="71625" y="124549"/>
                      <a:pt x="71924" y="123770"/>
                    </a:cubicBezTo>
                    <a:cubicBezTo>
                      <a:pt x="72943" y="121462"/>
                      <a:pt x="73842" y="119455"/>
                      <a:pt x="74592" y="117746"/>
                    </a:cubicBezTo>
                    <a:cubicBezTo>
                      <a:pt x="74951" y="116907"/>
                      <a:pt x="75341" y="116158"/>
                      <a:pt x="75760" y="115349"/>
                    </a:cubicBezTo>
                    <a:cubicBezTo>
                      <a:pt x="75850" y="115139"/>
                      <a:pt x="75970" y="114929"/>
                      <a:pt x="76060" y="114719"/>
                    </a:cubicBezTo>
                    <a:cubicBezTo>
                      <a:pt x="76270" y="114360"/>
                      <a:pt x="76420" y="114000"/>
                      <a:pt x="76569" y="113700"/>
                    </a:cubicBezTo>
                    <a:cubicBezTo>
                      <a:pt x="76809" y="113251"/>
                      <a:pt x="77019" y="112861"/>
                      <a:pt x="77169" y="112532"/>
                    </a:cubicBezTo>
                    <a:cubicBezTo>
                      <a:pt x="77558" y="111782"/>
                      <a:pt x="77888" y="111243"/>
                      <a:pt x="78098" y="110824"/>
                    </a:cubicBezTo>
                    <a:cubicBezTo>
                      <a:pt x="78308" y="110464"/>
                      <a:pt x="78398" y="110284"/>
                      <a:pt x="78398" y="110284"/>
                    </a:cubicBezTo>
                    <a:cubicBezTo>
                      <a:pt x="79716" y="107767"/>
                      <a:pt x="81125" y="105309"/>
                      <a:pt x="82593" y="102852"/>
                    </a:cubicBezTo>
                    <a:cubicBezTo>
                      <a:pt x="83163" y="101893"/>
                      <a:pt x="83732" y="100934"/>
                      <a:pt x="84301" y="100005"/>
                    </a:cubicBezTo>
                    <a:cubicBezTo>
                      <a:pt x="85110" y="98776"/>
                      <a:pt x="85860" y="97547"/>
                      <a:pt x="86699" y="96319"/>
                    </a:cubicBezTo>
                    <a:cubicBezTo>
                      <a:pt x="87628" y="94940"/>
                      <a:pt x="88557" y="93532"/>
                      <a:pt x="89516" y="92153"/>
                    </a:cubicBezTo>
                    <a:cubicBezTo>
                      <a:pt x="89786" y="91763"/>
                      <a:pt x="90055" y="91404"/>
                      <a:pt x="90325" y="91014"/>
                    </a:cubicBezTo>
                    <a:cubicBezTo>
                      <a:pt x="93292" y="86849"/>
                      <a:pt x="96439" y="82773"/>
                      <a:pt x="99855" y="78817"/>
                    </a:cubicBezTo>
                    <a:cubicBezTo>
                      <a:pt x="101054" y="77439"/>
                      <a:pt x="102252" y="76030"/>
                      <a:pt x="103511" y="74682"/>
                    </a:cubicBezTo>
                    <a:cubicBezTo>
                      <a:pt x="113371" y="63653"/>
                      <a:pt x="124759" y="53554"/>
                      <a:pt x="137406" y="44593"/>
                    </a:cubicBezTo>
                    <a:cubicBezTo>
                      <a:pt x="143429" y="40278"/>
                      <a:pt x="149783" y="36292"/>
                      <a:pt x="156376" y="32546"/>
                    </a:cubicBezTo>
                    <a:cubicBezTo>
                      <a:pt x="189311" y="13816"/>
                      <a:pt x="228629" y="2158"/>
                      <a:pt x="271155" y="120"/>
                    </a:cubicBezTo>
                    <a:cubicBezTo>
                      <a:pt x="269087" y="60"/>
                      <a:pt x="267019" y="0"/>
                      <a:pt x="264921" y="0"/>
                    </a:cubicBezTo>
                    <a:cubicBezTo>
                      <a:pt x="172738" y="0"/>
                      <a:pt x="93562" y="45462"/>
                      <a:pt x="58918" y="110434"/>
                    </a:cubicBezTo>
                    <a:lnTo>
                      <a:pt x="58918" y="110434"/>
                    </a:lnTo>
                    <a:cubicBezTo>
                      <a:pt x="58918" y="110434"/>
                      <a:pt x="19210" y="176365"/>
                      <a:pt x="0" y="375265"/>
                    </a:cubicBezTo>
                    <a:lnTo>
                      <a:pt x="15644" y="382158"/>
                    </a:lnTo>
                    <a:cubicBezTo>
                      <a:pt x="15823" y="379911"/>
                      <a:pt x="16063" y="377633"/>
                      <a:pt x="16243" y="375385"/>
                    </a:cubicBezTo>
                    <a:close/>
                  </a:path>
                </a:pathLst>
              </a:custGeom>
              <a:solidFill>
                <a:srgbClr val="A5A5A5"/>
              </a:solidFill>
              <a:ln w="298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351" name="Freeform: Shape 350">
                <a:extLst>
                  <a:ext uri="{FF2B5EF4-FFF2-40B4-BE49-F238E27FC236}">
                    <a16:creationId xmlns:a16="http://schemas.microsoft.com/office/drawing/2014/main" id="{6D100C42-ED39-46A8-8025-F7598FBC14AB}"/>
                  </a:ext>
                </a:extLst>
              </p:cNvPr>
              <p:cNvSpPr/>
              <p:nvPr/>
            </p:nvSpPr>
            <p:spPr>
              <a:xfrm>
                <a:off x="796970" y="4318957"/>
                <a:ext cx="868126" cy="47200"/>
              </a:xfrm>
              <a:custGeom>
                <a:avLst/>
                <a:gdLst>
                  <a:gd name="connsiteX0" fmla="*/ 823054 w 868126"/>
                  <a:gd name="connsiteY0" fmla="*/ 26282 h 47200"/>
                  <a:gd name="connsiteX1" fmla="*/ 42315 w 868126"/>
                  <a:gd name="connsiteY1" fmla="*/ 26282 h 47200"/>
                  <a:gd name="connsiteX2" fmla="*/ 0 w 868126"/>
                  <a:gd name="connsiteY2" fmla="*/ 0 h 47200"/>
                  <a:gd name="connsiteX3" fmla="*/ 40637 w 868126"/>
                  <a:gd name="connsiteY3" fmla="*/ 39948 h 47200"/>
                  <a:gd name="connsiteX4" fmla="*/ 412276 w 868126"/>
                  <a:gd name="connsiteY4" fmla="*/ 47200 h 47200"/>
                  <a:gd name="connsiteX5" fmla="*/ 827550 w 868126"/>
                  <a:gd name="connsiteY5" fmla="*/ 39948 h 47200"/>
                  <a:gd name="connsiteX6" fmla="*/ 868127 w 868126"/>
                  <a:gd name="connsiteY6" fmla="*/ 989 h 47200"/>
                  <a:gd name="connsiteX7" fmla="*/ 823054 w 868126"/>
                  <a:gd name="connsiteY7" fmla="*/ 26282 h 4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68126" h="47200">
                    <a:moveTo>
                      <a:pt x="823054" y="26282"/>
                    </a:moveTo>
                    <a:lnTo>
                      <a:pt x="42315" y="26282"/>
                    </a:lnTo>
                    <a:cubicBezTo>
                      <a:pt x="24424" y="26282"/>
                      <a:pt x="10639" y="16063"/>
                      <a:pt x="0" y="0"/>
                    </a:cubicBezTo>
                    <a:cubicBezTo>
                      <a:pt x="390" y="22117"/>
                      <a:pt x="18431" y="39948"/>
                      <a:pt x="40637" y="39948"/>
                    </a:cubicBezTo>
                    <a:cubicBezTo>
                      <a:pt x="40637" y="39948"/>
                      <a:pt x="34404" y="47200"/>
                      <a:pt x="412276" y="47200"/>
                    </a:cubicBezTo>
                    <a:cubicBezTo>
                      <a:pt x="790149" y="47200"/>
                      <a:pt x="827550" y="39948"/>
                      <a:pt x="827550" y="39948"/>
                    </a:cubicBezTo>
                    <a:cubicBezTo>
                      <a:pt x="849427" y="39948"/>
                      <a:pt x="867228" y="22656"/>
                      <a:pt x="868127" y="989"/>
                    </a:cubicBezTo>
                    <a:cubicBezTo>
                      <a:pt x="857368" y="16453"/>
                      <a:pt x="842774" y="26282"/>
                      <a:pt x="823054" y="26282"/>
                    </a:cubicBezTo>
                    <a:close/>
                  </a:path>
                </a:pathLst>
              </a:custGeom>
              <a:solidFill>
                <a:srgbClr val="A5A5A5">
                  <a:alpha val="50000"/>
                </a:srgbClr>
              </a:solidFill>
              <a:ln w="298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352" name="Freeform: Shape 351">
                <a:extLst>
                  <a:ext uri="{FF2B5EF4-FFF2-40B4-BE49-F238E27FC236}">
                    <a16:creationId xmlns:a16="http://schemas.microsoft.com/office/drawing/2014/main" id="{32BD8867-C105-4056-82C9-CCD7F636E5D6}"/>
                  </a:ext>
                </a:extLst>
              </p:cNvPr>
              <p:cNvSpPr/>
              <p:nvPr/>
            </p:nvSpPr>
            <p:spPr>
              <a:xfrm>
                <a:off x="797000" y="3952922"/>
                <a:ext cx="868067" cy="60656"/>
              </a:xfrm>
              <a:custGeom>
                <a:avLst/>
                <a:gdLst>
                  <a:gd name="connsiteX0" fmla="*/ 433884 w 868067"/>
                  <a:gd name="connsiteY0" fmla="*/ 30328 h 60656"/>
                  <a:gd name="connsiteX1" fmla="*/ 868067 w 868067"/>
                  <a:gd name="connsiteY1" fmla="*/ 57210 h 60656"/>
                  <a:gd name="connsiteX2" fmla="*/ 868067 w 868067"/>
                  <a:gd name="connsiteY2" fmla="*/ 57210 h 60656"/>
                  <a:gd name="connsiteX3" fmla="*/ 432116 w 868067"/>
                  <a:gd name="connsiteY3" fmla="*/ 0 h 60656"/>
                  <a:gd name="connsiteX4" fmla="*/ 0 w 868067"/>
                  <a:gd name="connsiteY4" fmla="*/ 60656 h 60656"/>
                  <a:gd name="connsiteX5" fmla="*/ 0 w 868067"/>
                  <a:gd name="connsiteY5" fmla="*/ 60656 h 60656"/>
                  <a:gd name="connsiteX6" fmla="*/ 433884 w 868067"/>
                  <a:gd name="connsiteY6" fmla="*/ 30328 h 60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8067" h="60656">
                    <a:moveTo>
                      <a:pt x="433884" y="30328"/>
                    </a:moveTo>
                    <a:cubicBezTo>
                      <a:pt x="809539" y="30328"/>
                      <a:pt x="866359" y="56101"/>
                      <a:pt x="868067" y="57210"/>
                    </a:cubicBezTo>
                    <a:lnTo>
                      <a:pt x="868067" y="57210"/>
                    </a:lnTo>
                    <a:cubicBezTo>
                      <a:pt x="868067" y="57210"/>
                      <a:pt x="813614" y="0"/>
                      <a:pt x="432116" y="0"/>
                    </a:cubicBezTo>
                    <a:cubicBezTo>
                      <a:pt x="50617" y="0"/>
                      <a:pt x="0" y="60656"/>
                      <a:pt x="0" y="60656"/>
                    </a:cubicBezTo>
                    <a:lnTo>
                      <a:pt x="0" y="60656"/>
                    </a:lnTo>
                    <a:cubicBezTo>
                      <a:pt x="5095" y="57240"/>
                      <a:pt x="70156" y="30328"/>
                      <a:pt x="433884" y="30328"/>
                    </a:cubicBezTo>
                    <a:close/>
                  </a:path>
                </a:pathLst>
              </a:custGeom>
              <a:solidFill>
                <a:srgbClr val="FFFFFF"/>
              </a:solidFill>
              <a:ln w="298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353" name="Freeform: Shape 352">
                <a:extLst>
                  <a:ext uri="{FF2B5EF4-FFF2-40B4-BE49-F238E27FC236}">
                    <a16:creationId xmlns:a16="http://schemas.microsoft.com/office/drawing/2014/main" id="{52A9049A-A552-4FD7-B6FB-A982D186F13D}"/>
                  </a:ext>
                </a:extLst>
              </p:cNvPr>
              <p:cNvSpPr/>
              <p:nvPr/>
            </p:nvSpPr>
            <p:spPr>
              <a:xfrm>
                <a:off x="303330" y="3622909"/>
                <a:ext cx="298276" cy="362079"/>
              </a:xfrm>
              <a:custGeom>
                <a:avLst/>
                <a:gdLst>
                  <a:gd name="connsiteX0" fmla="*/ 19509 w 298276"/>
                  <a:gd name="connsiteY0" fmla="*/ 188592 h 362079"/>
                  <a:gd name="connsiteX1" fmla="*/ 244183 w 298276"/>
                  <a:gd name="connsiteY1" fmla="*/ 4765 h 362079"/>
                  <a:gd name="connsiteX2" fmla="*/ 298276 w 298276"/>
                  <a:gd name="connsiteY2" fmla="*/ 10159 h 362079"/>
                  <a:gd name="connsiteX3" fmla="*/ 231776 w 298276"/>
                  <a:gd name="connsiteY3" fmla="*/ 90 h 362079"/>
                  <a:gd name="connsiteX4" fmla="*/ 231447 w 298276"/>
                  <a:gd name="connsiteY4" fmla="*/ 90 h 362079"/>
                  <a:gd name="connsiteX5" fmla="*/ 224644 w 298276"/>
                  <a:gd name="connsiteY5" fmla="*/ 0 h 362079"/>
                  <a:gd name="connsiteX6" fmla="*/ 0 w 298276"/>
                  <a:gd name="connsiteY6" fmla="*/ 183827 h 362079"/>
                  <a:gd name="connsiteX7" fmla="*/ 152060 w 298276"/>
                  <a:gd name="connsiteY7" fmla="*/ 357794 h 362079"/>
                  <a:gd name="connsiteX8" fmla="*/ 152060 w 298276"/>
                  <a:gd name="connsiteY8" fmla="*/ 357854 h 362079"/>
                  <a:gd name="connsiteX9" fmla="*/ 165306 w 298276"/>
                  <a:gd name="connsiteY9" fmla="*/ 361180 h 362079"/>
                  <a:gd name="connsiteX10" fmla="*/ 169861 w 298276"/>
                  <a:gd name="connsiteY10" fmla="*/ 362079 h 362079"/>
                  <a:gd name="connsiteX11" fmla="*/ 19509 w 298276"/>
                  <a:gd name="connsiteY11" fmla="*/ 188592 h 362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8276" h="362079">
                    <a:moveTo>
                      <a:pt x="19509" y="188592"/>
                    </a:moveTo>
                    <a:cubicBezTo>
                      <a:pt x="19509" y="87059"/>
                      <a:pt x="120084" y="4765"/>
                      <a:pt x="244183" y="4765"/>
                    </a:cubicBezTo>
                    <a:cubicBezTo>
                      <a:pt x="262854" y="4765"/>
                      <a:pt x="280955" y="6653"/>
                      <a:pt x="298276" y="10159"/>
                    </a:cubicBezTo>
                    <a:cubicBezTo>
                      <a:pt x="277328" y="4226"/>
                      <a:pt x="255032" y="689"/>
                      <a:pt x="231776" y="90"/>
                    </a:cubicBezTo>
                    <a:lnTo>
                      <a:pt x="231447" y="90"/>
                    </a:lnTo>
                    <a:cubicBezTo>
                      <a:pt x="229169" y="60"/>
                      <a:pt x="226921" y="0"/>
                      <a:pt x="224644" y="0"/>
                    </a:cubicBezTo>
                    <a:cubicBezTo>
                      <a:pt x="100634" y="0"/>
                      <a:pt x="0" y="82294"/>
                      <a:pt x="0" y="183827"/>
                    </a:cubicBezTo>
                    <a:cubicBezTo>
                      <a:pt x="0" y="264562"/>
                      <a:pt x="63623" y="333160"/>
                      <a:pt x="152060" y="357794"/>
                    </a:cubicBezTo>
                    <a:lnTo>
                      <a:pt x="152060" y="357854"/>
                    </a:lnTo>
                    <a:cubicBezTo>
                      <a:pt x="156406" y="359082"/>
                      <a:pt x="160811" y="360161"/>
                      <a:pt x="165306" y="361180"/>
                    </a:cubicBezTo>
                    <a:cubicBezTo>
                      <a:pt x="166805" y="361510"/>
                      <a:pt x="168363" y="361750"/>
                      <a:pt x="169861" y="362079"/>
                    </a:cubicBezTo>
                    <a:cubicBezTo>
                      <a:pt x="82323" y="336936"/>
                      <a:pt x="19509" y="268787"/>
                      <a:pt x="19509" y="188592"/>
                    </a:cubicBezTo>
                    <a:close/>
                  </a:path>
                </a:pathLst>
              </a:custGeom>
              <a:solidFill>
                <a:srgbClr val="FFFFFF"/>
              </a:solidFill>
              <a:ln w="298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354" name="Freeform: Shape 353">
                <a:extLst>
                  <a:ext uri="{FF2B5EF4-FFF2-40B4-BE49-F238E27FC236}">
                    <a16:creationId xmlns:a16="http://schemas.microsoft.com/office/drawing/2014/main" id="{8C1D435D-38EB-4634-8C71-AC6852AC58BB}"/>
                  </a:ext>
                </a:extLst>
              </p:cNvPr>
              <p:cNvSpPr/>
              <p:nvPr/>
            </p:nvSpPr>
            <p:spPr>
              <a:xfrm>
                <a:off x="1860462" y="3622909"/>
                <a:ext cx="298306" cy="362079"/>
              </a:xfrm>
              <a:custGeom>
                <a:avLst/>
                <a:gdLst>
                  <a:gd name="connsiteX0" fmla="*/ 278767 w 298306"/>
                  <a:gd name="connsiteY0" fmla="*/ 188592 h 362079"/>
                  <a:gd name="connsiteX1" fmla="*/ 54093 w 298306"/>
                  <a:gd name="connsiteY1" fmla="*/ 4765 h 362079"/>
                  <a:gd name="connsiteX2" fmla="*/ 0 w 298306"/>
                  <a:gd name="connsiteY2" fmla="*/ 10159 h 362079"/>
                  <a:gd name="connsiteX3" fmla="*/ 66500 w 298306"/>
                  <a:gd name="connsiteY3" fmla="*/ 90 h 362079"/>
                  <a:gd name="connsiteX4" fmla="*/ 66830 w 298306"/>
                  <a:gd name="connsiteY4" fmla="*/ 90 h 362079"/>
                  <a:gd name="connsiteX5" fmla="*/ 73632 w 298306"/>
                  <a:gd name="connsiteY5" fmla="*/ 0 h 362079"/>
                  <a:gd name="connsiteX6" fmla="*/ 298306 w 298306"/>
                  <a:gd name="connsiteY6" fmla="*/ 183827 h 362079"/>
                  <a:gd name="connsiteX7" fmla="*/ 146246 w 298306"/>
                  <a:gd name="connsiteY7" fmla="*/ 357794 h 362079"/>
                  <a:gd name="connsiteX8" fmla="*/ 146246 w 298306"/>
                  <a:gd name="connsiteY8" fmla="*/ 357854 h 362079"/>
                  <a:gd name="connsiteX9" fmla="*/ 133000 w 298306"/>
                  <a:gd name="connsiteY9" fmla="*/ 361180 h 362079"/>
                  <a:gd name="connsiteX10" fmla="*/ 128445 w 298306"/>
                  <a:gd name="connsiteY10" fmla="*/ 362079 h 362079"/>
                  <a:gd name="connsiteX11" fmla="*/ 278767 w 298306"/>
                  <a:gd name="connsiteY11" fmla="*/ 188592 h 362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8306" h="362079">
                    <a:moveTo>
                      <a:pt x="278767" y="188592"/>
                    </a:moveTo>
                    <a:cubicBezTo>
                      <a:pt x="278767" y="87059"/>
                      <a:pt x="178192" y="4765"/>
                      <a:pt x="54093" y="4765"/>
                    </a:cubicBezTo>
                    <a:cubicBezTo>
                      <a:pt x="35423" y="4765"/>
                      <a:pt x="17322" y="6653"/>
                      <a:pt x="0" y="10159"/>
                    </a:cubicBezTo>
                    <a:cubicBezTo>
                      <a:pt x="20948" y="4226"/>
                      <a:pt x="43244" y="689"/>
                      <a:pt x="66500" y="90"/>
                    </a:cubicBezTo>
                    <a:lnTo>
                      <a:pt x="66830" y="90"/>
                    </a:lnTo>
                    <a:cubicBezTo>
                      <a:pt x="69107" y="60"/>
                      <a:pt x="71355" y="0"/>
                      <a:pt x="73632" y="0"/>
                    </a:cubicBezTo>
                    <a:cubicBezTo>
                      <a:pt x="197672" y="0"/>
                      <a:pt x="298306" y="82294"/>
                      <a:pt x="298306" y="183827"/>
                    </a:cubicBezTo>
                    <a:cubicBezTo>
                      <a:pt x="298306" y="264562"/>
                      <a:pt x="234683" y="333160"/>
                      <a:pt x="146246" y="357794"/>
                    </a:cubicBezTo>
                    <a:lnTo>
                      <a:pt x="146246" y="357854"/>
                    </a:lnTo>
                    <a:cubicBezTo>
                      <a:pt x="141901" y="359082"/>
                      <a:pt x="137495" y="360161"/>
                      <a:pt x="133000" y="361180"/>
                    </a:cubicBezTo>
                    <a:cubicBezTo>
                      <a:pt x="131502" y="361510"/>
                      <a:pt x="129943" y="361750"/>
                      <a:pt x="128445" y="362079"/>
                    </a:cubicBezTo>
                    <a:cubicBezTo>
                      <a:pt x="215983" y="336936"/>
                      <a:pt x="278767" y="268787"/>
                      <a:pt x="278767" y="188592"/>
                    </a:cubicBezTo>
                    <a:close/>
                  </a:path>
                </a:pathLst>
              </a:custGeom>
              <a:solidFill>
                <a:srgbClr val="FFFFFF"/>
              </a:solidFill>
              <a:ln w="298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355" name="Freeform: Shape 354">
                <a:extLst>
                  <a:ext uri="{FF2B5EF4-FFF2-40B4-BE49-F238E27FC236}">
                    <a16:creationId xmlns:a16="http://schemas.microsoft.com/office/drawing/2014/main" id="{143956FC-C4FB-4E53-8ADC-E2350BE3ECFC}"/>
                  </a:ext>
                </a:extLst>
              </p:cNvPr>
              <p:cNvSpPr/>
              <p:nvPr/>
            </p:nvSpPr>
            <p:spPr>
              <a:xfrm>
                <a:off x="605099" y="2800154"/>
                <a:ext cx="1251913" cy="858147"/>
              </a:xfrm>
              <a:custGeom>
                <a:avLst/>
                <a:gdLst>
                  <a:gd name="connsiteX0" fmla="*/ 636034 w 1251913"/>
                  <a:gd name="connsiteY0" fmla="*/ 0 h 858147"/>
                  <a:gd name="connsiteX1" fmla="*/ 625965 w 1251913"/>
                  <a:gd name="connsiteY1" fmla="*/ 90 h 858147"/>
                  <a:gd name="connsiteX2" fmla="*/ 615896 w 1251913"/>
                  <a:gd name="connsiteY2" fmla="*/ 0 h 858147"/>
                  <a:gd name="connsiteX3" fmla="*/ 48622 w 1251913"/>
                  <a:gd name="connsiteY3" fmla="*/ 849337 h 858147"/>
                  <a:gd name="connsiteX4" fmla="*/ 66633 w 1251913"/>
                  <a:gd name="connsiteY4" fmla="*/ 858147 h 858147"/>
                  <a:gd name="connsiteX5" fmla="*/ 615866 w 1251913"/>
                  <a:gd name="connsiteY5" fmla="*/ 38390 h 858147"/>
                  <a:gd name="connsiteX6" fmla="*/ 625935 w 1251913"/>
                  <a:gd name="connsiteY6" fmla="*/ 38480 h 858147"/>
                  <a:gd name="connsiteX7" fmla="*/ 636004 w 1251913"/>
                  <a:gd name="connsiteY7" fmla="*/ 38390 h 858147"/>
                  <a:gd name="connsiteX8" fmla="*/ 1185267 w 1251913"/>
                  <a:gd name="connsiteY8" fmla="*/ 858147 h 858147"/>
                  <a:gd name="connsiteX9" fmla="*/ 1203278 w 1251913"/>
                  <a:gd name="connsiteY9" fmla="*/ 849337 h 858147"/>
                  <a:gd name="connsiteX10" fmla="*/ 636034 w 1251913"/>
                  <a:gd name="connsiteY10" fmla="*/ 0 h 858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51913" h="858147">
                    <a:moveTo>
                      <a:pt x="636034" y="0"/>
                    </a:moveTo>
                    <a:cubicBezTo>
                      <a:pt x="632618" y="0"/>
                      <a:pt x="629321" y="60"/>
                      <a:pt x="625965" y="90"/>
                    </a:cubicBezTo>
                    <a:cubicBezTo>
                      <a:pt x="622609" y="30"/>
                      <a:pt x="619282" y="0"/>
                      <a:pt x="615896" y="0"/>
                    </a:cubicBezTo>
                    <a:cubicBezTo>
                      <a:pt x="-84498" y="0"/>
                      <a:pt x="-39305" y="449947"/>
                      <a:pt x="48622" y="849337"/>
                    </a:cubicBezTo>
                    <a:cubicBezTo>
                      <a:pt x="54796" y="852064"/>
                      <a:pt x="60819" y="855001"/>
                      <a:pt x="66633" y="858147"/>
                    </a:cubicBezTo>
                    <a:cubicBezTo>
                      <a:pt x="-26089" y="466459"/>
                      <a:pt x="-67266" y="38390"/>
                      <a:pt x="615866" y="38390"/>
                    </a:cubicBezTo>
                    <a:cubicBezTo>
                      <a:pt x="619282" y="38390"/>
                      <a:pt x="622579" y="38450"/>
                      <a:pt x="625935" y="38480"/>
                    </a:cubicBezTo>
                    <a:cubicBezTo>
                      <a:pt x="629291" y="38420"/>
                      <a:pt x="632618" y="38390"/>
                      <a:pt x="636004" y="38390"/>
                    </a:cubicBezTo>
                    <a:cubicBezTo>
                      <a:pt x="1319136" y="38390"/>
                      <a:pt x="1277989" y="466459"/>
                      <a:pt x="1185267" y="858147"/>
                    </a:cubicBezTo>
                    <a:cubicBezTo>
                      <a:pt x="1191081" y="854971"/>
                      <a:pt x="1197104" y="852064"/>
                      <a:pt x="1203278" y="849337"/>
                    </a:cubicBezTo>
                    <a:cubicBezTo>
                      <a:pt x="1291235" y="449947"/>
                      <a:pt x="1336398" y="0"/>
                      <a:pt x="636034" y="0"/>
                    </a:cubicBezTo>
                    <a:close/>
                  </a:path>
                </a:pathLst>
              </a:custGeom>
              <a:solidFill>
                <a:srgbClr val="FFFFFF"/>
              </a:solidFill>
              <a:ln w="298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356" name="Freeform: Shape 355">
                <a:extLst>
                  <a:ext uri="{FF2B5EF4-FFF2-40B4-BE49-F238E27FC236}">
                    <a16:creationId xmlns:a16="http://schemas.microsoft.com/office/drawing/2014/main" id="{98504E61-6D83-4327-AE15-51FDC306312D}"/>
                  </a:ext>
                </a:extLst>
              </p:cNvPr>
              <p:cNvSpPr/>
              <p:nvPr/>
            </p:nvSpPr>
            <p:spPr>
              <a:xfrm>
                <a:off x="904617" y="3899368"/>
                <a:ext cx="671425" cy="751909"/>
              </a:xfrm>
              <a:custGeom>
                <a:avLst/>
                <a:gdLst>
                  <a:gd name="connsiteX0" fmla="*/ 671414 w 671425"/>
                  <a:gd name="connsiteY0" fmla="*/ 247780 h 751909"/>
                  <a:gd name="connsiteX1" fmla="*/ 671414 w 671425"/>
                  <a:gd name="connsiteY1" fmla="*/ 600959 h 751909"/>
                  <a:gd name="connsiteX2" fmla="*/ 646750 w 671425"/>
                  <a:gd name="connsiteY2" fmla="*/ 626731 h 751909"/>
                  <a:gd name="connsiteX3" fmla="*/ 589570 w 671425"/>
                  <a:gd name="connsiteY3" fmla="*/ 628709 h 751909"/>
                  <a:gd name="connsiteX4" fmla="*/ 587682 w 671425"/>
                  <a:gd name="connsiteY4" fmla="*/ 731741 h 751909"/>
                  <a:gd name="connsiteX5" fmla="*/ 587322 w 671425"/>
                  <a:gd name="connsiteY5" fmla="*/ 751610 h 751909"/>
                  <a:gd name="connsiteX6" fmla="*/ 587322 w 671425"/>
                  <a:gd name="connsiteY6" fmla="*/ 751880 h 751909"/>
                  <a:gd name="connsiteX7" fmla="*/ 418300 w 671425"/>
                  <a:gd name="connsiteY7" fmla="*/ 751880 h 751909"/>
                  <a:gd name="connsiteX8" fmla="*/ 418300 w 671425"/>
                  <a:gd name="connsiteY8" fmla="*/ 728924 h 751909"/>
                  <a:gd name="connsiteX9" fmla="*/ 418240 w 671425"/>
                  <a:gd name="connsiteY9" fmla="*/ 628470 h 751909"/>
                  <a:gd name="connsiteX10" fmla="*/ 353239 w 671425"/>
                  <a:gd name="connsiteY10" fmla="*/ 625503 h 751909"/>
                  <a:gd name="connsiteX11" fmla="*/ 290125 w 671425"/>
                  <a:gd name="connsiteY11" fmla="*/ 622596 h 751909"/>
                  <a:gd name="connsiteX12" fmla="*/ 289945 w 671425"/>
                  <a:gd name="connsiteY12" fmla="*/ 728714 h 751909"/>
                  <a:gd name="connsiteX13" fmla="*/ 289915 w 671425"/>
                  <a:gd name="connsiteY13" fmla="*/ 751640 h 751909"/>
                  <a:gd name="connsiteX14" fmla="*/ 289915 w 671425"/>
                  <a:gd name="connsiteY14" fmla="*/ 751910 h 751909"/>
                  <a:gd name="connsiteX15" fmla="*/ 122152 w 671425"/>
                  <a:gd name="connsiteY15" fmla="*/ 751910 h 751909"/>
                  <a:gd name="connsiteX16" fmla="*/ 122152 w 671425"/>
                  <a:gd name="connsiteY16" fmla="*/ 751640 h 751909"/>
                  <a:gd name="connsiteX17" fmla="*/ 121792 w 671425"/>
                  <a:gd name="connsiteY17" fmla="*/ 731142 h 751909"/>
                  <a:gd name="connsiteX18" fmla="*/ 119814 w 671425"/>
                  <a:gd name="connsiteY18" fmla="*/ 622116 h 751909"/>
                  <a:gd name="connsiteX19" fmla="*/ 26852 w 671425"/>
                  <a:gd name="connsiteY19" fmla="*/ 624244 h 751909"/>
                  <a:gd name="connsiteX20" fmla="*/ 0 w 671425"/>
                  <a:gd name="connsiteY20" fmla="*/ 598471 h 751909"/>
                  <a:gd name="connsiteX21" fmla="*/ 0 w 671425"/>
                  <a:gd name="connsiteY21" fmla="*/ 231207 h 751909"/>
                  <a:gd name="connsiteX22" fmla="*/ 28051 w 671425"/>
                  <a:gd name="connsiteY22" fmla="*/ 163029 h 751909"/>
                  <a:gd name="connsiteX23" fmla="*/ 40128 w 671425"/>
                  <a:gd name="connsiteY23" fmla="*/ 113971 h 751909"/>
                  <a:gd name="connsiteX24" fmla="*/ 51426 w 671425"/>
                  <a:gd name="connsiteY24" fmla="*/ 91315 h 751909"/>
                  <a:gd name="connsiteX25" fmla="*/ 69047 w 671425"/>
                  <a:gd name="connsiteY25" fmla="*/ 66321 h 751909"/>
                  <a:gd name="connsiteX26" fmla="*/ 109205 w 671425"/>
                  <a:gd name="connsiteY26" fmla="*/ 30509 h 751909"/>
                  <a:gd name="connsiteX27" fmla="*/ 187273 w 671425"/>
                  <a:gd name="connsiteY27" fmla="*/ 2068 h 751909"/>
                  <a:gd name="connsiteX28" fmla="*/ 333819 w 671425"/>
                  <a:gd name="connsiteY28" fmla="*/ 9531 h 751909"/>
                  <a:gd name="connsiteX29" fmla="*/ 493341 w 671425"/>
                  <a:gd name="connsiteY29" fmla="*/ 60 h 751909"/>
                  <a:gd name="connsiteX30" fmla="*/ 613545 w 671425"/>
                  <a:gd name="connsiteY30" fmla="*/ 42016 h 751909"/>
                  <a:gd name="connsiteX31" fmla="*/ 635991 w 671425"/>
                  <a:gd name="connsiteY31" fmla="*/ 72135 h 751909"/>
                  <a:gd name="connsiteX32" fmla="*/ 647679 w 671425"/>
                  <a:gd name="connsiteY32" fmla="*/ 93352 h 751909"/>
                  <a:gd name="connsiteX33" fmla="*/ 656280 w 671425"/>
                  <a:gd name="connsiteY33" fmla="*/ 113551 h 751909"/>
                  <a:gd name="connsiteX34" fmla="*/ 668297 w 671425"/>
                  <a:gd name="connsiteY34" fmla="*/ 164258 h 751909"/>
                  <a:gd name="connsiteX35" fmla="*/ 669256 w 671425"/>
                  <a:gd name="connsiteY35" fmla="*/ 172769 h 751909"/>
                  <a:gd name="connsiteX36" fmla="*/ 671414 w 671425"/>
                  <a:gd name="connsiteY36" fmla="*/ 247780 h 751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71425" h="751909">
                    <a:moveTo>
                      <a:pt x="671414" y="247780"/>
                    </a:moveTo>
                    <a:lnTo>
                      <a:pt x="671414" y="600959"/>
                    </a:lnTo>
                    <a:cubicBezTo>
                      <a:pt x="671414" y="614774"/>
                      <a:pt x="660505" y="626102"/>
                      <a:pt x="646750" y="626731"/>
                    </a:cubicBezTo>
                    <a:cubicBezTo>
                      <a:pt x="632635" y="627361"/>
                      <a:pt x="613035" y="628080"/>
                      <a:pt x="589570" y="628709"/>
                    </a:cubicBezTo>
                    <a:lnTo>
                      <a:pt x="587682" y="731741"/>
                    </a:lnTo>
                    <a:lnTo>
                      <a:pt x="587322" y="751610"/>
                    </a:lnTo>
                    <a:lnTo>
                      <a:pt x="587322" y="751880"/>
                    </a:lnTo>
                    <a:lnTo>
                      <a:pt x="418300" y="751880"/>
                    </a:lnTo>
                    <a:lnTo>
                      <a:pt x="418300" y="728924"/>
                    </a:lnTo>
                    <a:lnTo>
                      <a:pt x="418240" y="628470"/>
                    </a:lnTo>
                    <a:cubicBezTo>
                      <a:pt x="396783" y="627780"/>
                      <a:pt x="374966" y="626821"/>
                      <a:pt x="353239" y="625503"/>
                    </a:cubicBezTo>
                    <a:cubicBezTo>
                      <a:pt x="332291" y="624214"/>
                      <a:pt x="311133" y="623255"/>
                      <a:pt x="290125" y="622596"/>
                    </a:cubicBezTo>
                    <a:lnTo>
                      <a:pt x="289945" y="728714"/>
                    </a:lnTo>
                    <a:lnTo>
                      <a:pt x="289915" y="751640"/>
                    </a:lnTo>
                    <a:lnTo>
                      <a:pt x="289915" y="751910"/>
                    </a:lnTo>
                    <a:lnTo>
                      <a:pt x="122152" y="751910"/>
                    </a:lnTo>
                    <a:lnTo>
                      <a:pt x="122152" y="751640"/>
                    </a:lnTo>
                    <a:lnTo>
                      <a:pt x="121792" y="731142"/>
                    </a:lnTo>
                    <a:lnTo>
                      <a:pt x="119814" y="622116"/>
                    </a:lnTo>
                    <a:cubicBezTo>
                      <a:pt x="92543" y="622746"/>
                      <a:pt x="43125" y="623585"/>
                      <a:pt x="26852" y="624244"/>
                    </a:cubicBezTo>
                    <a:cubicBezTo>
                      <a:pt x="12227" y="624873"/>
                      <a:pt x="0" y="613156"/>
                      <a:pt x="0" y="598471"/>
                    </a:cubicBezTo>
                    <a:lnTo>
                      <a:pt x="0" y="231207"/>
                    </a:lnTo>
                    <a:cubicBezTo>
                      <a:pt x="0" y="207772"/>
                      <a:pt x="25743" y="184756"/>
                      <a:pt x="28051" y="163029"/>
                    </a:cubicBezTo>
                    <a:cubicBezTo>
                      <a:pt x="29819" y="146786"/>
                      <a:pt x="33235" y="130573"/>
                      <a:pt x="40128" y="113971"/>
                    </a:cubicBezTo>
                    <a:cubicBezTo>
                      <a:pt x="43364" y="106149"/>
                      <a:pt x="47140" y="98597"/>
                      <a:pt x="51426" y="91315"/>
                    </a:cubicBezTo>
                    <a:cubicBezTo>
                      <a:pt x="56551" y="82504"/>
                      <a:pt x="62454" y="74143"/>
                      <a:pt x="69047" y="66321"/>
                    </a:cubicBezTo>
                    <a:cubicBezTo>
                      <a:pt x="80525" y="52475"/>
                      <a:pt x="94101" y="40368"/>
                      <a:pt x="109205" y="30509"/>
                    </a:cubicBezTo>
                    <a:cubicBezTo>
                      <a:pt x="132640" y="15254"/>
                      <a:pt x="159522" y="5455"/>
                      <a:pt x="187273" y="2068"/>
                    </a:cubicBezTo>
                    <a:cubicBezTo>
                      <a:pt x="236272" y="-3895"/>
                      <a:pt x="285060" y="6384"/>
                      <a:pt x="333819" y="9531"/>
                    </a:cubicBezTo>
                    <a:cubicBezTo>
                      <a:pt x="386893" y="12947"/>
                      <a:pt x="440177" y="1229"/>
                      <a:pt x="493341" y="60"/>
                    </a:cubicBezTo>
                    <a:cubicBezTo>
                      <a:pt x="535956" y="-869"/>
                      <a:pt x="583756" y="8721"/>
                      <a:pt x="613545" y="42016"/>
                    </a:cubicBezTo>
                    <a:cubicBezTo>
                      <a:pt x="621936" y="51366"/>
                      <a:pt x="629398" y="61466"/>
                      <a:pt x="635991" y="72135"/>
                    </a:cubicBezTo>
                    <a:cubicBezTo>
                      <a:pt x="640307" y="78998"/>
                      <a:pt x="644173" y="86100"/>
                      <a:pt x="647679" y="93352"/>
                    </a:cubicBezTo>
                    <a:cubicBezTo>
                      <a:pt x="650856" y="99975"/>
                      <a:pt x="653732" y="106688"/>
                      <a:pt x="656280" y="113551"/>
                    </a:cubicBezTo>
                    <a:cubicBezTo>
                      <a:pt x="662483" y="130094"/>
                      <a:pt x="666139" y="147056"/>
                      <a:pt x="668297" y="164258"/>
                    </a:cubicBezTo>
                    <a:cubicBezTo>
                      <a:pt x="668657" y="167105"/>
                      <a:pt x="668986" y="169922"/>
                      <a:pt x="669256" y="172769"/>
                    </a:cubicBezTo>
                    <a:cubicBezTo>
                      <a:pt x="671714" y="197523"/>
                      <a:pt x="671414" y="222726"/>
                      <a:pt x="671414" y="247780"/>
                    </a:cubicBezTo>
                    <a:close/>
                  </a:path>
                </a:pathLst>
              </a:custGeom>
              <a:solidFill>
                <a:srgbClr val="A5A5A5">
                  <a:alpha val="25000"/>
                </a:srgbClr>
              </a:solidFill>
              <a:ln w="298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357" name="Freeform: Shape 356">
                <a:extLst>
                  <a:ext uri="{FF2B5EF4-FFF2-40B4-BE49-F238E27FC236}">
                    <a16:creationId xmlns:a16="http://schemas.microsoft.com/office/drawing/2014/main" id="{623D0B0E-CE9D-4DD5-AFEC-D6D4F99213D6}"/>
                  </a:ext>
                </a:extLst>
              </p:cNvPr>
              <p:cNvSpPr/>
              <p:nvPr/>
            </p:nvSpPr>
            <p:spPr>
              <a:xfrm>
                <a:off x="898777" y="3829748"/>
                <a:ext cx="650813" cy="240440"/>
              </a:xfrm>
              <a:custGeom>
                <a:avLst/>
                <a:gdLst>
                  <a:gd name="connsiteX0" fmla="*/ 76955 w 650813"/>
                  <a:gd name="connsiteY0" fmla="*/ 3 h 240440"/>
                  <a:gd name="connsiteX1" fmla="*/ 63409 w 650813"/>
                  <a:gd name="connsiteY1" fmla="*/ 243 h 240440"/>
                  <a:gd name="connsiteX2" fmla="*/ 6859 w 650813"/>
                  <a:gd name="connsiteY2" fmla="*/ 101177 h 240440"/>
                  <a:gd name="connsiteX3" fmla="*/ 5151 w 650813"/>
                  <a:gd name="connsiteY3" fmla="*/ 239242 h 240440"/>
                  <a:gd name="connsiteX4" fmla="*/ 17228 w 650813"/>
                  <a:gd name="connsiteY4" fmla="*/ 190183 h 240440"/>
                  <a:gd name="connsiteX5" fmla="*/ 86305 w 650813"/>
                  <a:gd name="connsiteY5" fmla="*/ 106721 h 240440"/>
                  <a:gd name="connsiteX6" fmla="*/ 164373 w 650813"/>
                  <a:gd name="connsiteY6" fmla="*/ 78281 h 240440"/>
                  <a:gd name="connsiteX7" fmla="*/ 310919 w 650813"/>
                  <a:gd name="connsiteY7" fmla="*/ 85713 h 240440"/>
                  <a:gd name="connsiteX8" fmla="*/ 470471 w 650813"/>
                  <a:gd name="connsiteY8" fmla="*/ 76243 h 240440"/>
                  <a:gd name="connsiteX9" fmla="*/ 590645 w 650813"/>
                  <a:gd name="connsiteY9" fmla="*/ 118169 h 240440"/>
                  <a:gd name="connsiteX10" fmla="*/ 633410 w 650813"/>
                  <a:gd name="connsiteY10" fmla="*/ 189734 h 240440"/>
                  <a:gd name="connsiteX11" fmla="*/ 645427 w 650813"/>
                  <a:gd name="connsiteY11" fmla="*/ 240440 h 240440"/>
                  <a:gd name="connsiteX12" fmla="*/ 643959 w 650813"/>
                  <a:gd name="connsiteY12" fmla="*/ 101177 h 240440"/>
                  <a:gd name="connsiteX13" fmla="*/ 591904 w 650813"/>
                  <a:gd name="connsiteY13" fmla="*/ 5398 h 240440"/>
                  <a:gd name="connsiteX14" fmla="*/ 579137 w 650813"/>
                  <a:gd name="connsiteY14" fmla="*/ 5368 h 240440"/>
                  <a:gd name="connsiteX15" fmla="*/ 76955 w 650813"/>
                  <a:gd name="connsiteY15" fmla="*/ 3 h 240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50813" h="240440">
                    <a:moveTo>
                      <a:pt x="76955" y="3"/>
                    </a:moveTo>
                    <a:cubicBezTo>
                      <a:pt x="71801" y="-27"/>
                      <a:pt x="67935" y="153"/>
                      <a:pt x="63409" y="243"/>
                    </a:cubicBezTo>
                    <a:cubicBezTo>
                      <a:pt x="36078" y="31081"/>
                      <a:pt x="17108" y="65514"/>
                      <a:pt x="6859" y="101177"/>
                    </a:cubicBezTo>
                    <a:cubicBezTo>
                      <a:pt x="296" y="124013"/>
                      <a:pt x="-3780" y="189614"/>
                      <a:pt x="5151" y="239242"/>
                    </a:cubicBezTo>
                    <a:cubicBezTo>
                      <a:pt x="6889" y="222969"/>
                      <a:pt x="10365" y="206816"/>
                      <a:pt x="17228" y="190183"/>
                    </a:cubicBezTo>
                    <a:cubicBezTo>
                      <a:pt x="31253" y="156259"/>
                      <a:pt x="55558" y="126770"/>
                      <a:pt x="86305" y="106721"/>
                    </a:cubicBezTo>
                    <a:cubicBezTo>
                      <a:pt x="109741" y="91437"/>
                      <a:pt x="136622" y="81667"/>
                      <a:pt x="164373" y="78281"/>
                    </a:cubicBezTo>
                    <a:cubicBezTo>
                      <a:pt x="213372" y="72317"/>
                      <a:pt x="262130" y="82566"/>
                      <a:pt x="310919" y="85713"/>
                    </a:cubicBezTo>
                    <a:cubicBezTo>
                      <a:pt x="363993" y="89130"/>
                      <a:pt x="417277" y="77412"/>
                      <a:pt x="470471" y="76243"/>
                    </a:cubicBezTo>
                    <a:cubicBezTo>
                      <a:pt x="513086" y="75314"/>
                      <a:pt x="560886" y="84904"/>
                      <a:pt x="590645" y="118169"/>
                    </a:cubicBezTo>
                    <a:cubicBezTo>
                      <a:pt x="609285" y="138997"/>
                      <a:pt x="623610" y="163571"/>
                      <a:pt x="633410" y="189734"/>
                    </a:cubicBezTo>
                    <a:cubicBezTo>
                      <a:pt x="639613" y="206306"/>
                      <a:pt x="643270" y="223269"/>
                      <a:pt x="645427" y="240440"/>
                    </a:cubicBezTo>
                    <a:cubicBezTo>
                      <a:pt x="654658" y="190663"/>
                      <a:pt x="650582" y="124193"/>
                      <a:pt x="643959" y="101177"/>
                    </a:cubicBezTo>
                    <a:cubicBezTo>
                      <a:pt x="634279" y="67492"/>
                      <a:pt x="616807" y="34887"/>
                      <a:pt x="591904" y="5398"/>
                    </a:cubicBezTo>
                    <a:cubicBezTo>
                      <a:pt x="587648" y="5368"/>
                      <a:pt x="583392" y="5368"/>
                      <a:pt x="579137" y="5368"/>
                    </a:cubicBezTo>
                    <a:cubicBezTo>
                      <a:pt x="412452" y="5098"/>
                      <a:pt x="244419" y="543"/>
                      <a:pt x="76955" y="3"/>
                    </a:cubicBezTo>
                    <a:close/>
                  </a:path>
                </a:pathLst>
              </a:custGeom>
              <a:solidFill>
                <a:srgbClr val="595358"/>
              </a:solidFill>
              <a:ln w="298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358" name="Freeform: Shape 357">
                <a:extLst>
                  <a:ext uri="{FF2B5EF4-FFF2-40B4-BE49-F238E27FC236}">
                    <a16:creationId xmlns:a16="http://schemas.microsoft.com/office/drawing/2014/main" id="{0B0A08F3-8F80-4F5F-A517-2103CA4AA94C}"/>
                  </a:ext>
                </a:extLst>
              </p:cNvPr>
              <p:cNvSpPr/>
              <p:nvPr/>
            </p:nvSpPr>
            <p:spPr>
              <a:xfrm>
                <a:off x="995601" y="4482675"/>
                <a:ext cx="170430" cy="242115"/>
              </a:xfrm>
              <a:custGeom>
                <a:avLst/>
                <a:gdLst>
                  <a:gd name="connsiteX0" fmla="*/ 53584 w 170430"/>
                  <a:gd name="connsiteY0" fmla="*/ 200100 h 242115"/>
                  <a:gd name="connsiteX1" fmla="*/ 78667 w 170430"/>
                  <a:gd name="connsiteY1" fmla="*/ 197013 h 242115"/>
                  <a:gd name="connsiteX2" fmla="*/ 108546 w 170430"/>
                  <a:gd name="connsiteY2" fmla="*/ 201418 h 242115"/>
                  <a:gd name="connsiteX3" fmla="*/ 154487 w 170430"/>
                  <a:gd name="connsiteY3" fmla="*/ 226921 h 242115"/>
                  <a:gd name="connsiteX4" fmla="*/ 170131 w 170430"/>
                  <a:gd name="connsiteY4" fmla="*/ 242115 h 242115"/>
                  <a:gd name="connsiteX5" fmla="*/ 170431 w 170430"/>
                  <a:gd name="connsiteY5" fmla="*/ 0 h 242115"/>
                  <a:gd name="connsiteX6" fmla="*/ 0 w 170430"/>
                  <a:gd name="connsiteY6" fmla="*/ 0 h 242115"/>
                  <a:gd name="connsiteX7" fmla="*/ 3386 w 170430"/>
                  <a:gd name="connsiteY7" fmla="*/ 226592 h 242115"/>
                  <a:gd name="connsiteX8" fmla="*/ 7642 w 170430"/>
                  <a:gd name="connsiteY8" fmla="*/ 223085 h 242115"/>
                  <a:gd name="connsiteX9" fmla="*/ 53584 w 170430"/>
                  <a:gd name="connsiteY9" fmla="*/ 200100 h 242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0430" h="242115">
                    <a:moveTo>
                      <a:pt x="53584" y="200100"/>
                    </a:moveTo>
                    <a:cubicBezTo>
                      <a:pt x="61765" y="198092"/>
                      <a:pt x="70126" y="197013"/>
                      <a:pt x="78667" y="197013"/>
                    </a:cubicBezTo>
                    <a:cubicBezTo>
                      <a:pt x="88887" y="197013"/>
                      <a:pt x="98866" y="198571"/>
                      <a:pt x="108546" y="201418"/>
                    </a:cubicBezTo>
                    <a:cubicBezTo>
                      <a:pt x="124879" y="206243"/>
                      <a:pt x="140312" y="214964"/>
                      <a:pt x="154487" y="226921"/>
                    </a:cubicBezTo>
                    <a:cubicBezTo>
                      <a:pt x="159912" y="231507"/>
                      <a:pt x="165126" y="236631"/>
                      <a:pt x="170131" y="242115"/>
                    </a:cubicBezTo>
                    <a:lnTo>
                      <a:pt x="170431" y="0"/>
                    </a:lnTo>
                    <a:lnTo>
                      <a:pt x="0" y="0"/>
                    </a:lnTo>
                    <a:lnTo>
                      <a:pt x="3386" y="226592"/>
                    </a:lnTo>
                    <a:cubicBezTo>
                      <a:pt x="4795" y="225423"/>
                      <a:pt x="6203" y="224194"/>
                      <a:pt x="7642" y="223085"/>
                    </a:cubicBezTo>
                    <a:cubicBezTo>
                      <a:pt x="21877" y="211997"/>
                      <a:pt x="37311" y="204085"/>
                      <a:pt x="53584" y="200100"/>
                    </a:cubicBezTo>
                    <a:close/>
                  </a:path>
                </a:pathLst>
              </a:custGeom>
              <a:solidFill>
                <a:srgbClr val="D38D4D"/>
              </a:solidFill>
              <a:ln w="298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359" name="Freeform: Shape 358">
                <a:extLst>
                  <a:ext uri="{FF2B5EF4-FFF2-40B4-BE49-F238E27FC236}">
                    <a16:creationId xmlns:a16="http://schemas.microsoft.com/office/drawing/2014/main" id="{40B1B5C9-3399-4F0E-9DC5-E661B015B1F0}"/>
                  </a:ext>
                </a:extLst>
              </p:cNvPr>
              <p:cNvSpPr/>
              <p:nvPr/>
            </p:nvSpPr>
            <p:spPr>
              <a:xfrm>
                <a:off x="1294117" y="4482585"/>
                <a:ext cx="171599" cy="236121"/>
              </a:xfrm>
              <a:custGeom>
                <a:avLst/>
                <a:gdLst>
                  <a:gd name="connsiteX0" fmla="*/ 0 w 171599"/>
                  <a:gd name="connsiteY0" fmla="*/ 60 h 236121"/>
                  <a:gd name="connsiteX1" fmla="*/ 90 w 171599"/>
                  <a:gd name="connsiteY1" fmla="*/ 236122 h 236121"/>
                  <a:gd name="connsiteX2" fmla="*/ 14055 w 171599"/>
                  <a:gd name="connsiteY2" fmla="*/ 223835 h 236121"/>
                  <a:gd name="connsiteX3" fmla="*/ 59997 w 171599"/>
                  <a:gd name="connsiteY3" fmla="*/ 200849 h 236121"/>
                  <a:gd name="connsiteX4" fmla="*/ 85081 w 171599"/>
                  <a:gd name="connsiteY4" fmla="*/ 197762 h 236121"/>
                  <a:gd name="connsiteX5" fmla="*/ 114959 w 171599"/>
                  <a:gd name="connsiteY5" fmla="*/ 202167 h 236121"/>
                  <a:gd name="connsiteX6" fmla="*/ 160901 w 171599"/>
                  <a:gd name="connsiteY6" fmla="*/ 227670 h 236121"/>
                  <a:gd name="connsiteX7" fmla="*/ 168063 w 171599"/>
                  <a:gd name="connsiteY7" fmla="*/ 234174 h 236121"/>
                  <a:gd name="connsiteX8" fmla="*/ 171600 w 171599"/>
                  <a:gd name="connsiteY8" fmla="*/ 0 h 236121"/>
                  <a:gd name="connsiteX9" fmla="*/ 6024 w 171599"/>
                  <a:gd name="connsiteY9" fmla="*/ 0 h 236121"/>
                  <a:gd name="connsiteX10" fmla="*/ 0 w 171599"/>
                  <a:gd name="connsiteY10" fmla="*/ 0 h 236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1599" h="236121">
                    <a:moveTo>
                      <a:pt x="0" y="60"/>
                    </a:moveTo>
                    <a:lnTo>
                      <a:pt x="90" y="236122"/>
                    </a:lnTo>
                    <a:cubicBezTo>
                      <a:pt x="4585" y="231686"/>
                      <a:pt x="9260" y="227581"/>
                      <a:pt x="14055" y="223835"/>
                    </a:cubicBezTo>
                    <a:cubicBezTo>
                      <a:pt x="28290" y="212746"/>
                      <a:pt x="43724" y="204865"/>
                      <a:pt x="59997" y="200849"/>
                    </a:cubicBezTo>
                    <a:cubicBezTo>
                      <a:pt x="68178" y="198841"/>
                      <a:pt x="76540" y="197762"/>
                      <a:pt x="85081" y="197762"/>
                    </a:cubicBezTo>
                    <a:cubicBezTo>
                      <a:pt x="95300" y="197762"/>
                      <a:pt x="105279" y="199320"/>
                      <a:pt x="114959" y="202167"/>
                    </a:cubicBezTo>
                    <a:cubicBezTo>
                      <a:pt x="131292" y="206992"/>
                      <a:pt x="146726" y="215713"/>
                      <a:pt x="160901" y="227670"/>
                    </a:cubicBezTo>
                    <a:cubicBezTo>
                      <a:pt x="163328" y="229738"/>
                      <a:pt x="165696" y="231956"/>
                      <a:pt x="168063" y="234174"/>
                    </a:cubicBezTo>
                    <a:lnTo>
                      <a:pt x="171600" y="0"/>
                    </a:lnTo>
                    <a:lnTo>
                      <a:pt x="6024" y="0"/>
                    </a:lnTo>
                    <a:lnTo>
                      <a:pt x="0" y="0"/>
                    </a:lnTo>
                    <a:close/>
                  </a:path>
                </a:pathLst>
              </a:custGeom>
              <a:solidFill>
                <a:srgbClr val="D38D4D"/>
              </a:solidFill>
              <a:ln w="298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360" name="Freeform: Shape 359">
                <a:extLst>
                  <a:ext uri="{FF2B5EF4-FFF2-40B4-BE49-F238E27FC236}">
                    <a16:creationId xmlns:a16="http://schemas.microsoft.com/office/drawing/2014/main" id="{1C661706-48E1-49A6-B02C-C2E0BDCD3C40}"/>
                  </a:ext>
                </a:extLst>
              </p:cNvPr>
              <p:cNvSpPr/>
              <p:nvPr/>
            </p:nvSpPr>
            <p:spPr>
              <a:xfrm>
                <a:off x="1168430" y="3014010"/>
                <a:ext cx="139413" cy="35003"/>
              </a:xfrm>
              <a:custGeom>
                <a:avLst/>
                <a:gdLst>
                  <a:gd name="connsiteX0" fmla="*/ 96648 w 139413"/>
                  <a:gd name="connsiteY0" fmla="*/ 30478 h 35003"/>
                  <a:gd name="connsiteX1" fmla="*/ 137945 w 139413"/>
                  <a:gd name="connsiteY1" fmla="*/ 12767 h 35003"/>
                  <a:gd name="connsiteX2" fmla="*/ 139413 w 139413"/>
                  <a:gd name="connsiteY2" fmla="*/ 11957 h 35003"/>
                  <a:gd name="connsiteX3" fmla="*/ 139323 w 139413"/>
                  <a:gd name="connsiteY3" fmla="*/ 4375 h 35003"/>
                  <a:gd name="connsiteX4" fmla="*/ 139264 w 139413"/>
                  <a:gd name="connsiteY4" fmla="*/ 0 h 35003"/>
                  <a:gd name="connsiteX5" fmla="*/ 70006 w 139413"/>
                  <a:gd name="connsiteY5" fmla="*/ 27691 h 35003"/>
                  <a:gd name="connsiteX6" fmla="*/ 0 w 139413"/>
                  <a:gd name="connsiteY6" fmla="*/ 1588 h 35003"/>
                  <a:gd name="connsiteX7" fmla="*/ 180 w 139413"/>
                  <a:gd name="connsiteY7" fmla="*/ 14295 h 35003"/>
                  <a:gd name="connsiteX8" fmla="*/ 38539 w 139413"/>
                  <a:gd name="connsiteY8" fmla="*/ 30448 h 35003"/>
                  <a:gd name="connsiteX9" fmla="*/ 96648 w 139413"/>
                  <a:gd name="connsiteY9" fmla="*/ 30478 h 3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9413" h="35003">
                    <a:moveTo>
                      <a:pt x="96648" y="30478"/>
                    </a:moveTo>
                    <a:cubicBezTo>
                      <a:pt x="110943" y="25893"/>
                      <a:pt x="124849" y="20049"/>
                      <a:pt x="137945" y="12767"/>
                    </a:cubicBezTo>
                    <a:cubicBezTo>
                      <a:pt x="138424" y="12497"/>
                      <a:pt x="138934" y="12227"/>
                      <a:pt x="139413" y="11957"/>
                    </a:cubicBezTo>
                    <a:lnTo>
                      <a:pt x="139323" y="4375"/>
                    </a:lnTo>
                    <a:lnTo>
                      <a:pt x="139264" y="0"/>
                    </a:lnTo>
                    <a:cubicBezTo>
                      <a:pt x="138874" y="14804"/>
                      <a:pt x="108096" y="27181"/>
                      <a:pt x="70006" y="27691"/>
                    </a:cubicBezTo>
                    <a:cubicBezTo>
                      <a:pt x="31647" y="28200"/>
                      <a:pt x="360" y="16543"/>
                      <a:pt x="0" y="1588"/>
                    </a:cubicBezTo>
                    <a:lnTo>
                      <a:pt x="180" y="14295"/>
                    </a:lnTo>
                    <a:cubicBezTo>
                      <a:pt x="12437" y="20828"/>
                      <a:pt x="25323" y="26222"/>
                      <a:pt x="38539" y="30448"/>
                    </a:cubicBezTo>
                    <a:cubicBezTo>
                      <a:pt x="57390" y="36531"/>
                      <a:pt x="77888" y="36502"/>
                      <a:pt x="96648" y="30478"/>
                    </a:cubicBezTo>
                    <a:close/>
                  </a:path>
                </a:pathLst>
              </a:custGeom>
              <a:solidFill>
                <a:srgbClr val="FFB07E"/>
              </a:solidFill>
              <a:ln w="298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361" name="Freeform: Shape 360">
                <a:extLst>
                  <a:ext uri="{FF2B5EF4-FFF2-40B4-BE49-F238E27FC236}">
                    <a16:creationId xmlns:a16="http://schemas.microsoft.com/office/drawing/2014/main" id="{329E5403-46EA-48AB-8A19-B5E53FB10533}"/>
                  </a:ext>
                </a:extLst>
              </p:cNvPr>
              <p:cNvSpPr/>
              <p:nvPr/>
            </p:nvSpPr>
            <p:spPr>
              <a:xfrm>
                <a:off x="1168430" y="3012691"/>
                <a:ext cx="139293" cy="29055"/>
              </a:xfrm>
              <a:custGeom>
                <a:avLst/>
                <a:gdLst>
                  <a:gd name="connsiteX0" fmla="*/ 70006 w 139293"/>
                  <a:gd name="connsiteY0" fmla="*/ 29039 h 29055"/>
                  <a:gd name="connsiteX1" fmla="*/ 139264 w 139293"/>
                  <a:gd name="connsiteY1" fmla="*/ 1349 h 29055"/>
                  <a:gd name="connsiteX2" fmla="*/ 139293 w 139293"/>
                  <a:gd name="connsiteY2" fmla="*/ 929 h 29055"/>
                  <a:gd name="connsiteX3" fmla="*/ 139293 w 139293"/>
                  <a:gd name="connsiteY3" fmla="*/ 0 h 29055"/>
                  <a:gd name="connsiteX4" fmla="*/ 137376 w 139293"/>
                  <a:gd name="connsiteY4" fmla="*/ 509 h 29055"/>
                  <a:gd name="connsiteX5" fmla="*/ 103541 w 139293"/>
                  <a:gd name="connsiteY5" fmla="*/ 6833 h 29055"/>
                  <a:gd name="connsiteX6" fmla="*/ 64162 w 139293"/>
                  <a:gd name="connsiteY6" fmla="*/ 9380 h 29055"/>
                  <a:gd name="connsiteX7" fmla="*/ 48429 w 139293"/>
                  <a:gd name="connsiteY7" fmla="*/ 8961 h 29055"/>
                  <a:gd name="connsiteX8" fmla="*/ 5095 w 139293"/>
                  <a:gd name="connsiteY8" fmla="*/ 3626 h 29055"/>
                  <a:gd name="connsiteX9" fmla="*/ 0 w 139293"/>
                  <a:gd name="connsiteY9" fmla="*/ 2517 h 29055"/>
                  <a:gd name="connsiteX10" fmla="*/ 0 w 139293"/>
                  <a:gd name="connsiteY10" fmla="*/ 2847 h 29055"/>
                  <a:gd name="connsiteX11" fmla="*/ 30 w 139293"/>
                  <a:gd name="connsiteY11" fmla="*/ 2967 h 29055"/>
                  <a:gd name="connsiteX12" fmla="*/ 70006 w 139293"/>
                  <a:gd name="connsiteY12" fmla="*/ 29039 h 29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9293" h="29055">
                    <a:moveTo>
                      <a:pt x="70006" y="29039"/>
                    </a:moveTo>
                    <a:cubicBezTo>
                      <a:pt x="108096" y="28500"/>
                      <a:pt x="138904" y="16153"/>
                      <a:pt x="139264" y="1349"/>
                    </a:cubicBezTo>
                    <a:cubicBezTo>
                      <a:pt x="139264" y="1199"/>
                      <a:pt x="139293" y="1049"/>
                      <a:pt x="139293" y="929"/>
                    </a:cubicBezTo>
                    <a:cubicBezTo>
                      <a:pt x="139293" y="629"/>
                      <a:pt x="139293" y="330"/>
                      <a:pt x="139293" y="0"/>
                    </a:cubicBezTo>
                    <a:cubicBezTo>
                      <a:pt x="138664" y="150"/>
                      <a:pt x="138005" y="330"/>
                      <a:pt x="137376" y="509"/>
                    </a:cubicBezTo>
                    <a:cubicBezTo>
                      <a:pt x="126287" y="3237"/>
                      <a:pt x="115019" y="5334"/>
                      <a:pt x="103541" y="6833"/>
                    </a:cubicBezTo>
                    <a:cubicBezTo>
                      <a:pt x="90625" y="8511"/>
                      <a:pt x="77468" y="9380"/>
                      <a:pt x="64162" y="9380"/>
                    </a:cubicBezTo>
                    <a:cubicBezTo>
                      <a:pt x="58888" y="9380"/>
                      <a:pt x="53644" y="9230"/>
                      <a:pt x="48429" y="8961"/>
                    </a:cubicBezTo>
                    <a:cubicBezTo>
                      <a:pt x="33715" y="8211"/>
                      <a:pt x="19240" y="6383"/>
                      <a:pt x="5095" y="3626"/>
                    </a:cubicBezTo>
                    <a:cubicBezTo>
                      <a:pt x="3386" y="3296"/>
                      <a:pt x="1678" y="2877"/>
                      <a:pt x="0" y="2517"/>
                    </a:cubicBezTo>
                    <a:cubicBezTo>
                      <a:pt x="0" y="2637"/>
                      <a:pt x="0" y="2727"/>
                      <a:pt x="0" y="2847"/>
                    </a:cubicBezTo>
                    <a:cubicBezTo>
                      <a:pt x="0" y="2877"/>
                      <a:pt x="30" y="2937"/>
                      <a:pt x="30" y="2967"/>
                    </a:cubicBezTo>
                    <a:cubicBezTo>
                      <a:pt x="360" y="17861"/>
                      <a:pt x="31617" y="29549"/>
                      <a:pt x="70006" y="29039"/>
                    </a:cubicBezTo>
                    <a:close/>
                  </a:path>
                </a:pathLst>
              </a:custGeom>
              <a:solidFill>
                <a:srgbClr val="CB7366"/>
              </a:solidFill>
              <a:ln w="298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362" name="Freeform: Shape 361">
                <a:extLst>
                  <a:ext uri="{FF2B5EF4-FFF2-40B4-BE49-F238E27FC236}">
                    <a16:creationId xmlns:a16="http://schemas.microsoft.com/office/drawing/2014/main" id="{84A486C6-B9A7-4503-BBF1-CCC8A3A62F93}"/>
                  </a:ext>
                </a:extLst>
              </p:cNvPr>
              <p:cNvSpPr/>
              <p:nvPr/>
            </p:nvSpPr>
            <p:spPr>
              <a:xfrm>
                <a:off x="859814" y="2078484"/>
                <a:ext cx="745016" cy="631825"/>
              </a:xfrm>
              <a:custGeom>
                <a:avLst/>
                <a:gdLst>
                  <a:gd name="connsiteX0" fmla="*/ 506827 w 745016"/>
                  <a:gd name="connsiteY0" fmla="*/ 140852 h 631825"/>
                  <a:gd name="connsiteX1" fmla="*/ 506977 w 745016"/>
                  <a:gd name="connsiteY1" fmla="*/ 134379 h 631825"/>
                  <a:gd name="connsiteX2" fmla="*/ 373407 w 745016"/>
                  <a:gd name="connsiteY2" fmla="*/ 0 h 631825"/>
                  <a:gd name="connsiteX3" fmla="*/ 239838 w 745016"/>
                  <a:gd name="connsiteY3" fmla="*/ 134379 h 631825"/>
                  <a:gd name="connsiteX4" fmla="*/ 239988 w 745016"/>
                  <a:gd name="connsiteY4" fmla="*/ 140193 h 631825"/>
                  <a:gd name="connsiteX5" fmla="*/ 250596 w 745016"/>
                  <a:gd name="connsiteY5" fmla="*/ 135727 h 631825"/>
                  <a:gd name="connsiteX6" fmla="*/ 262914 w 745016"/>
                  <a:gd name="connsiteY6" fmla="*/ 130932 h 631825"/>
                  <a:gd name="connsiteX7" fmla="*/ 279186 w 745016"/>
                  <a:gd name="connsiteY7" fmla="*/ 125298 h 631825"/>
                  <a:gd name="connsiteX8" fmla="*/ 298726 w 745016"/>
                  <a:gd name="connsiteY8" fmla="*/ 119574 h 631825"/>
                  <a:gd name="connsiteX9" fmla="*/ 320902 w 745016"/>
                  <a:gd name="connsiteY9" fmla="*/ 114360 h 631825"/>
                  <a:gd name="connsiteX10" fmla="*/ 332770 w 745016"/>
                  <a:gd name="connsiteY10" fmla="*/ 112112 h 631825"/>
                  <a:gd name="connsiteX11" fmla="*/ 345027 w 745016"/>
                  <a:gd name="connsiteY11" fmla="*/ 110374 h 631825"/>
                  <a:gd name="connsiteX12" fmla="*/ 357554 w 745016"/>
                  <a:gd name="connsiteY12" fmla="*/ 109085 h 631825"/>
                  <a:gd name="connsiteX13" fmla="*/ 370261 w 745016"/>
                  <a:gd name="connsiteY13" fmla="*/ 108276 h 631825"/>
                  <a:gd name="connsiteX14" fmla="*/ 382997 w 745016"/>
                  <a:gd name="connsiteY14" fmla="*/ 108036 h 631825"/>
                  <a:gd name="connsiteX15" fmla="*/ 395644 w 745016"/>
                  <a:gd name="connsiteY15" fmla="*/ 108456 h 631825"/>
                  <a:gd name="connsiteX16" fmla="*/ 408051 w 745016"/>
                  <a:gd name="connsiteY16" fmla="*/ 109565 h 631825"/>
                  <a:gd name="connsiteX17" fmla="*/ 420098 w 745016"/>
                  <a:gd name="connsiteY17" fmla="*/ 111213 h 631825"/>
                  <a:gd name="connsiteX18" fmla="*/ 442575 w 745016"/>
                  <a:gd name="connsiteY18" fmla="*/ 115978 h 631825"/>
                  <a:gd name="connsiteX19" fmla="*/ 462114 w 745016"/>
                  <a:gd name="connsiteY19" fmla="*/ 122241 h 631825"/>
                  <a:gd name="connsiteX20" fmla="*/ 470625 w 745016"/>
                  <a:gd name="connsiteY20" fmla="*/ 125448 h 631825"/>
                  <a:gd name="connsiteX21" fmla="*/ 478117 w 745016"/>
                  <a:gd name="connsiteY21" fmla="*/ 128775 h 631825"/>
                  <a:gd name="connsiteX22" fmla="*/ 490045 w 745016"/>
                  <a:gd name="connsiteY22" fmla="*/ 134588 h 631825"/>
                  <a:gd name="connsiteX23" fmla="*/ 500144 w 745016"/>
                  <a:gd name="connsiteY23" fmla="*/ 140193 h 631825"/>
                  <a:gd name="connsiteX24" fmla="*/ 489116 w 745016"/>
                  <a:gd name="connsiteY24" fmla="*/ 136866 h 631825"/>
                  <a:gd name="connsiteX25" fmla="*/ 476499 w 745016"/>
                  <a:gd name="connsiteY25" fmla="*/ 133210 h 631825"/>
                  <a:gd name="connsiteX26" fmla="*/ 468737 w 745016"/>
                  <a:gd name="connsiteY26" fmla="*/ 131082 h 631825"/>
                  <a:gd name="connsiteX27" fmla="*/ 460076 w 745016"/>
                  <a:gd name="connsiteY27" fmla="*/ 129014 h 631825"/>
                  <a:gd name="connsiteX28" fmla="*/ 455491 w 745016"/>
                  <a:gd name="connsiteY28" fmla="*/ 127905 h 631825"/>
                  <a:gd name="connsiteX29" fmla="*/ 450666 w 745016"/>
                  <a:gd name="connsiteY29" fmla="*/ 126976 h 631825"/>
                  <a:gd name="connsiteX30" fmla="*/ 440597 w 745016"/>
                  <a:gd name="connsiteY30" fmla="*/ 124939 h 631825"/>
                  <a:gd name="connsiteX31" fmla="*/ 418660 w 745016"/>
                  <a:gd name="connsiteY31" fmla="*/ 122032 h 631825"/>
                  <a:gd name="connsiteX32" fmla="*/ 395134 w 745016"/>
                  <a:gd name="connsiteY32" fmla="*/ 120383 h 631825"/>
                  <a:gd name="connsiteX33" fmla="*/ 382997 w 745016"/>
                  <a:gd name="connsiteY33" fmla="*/ 120234 h 631825"/>
                  <a:gd name="connsiteX34" fmla="*/ 370770 w 745016"/>
                  <a:gd name="connsiteY34" fmla="*/ 120563 h 631825"/>
                  <a:gd name="connsiteX35" fmla="*/ 358543 w 745016"/>
                  <a:gd name="connsiteY35" fmla="*/ 121223 h 631825"/>
                  <a:gd name="connsiteX36" fmla="*/ 346406 w 745016"/>
                  <a:gd name="connsiteY36" fmla="*/ 122211 h 631825"/>
                  <a:gd name="connsiteX37" fmla="*/ 334448 w 745016"/>
                  <a:gd name="connsiteY37" fmla="*/ 123470 h 631825"/>
                  <a:gd name="connsiteX38" fmla="*/ 322791 w 745016"/>
                  <a:gd name="connsiteY38" fmla="*/ 125058 h 631825"/>
                  <a:gd name="connsiteX39" fmla="*/ 317097 w 745016"/>
                  <a:gd name="connsiteY39" fmla="*/ 125838 h 631825"/>
                  <a:gd name="connsiteX40" fmla="*/ 311522 w 745016"/>
                  <a:gd name="connsiteY40" fmla="*/ 126737 h 631825"/>
                  <a:gd name="connsiteX41" fmla="*/ 300734 w 745016"/>
                  <a:gd name="connsiteY41" fmla="*/ 128475 h 631825"/>
                  <a:gd name="connsiteX42" fmla="*/ 280985 w 745016"/>
                  <a:gd name="connsiteY42" fmla="*/ 132071 h 631825"/>
                  <a:gd name="connsiteX43" fmla="*/ 264292 w 745016"/>
                  <a:gd name="connsiteY43" fmla="*/ 135398 h 631825"/>
                  <a:gd name="connsiteX44" fmla="*/ 251346 w 745016"/>
                  <a:gd name="connsiteY44" fmla="*/ 138005 h 631825"/>
                  <a:gd name="connsiteX45" fmla="*/ 240018 w 745016"/>
                  <a:gd name="connsiteY45" fmla="*/ 140133 h 631825"/>
                  <a:gd name="connsiteX46" fmla="*/ 240018 w 745016"/>
                  <a:gd name="connsiteY46" fmla="*/ 140133 h 631825"/>
                  <a:gd name="connsiteX47" fmla="*/ 0 w 745016"/>
                  <a:gd name="connsiteY47" fmla="*/ 469037 h 631825"/>
                  <a:gd name="connsiteX48" fmla="*/ 38420 w 745016"/>
                  <a:gd name="connsiteY48" fmla="*/ 624813 h 631825"/>
                  <a:gd name="connsiteX49" fmla="*/ 56341 w 745016"/>
                  <a:gd name="connsiteY49" fmla="*/ 606502 h 631825"/>
                  <a:gd name="connsiteX50" fmla="*/ 90834 w 745016"/>
                  <a:gd name="connsiteY50" fmla="*/ 631826 h 631825"/>
                  <a:gd name="connsiteX51" fmla="*/ 115978 w 745016"/>
                  <a:gd name="connsiteY51" fmla="*/ 503740 h 631825"/>
                  <a:gd name="connsiteX52" fmla="*/ 300644 w 745016"/>
                  <a:gd name="connsiteY52" fmla="*/ 461425 h 631825"/>
                  <a:gd name="connsiteX53" fmla="*/ 461664 w 745016"/>
                  <a:gd name="connsiteY53" fmla="*/ 336037 h 631825"/>
                  <a:gd name="connsiteX54" fmla="*/ 654572 w 745016"/>
                  <a:gd name="connsiteY54" fmla="*/ 628079 h 631825"/>
                  <a:gd name="connsiteX55" fmla="*/ 690474 w 745016"/>
                  <a:gd name="connsiteY55" fmla="*/ 600149 h 631825"/>
                  <a:gd name="connsiteX56" fmla="*/ 709024 w 745016"/>
                  <a:gd name="connsiteY56" fmla="*/ 620078 h 631825"/>
                  <a:gd name="connsiteX57" fmla="*/ 745016 w 745016"/>
                  <a:gd name="connsiteY57" fmla="*/ 469037 h 631825"/>
                  <a:gd name="connsiteX58" fmla="*/ 506827 w 745016"/>
                  <a:gd name="connsiteY58" fmla="*/ 140852 h 631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745016" h="631825">
                    <a:moveTo>
                      <a:pt x="506827" y="140852"/>
                    </a:moveTo>
                    <a:cubicBezTo>
                      <a:pt x="506917" y="138694"/>
                      <a:pt x="506977" y="136566"/>
                      <a:pt x="506977" y="134379"/>
                    </a:cubicBezTo>
                    <a:cubicBezTo>
                      <a:pt x="506977" y="60177"/>
                      <a:pt x="447190" y="0"/>
                      <a:pt x="373407" y="0"/>
                    </a:cubicBezTo>
                    <a:cubicBezTo>
                      <a:pt x="299625" y="0"/>
                      <a:pt x="239838" y="60177"/>
                      <a:pt x="239838" y="134379"/>
                    </a:cubicBezTo>
                    <a:cubicBezTo>
                      <a:pt x="239838" y="136327"/>
                      <a:pt x="239898" y="138275"/>
                      <a:pt x="239988" y="140193"/>
                    </a:cubicBezTo>
                    <a:cubicBezTo>
                      <a:pt x="240048" y="140163"/>
                      <a:pt x="243884" y="138454"/>
                      <a:pt x="250596" y="135727"/>
                    </a:cubicBezTo>
                    <a:cubicBezTo>
                      <a:pt x="254013" y="134409"/>
                      <a:pt x="258059" y="132581"/>
                      <a:pt x="262914" y="130932"/>
                    </a:cubicBezTo>
                    <a:cubicBezTo>
                      <a:pt x="267738" y="129224"/>
                      <a:pt x="273163" y="127216"/>
                      <a:pt x="279186" y="125298"/>
                    </a:cubicBezTo>
                    <a:cubicBezTo>
                      <a:pt x="285210" y="123470"/>
                      <a:pt x="291713" y="121372"/>
                      <a:pt x="298726" y="119574"/>
                    </a:cubicBezTo>
                    <a:cubicBezTo>
                      <a:pt x="305768" y="117896"/>
                      <a:pt x="313111" y="115738"/>
                      <a:pt x="320902" y="114360"/>
                    </a:cubicBezTo>
                    <a:cubicBezTo>
                      <a:pt x="324798" y="113581"/>
                      <a:pt x="328724" y="112801"/>
                      <a:pt x="332770" y="112112"/>
                    </a:cubicBezTo>
                    <a:cubicBezTo>
                      <a:pt x="336816" y="111543"/>
                      <a:pt x="340921" y="110943"/>
                      <a:pt x="345027" y="110374"/>
                    </a:cubicBezTo>
                    <a:cubicBezTo>
                      <a:pt x="349133" y="109715"/>
                      <a:pt x="353358" y="109445"/>
                      <a:pt x="357554" y="109085"/>
                    </a:cubicBezTo>
                    <a:cubicBezTo>
                      <a:pt x="361780" y="108726"/>
                      <a:pt x="366005" y="108336"/>
                      <a:pt x="370261" y="108276"/>
                    </a:cubicBezTo>
                    <a:cubicBezTo>
                      <a:pt x="374516" y="108216"/>
                      <a:pt x="378772" y="107976"/>
                      <a:pt x="382997" y="108036"/>
                    </a:cubicBezTo>
                    <a:cubicBezTo>
                      <a:pt x="387223" y="108186"/>
                      <a:pt x="391448" y="108306"/>
                      <a:pt x="395644" y="108456"/>
                    </a:cubicBezTo>
                    <a:cubicBezTo>
                      <a:pt x="399839" y="108666"/>
                      <a:pt x="403975" y="109175"/>
                      <a:pt x="408051" y="109565"/>
                    </a:cubicBezTo>
                    <a:cubicBezTo>
                      <a:pt x="412157" y="109864"/>
                      <a:pt x="416142" y="110584"/>
                      <a:pt x="420098" y="111213"/>
                    </a:cubicBezTo>
                    <a:cubicBezTo>
                      <a:pt x="428010" y="112292"/>
                      <a:pt x="435472" y="114360"/>
                      <a:pt x="442575" y="115978"/>
                    </a:cubicBezTo>
                    <a:cubicBezTo>
                      <a:pt x="449557" y="118106"/>
                      <a:pt x="456210" y="119844"/>
                      <a:pt x="462114" y="122241"/>
                    </a:cubicBezTo>
                    <a:cubicBezTo>
                      <a:pt x="465081" y="123350"/>
                      <a:pt x="467928" y="124429"/>
                      <a:pt x="470625" y="125448"/>
                    </a:cubicBezTo>
                    <a:cubicBezTo>
                      <a:pt x="473292" y="126527"/>
                      <a:pt x="475750" y="127756"/>
                      <a:pt x="478117" y="128775"/>
                    </a:cubicBezTo>
                    <a:cubicBezTo>
                      <a:pt x="482822" y="130872"/>
                      <a:pt x="486838" y="132760"/>
                      <a:pt x="490045" y="134588"/>
                    </a:cubicBezTo>
                    <a:cubicBezTo>
                      <a:pt x="496518" y="138065"/>
                      <a:pt x="500144" y="140193"/>
                      <a:pt x="500144" y="140193"/>
                    </a:cubicBezTo>
                    <a:cubicBezTo>
                      <a:pt x="500144" y="140193"/>
                      <a:pt x="496068" y="139054"/>
                      <a:pt x="489116" y="136866"/>
                    </a:cubicBezTo>
                    <a:cubicBezTo>
                      <a:pt x="485669" y="135667"/>
                      <a:pt x="481354" y="134618"/>
                      <a:pt x="476499" y="133210"/>
                    </a:cubicBezTo>
                    <a:cubicBezTo>
                      <a:pt x="474041" y="132551"/>
                      <a:pt x="471494" y="131741"/>
                      <a:pt x="468737" y="131082"/>
                    </a:cubicBezTo>
                    <a:cubicBezTo>
                      <a:pt x="465980" y="130423"/>
                      <a:pt x="463103" y="129734"/>
                      <a:pt x="460076" y="129014"/>
                    </a:cubicBezTo>
                    <a:cubicBezTo>
                      <a:pt x="458578" y="128655"/>
                      <a:pt x="457049" y="128265"/>
                      <a:pt x="455491" y="127905"/>
                    </a:cubicBezTo>
                    <a:cubicBezTo>
                      <a:pt x="453903" y="127606"/>
                      <a:pt x="452314" y="127306"/>
                      <a:pt x="450666" y="126976"/>
                    </a:cubicBezTo>
                    <a:cubicBezTo>
                      <a:pt x="447400" y="126317"/>
                      <a:pt x="444043" y="125628"/>
                      <a:pt x="440597" y="124939"/>
                    </a:cubicBezTo>
                    <a:cubicBezTo>
                      <a:pt x="433614" y="123980"/>
                      <a:pt x="426302" y="122661"/>
                      <a:pt x="418660" y="122032"/>
                    </a:cubicBezTo>
                    <a:cubicBezTo>
                      <a:pt x="411048" y="121073"/>
                      <a:pt x="403136" y="120833"/>
                      <a:pt x="395134" y="120383"/>
                    </a:cubicBezTo>
                    <a:cubicBezTo>
                      <a:pt x="391119" y="120323"/>
                      <a:pt x="387073" y="120293"/>
                      <a:pt x="382997" y="120234"/>
                    </a:cubicBezTo>
                    <a:cubicBezTo>
                      <a:pt x="378922" y="120204"/>
                      <a:pt x="374846" y="120473"/>
                      <a:pt x="370770" y="120563"/>
                    </a:cubicBezTo>
                    <a:cubicBezTo>
                      <a:pt x="366694" y="120593"/>
                      <a:pt x="362589" y="120923"/>
                      <a:pt x="358543" y="121223"/>
                    </a:cubicBezTo>
                    <a:cubicBezTo>
                      <a:pt x="354467" y="121582"/>
                      <a:pt x="350421" y="121642"/>
                      <a:pt x="346406" y="122211"/>
                    </a:cubicBezTo>
                    <a:cubicBezTo>
                      <a:pt x="342390" y="122631"/>
                      <a:pt x="338404" y="123051"/>
                      <a:pt x="334448" y="123470"/>
                    </a:cubicBezTo>
                    <a:cubicBezTo>
                      <a:pt x="330522" y="124010"/>
                      <a:pt x="326626" y="124549"/>
                      <a:pt x="322791" y="125058"/>
                    </a:cubicBezTo>
                    <a:cubicBezTo>
                      <a:pt x="320873" y="125328"/>
                      <a:pt x="318985" y="125568"/>
                      <a:pt x="317097" y="125838"/>
                    </a:cubicBezTo>
                    <a:cubicBezTo>
                      <a:pt x="315208" y="126137"/>
                      <a:pt x="313350" y="126437"/>
                      <a:pt x="311522" y="126737"/>
                    </a:cubicBezTo>
                    <a:cubicBezTo>
                      <a:pt x="307836" y="127336"/>
                      <a:pt x="304240" y="127905"/>
                      <a:pt x="300734" y="128475"/>
                    </a:cubicBezTo>
                    <a:cubicBezTo>
                      <a:pt x="293721" y="129764"/>
                      <a:pt x="287098" y="130962"/>
                      <a:pt x="280985" y="132071"/>
                    </a:cubicBezTo>
                    <a:cubicBezTo>
                      <a:pt x="274901" y="133330"/>
                      <a:pt x="269297" y="134439"/>
                      <a:pt x="264292" y="135398"/>
                    </a:cubicBezTo>
                    <a:cubicBezTo>
                      <a:pt x="259317" y="136327"/>
                      <a:pt x="254942" y="137316"/>
                      <a:pt x="251346" y="138005"/>
                    </a:cubicBezTo>
                    <a:cubicBezTo>
                      <a:pt x="244213" y="139443"/>
                      <a:pt x="240107" y="140133"/>
                      <a:pt x="240018" y="140133"/>
                    </a:cubicBezTo>
                    <a:lnTo>
                      <a:pt x="240018" y="140133"/>
                    </a:lnTo>
                    <a:cubicBezTo>
                      <a:pt x="99705" y="190600"/>
                      <a:pt x="0" y="318805"/>
                      <a:pt x="0" y="469037"/>
                    </a:cubicBezTo>
                    <a:cubicBezTo>
                      <a:pt x="0" y="524958"/>
                      <a:pt x="13845" y="577852"/>
                      <a:pt x="38420" y="624813"/>
                    </a:cubicBezTo>
                    <a:cubicBezTo>
                      <a:pt x="42375" y="614773"/>
                      <a:pt x="48519" y="608031"/>
                      <a:pt x="56341" y="606502"/>
                    </a:cubicBezTo>
                    <a:cubicBezTo>
                      <a:pt x="68268" y="604135"/>
                      <a:pt x="81155" y="614414"/>
                      <a:pt x="90834" y="631826"/>
                    </a:cubicBezTo>
                    <a:cubicBezTo>
                      <a:pt x="91014" y="586154"/>
                      <a:pt x="99975" y="542819"/>
                      <a:pt x="115978" y="503740"/>
                    </a:cubicBezTo>
                    <a:cubicBezTo>
                      <a:pt x="162159" y="508056"/>
                      <a:pt x="230428" y="493551"/>
                      <a:pt x="300644" y="461425"/>
                    </a:cubicBezTo>
                    <a:cubicBezTo>
                      <a:pt x="379221" y="425463"/>
                      <a:pt x="439398" y="376914"/>
                      <a:pt x="461664" y="336037"/>
                    </a:cubicBezTo>
                    <a:cubicBezTo>
                      <a:pt x="572368" y="376884"/>
                      <a:pt x="652594" y="491933"/>
                      <a:pt x="654572" y="628079"/>
                    </a:cubicBezTo>
                    <a:cubicBezTo>
                      <a:pt x="664401" y="609079"/>
                      <a:pt x="677977" y="597691"/>
                      <a:pt x="690474" y="600149"/>
                    </a:cubicBezTo>
                    <a:cubicBezTo>
                      <a:pt x="698715" y="601767"/>
                      <a:pt x="705098" y="609169"/>
                      <a:pt x="709024" y="620078"/>
                    </a:cubicBezTo>
                    <a:cubicBezTo>
                      <a:pt x="732100" y="574316"/>
                      <a:pt x="745016" y="523100"/>
                      <a:pt x="745016" y="469037"/>
                    </a:cubicBezTo>
                    <a:cubicBezTo>
                      <a:pt x="745016" y="319524"/>
                      <a:pt x="646180" y="191768"/>
                      <a:pt x="506827" y="140852"/>
                    </a:cubicBezTo>
                    <a:close/>
                  </a:path>
                </a:pathLst>
              </a:custGeom>
              <a:solidFill>
                <a:srgbClr val="94958B"/>
              </a:solidFill>
              <a:ln w="298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363" name="Freeform: Shape 362">
                <a:extLst>
                  <a:ext uri="{FF2B5EF4-FFF2-40B4-BE49-F238E27FC236}">
                    <a16:creationId xmlns:a16="http://schemas.microsoft.com/office/drawing/2014/main" id="{C7F226B5-CC82-4553-A1F2-ED0FC85D4C8D}"/>
                  </a:ext>
                </a:extLst>
              </p:cNvPr>
              <p:cNvSpPr/>
              <p:nvPr/>
            </p:nvSpPr>
            <p:spPr>
              <a:xfrm>
                <a:off x="893142" y="2414610"/>
                <a:ext cx="680121" cy="610158"/>
              </a:xfrm>
              <a:custGeom>
                <a:avLst/>
                <a:gdLst>
                  <a:gd name="connsiteX0" fmla="*/ 326264 w 680121"/>
                  <a:gd name="connsiteY0" fmla="*/ 609799 h 610158"/>
                  <a:gd name="connsiteX1" fmla="*/ 339421 w 680121"/>
                  <a:gd name="connsiteY1" fmla="*/ 610158 h 610158"/>
                  <a:gd name="connsiteX2" fmla="*/ 372296 w 680121"/>
                  <a:gd name="connsiteY2" fmla="*/ 608031 h 610158"/>
                  <a:gd name="connsiteX3" fmla="*/ 400526 w 680121"/>
                  <a:gd name="connsiteY3" fmla="*/ 602756 h 610158"/>
                  <a:gd name="connsiteX4" fmla="*/ 402115 w 680121"/>
                  <a:gd name="connsiteY4" fmla="*/ 602337 h 610158"/>
                  <a:gd name="connsiteX5" fmla="*/ 455309 w 680121"/>
                  <a:gd name="connsiteY5" fmla="*/ 582527 h 610158"/>
                  <a:gd name="connsiteX6" fmla="*/ 476976 w 680121"/>
                  <a:gd name="connsiteY6" fmla="*/ 570360 h 610158"/>
                  <a:gd name="connsiteX7" fmla="*/ 611714 w 680121"/>
                  <a:gd name="connsiteY7" fmla="*/ 378232 h 610158"/>
                  <a:gd name="connsiteX8" fmla="*/ 630504 w 680121"/>
                  <a:gd name="connsiteY8" fmla="*/ 398880 h 610158"/>
                  <a:gd name="connsiteX9" fmla="*/ 643271 w 680121"/>
                  <a:gd name="connsiteY9" fmla="*/ 396903 h 610158"/>
                  <a:gd name="connsiteX10" fmla="*/ 646568 w 680121"/>
                  <a:gd name="connsiteY10" fmla="*/ 395015 h 610158"/>
                  <a:gd name="connsiteX11" fmla="*/ 677585 w 680121"/>
                  <a:gd name="connsiteY11" fmla="*/ 338164 h 610158"/>
                  <a:gd name="connsiteX12" fmla="*/ 675667 w 680121"/>
                  <a:gd name="connsiteY12" fmla="*/ 284041 h 610158"/>
                  <a:gd name="connsiteX13" fmla="*/ 657116 w 680121"/>
                  <a:gd name="connsiteY13" fmla="*/ 264112 h 610158"/>
                  <a:gd name="connsiteX14" fmla="*/ 621214 w 680121"/>
                  <a:gd name="connsiteY14" fmla="*/ 292043 h 610158"/>
                  <a:gd name="connsiteX15" fmla="*/ 428307 w 680121"/>
                  <a:gd name="connsiteY15" fmla="*/ 0 h 610158"/>
                  <a:gd name="connsiteX16" fmla="*/ 267286 w 680121"/>
                  <a:gd name="connsiteY16" fmla="*/ 125388 h 610158"/>
                  <a:gd name="connsiteX17" fmla="*/ 82621 w 680121"/>
                  <a:gd name="connsiteY17" fmla="*/ 167704 h 610158"/>
                  <a:gd name="connsiteX18" fmla="*/ 57477 w 680121"/>
                  <a:gd name="connsiteY18" fmla="*/ 295789 h 610158"/>
                  <a:gd name="connsiteX19" fmla="*/ 22983 w 680121"/>
                  <a:gd name="connsiteY19" fmla="*/ 270466 h 610158"/>
                  <a:gd name="connsiteX20" fmla="*/ 5062 w 680121"/>
                  <a:gd name="connsiteY20" fmla="*/ 288776 h 610158"/>
                  <a:gd name="connsiteX21" fmla="*/ 2545 w 680121"/>
                  <a:gd name="connsiteY21" fmla="*/ 344518 h 610158"/>
                  <a:gd name="connsiteX22" fmla="*/ 49625 w 680121"/>
                  <a:gd name="connsiteY22" fmla="*/ 405234 h 610158"/>
                  <a:gd name="connsiteX23" fmla="*/ 68535 w 680121"/>
                  <a:gd name="connsiteY23" fmla="*/ 384196 h 610158"/>
                  <a:gd name="connsiteX24" fmla="*/ 285807 w 680121"/>
                  <a:gd name="connsiteY24" fmla="*/ 604434 h 610158"/>
                  <a:gd name="connsiteX25" fmla="*/ 290062 w 680121"/>
                  <a:gd name="connsiteY25" fmla="*/ 605363 h 610158"/>
                  <a:gd name="connsiteX26" fmla="*/ 326264 w 680121"/>
                  <a:gd name="connsiteY26" fmla="*/ 609799 h 610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80121" h="610158">
                    <a:moveTo>
                      <a:pt x="326264" y="609799"/>
                    </a:moveTo>
                    <a:cubicBezTo>
                      <a:pt x="330610" y="610008"/>
                      <a:pt x="334985" y="610158"/>
                      <a:pt x="339421" y="610158"/>
                    </a:cubicBezTo>
                    <a:cubicBezTo>
                      <a:pt x="350539" y="610158"/>
                      <a:pt x="361507" y="609409"/>
                      <a:pt x="372296" y="608031"/>
                    </a:cubicBezTo>
                    <a:cubicBezTo>
                      <a:pt x="381856" y="606802"/>
                      <a:pt x="391296" y="605034"/>
                      <a:pt x="400526" y="602756"/>
                    </a:cubicBezTo>
                    <a:cubicBezTo>
                      <a:pt x="401066" y="602636"/>
                      <a:pt x="401605" y="602486"/>
                      <a:pt x="402115" y="602337"/>
                    </a:cubicBezTo>
                    <a:cubicBezTo>
                      <a:pt x="420605" y="597661"/>
                      <a:pt x="438406" y="591008"/>
                      <a:pt x="455309" y="582527"/>
                    </a:cubicBezTo>
                    <a:cubicBezTo>
                      <a:pt x="462711" y="578811"/>
                      <a:pt x="469933" y="574736"/>
                      <a:pt x="476976" y="570360"/>
                    </a:cubicBezTo>
                    <a:cubicBezTo>
                      <a:pt x="542487" y="529573"/>
                      <a:pt x="591875" y="460616"/>
                      <a:pt x="611714" y="378232"/>
                    </a:cubicBezTo>
                    <a:cubicBezTo>
                      <a:pt x="615610" y="389560"/>
                      <a:pt x="622083" y="397202"/>
                      <a:pt x="630504" y="398880"/>
                    </a:cubicBezTo>
                    <a:cubicBezTo>
                      <a:pt x="634700" y="399720"/>
                      <a:pt x="639016" y="398970"/>
                      <a:pt x="643271" y="396903"/>
                    </a:cubicBezTo>
                    <a:cubicBezTo>
                      <a:pt x="644380" y="396363"/>
                      <a:pt x="645489" y="395704"/>
                      <a:pt x="646568" y="395015"/>
                    </a:cubicBezTo>
                    <a:cubicBezTo>
                      <a:pt x="659993" y="386324"/>
                      <a:pt x="672310" y="364836"/>
                      <a:pt x="677585" y="338164"/>
                    </a:cubicBezTo>
                    <a:cubicBezTo>
                      <a:pt x="681691" y="317366"/>
                      <a:pt x="680642" y="297857"/>
                      <a:pt x="675667" y="284041"/>
                    </a:cubicBezTo>
                    <a:cubicBezTo>
                      <a:pt x="671741" y="273103"/>
                      <a:pt x="665358" y="265731"/>
                      <a:pt x="657116" y="264112"/>
                    </a:cubicBezTo>
                    <a:cubicBezTo>
                      <a:pt x="644620" y="261655"/>
                      <a:pt x="631044" y="273043"/>
                      <a:pt x="621214" y="292043"/>
                    </a:cubicBezTo>
                    <a:cubicBezTo>
                      <a:pt x="619266" y="155896"/>
                      <a:pt x="539041" y="40847"/>
                      <a:pt x="428307" y="0"/>
                    </a:cubicBezTo>
                    <a:cubicBezTo>
                      <a:pt x="406040" y="40877"/>
                      <a:pt x="345864" y="89396"/>
                      <a:pt x="267286" y="125388"/>
                    </a:cubicBezTo>
                    <a:cubicBezTo>
                      <a:pt x="197040" y="157544"/>
                      <a:pt x="128802" y="172049"/>
                      <a:pt x="82621" y="167704"/>
                    </a:cubicBezTo>
                    <a:cubicBezTo>
                      <a:pt x="66617" y="206753"/>
                      <a:pt x="57657" y="250117"/>
                      <a:pt x="57477" y="295789"/>
                    </a:cubicBezTo>
                    <a:cubicBezTo>
                      <a:pt x="47797" y="278377"/>
                      <a:pt x="34881" y="268128"/>
                      <a:pt x="22983" y="270466"/>
                    </a:cubicBezTo>
                    <a:cubicBezTo>
                      <a:pt x="15162" y="272024"/>
                      <a:pt x="9018" y="278737"/>
                      <a:pt x="5062" y="288776"/>
                    </a:cubicBezTo>
                    <a:cubicBezTo>
                      <a:pt x="-422" y="302682"/>
                      <a:pt x="-1741" y="322910"/>
                      <a:pt x="2545" y="344518"/>
                    </a:cubicBezTo>
                    <a:cubicBezTo>
                      <a:pt x="9887" y="381739"/>
                      <a:pt x="30985" y="408920"/>
                      <a:pt x="49625" y="405234"/>
                    </a:cubicBezTo>
                    <a:cubicBezTo>
                      <a:pt x="58136" y="403556"/>
                      <a:pt x="64640" y="395734"/>
                      <a:pt x="68535" y="384196"/>
                    </a:cubicBezTo>
                    <a:cubicBezTo>
                      <a:pt x="97665" y="496098"/>
                      <a:pt x="181517" y="582138"/>
                      <a:pt x="285807" y="604434"/>
                    </a:cubicBezTo>
                    <a:cubicBezTo>
                      <a:pt x="287215" y="604734"/>
                      <a:pt x="288654" y="605064"/>
                      <a:pt x="290062" y="605363"/>
                    </a:cubicBezTo>
                    <a:cubicBezTo>
                      <a:pt x="301900" y="607671"/>
                      <a:pt x="313977" y="609169"/>
                      <a:pt x="326264" y="609799"/>
                    </a:cubicBezTo>
                    <a:close/>
                  </a:path>
                </a:pathLst>
              </a:custGeom>
              <a:solidFill>
                <a:srgbClr val="D38D4D"/>
              </a:solidFill>
              <a:ln w="298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364" name="Freeform: Shape 363">
                <a:extLst>
                  <a:ext uri="{FF2B5EF4-FFF2-40B4-BE49-F238E27FC236}">
                    <a16:creationId xmlns:a16="http://schemas.microsoft.com/office/drawing/2014/main" id="{E05D345D-C718-4EE3-A044-E9FBCC89F402}"/>
                  </a:ext>
                </a:extLst>
              </p:cNvPr>
              <p:cNvSpPr/>
              <p:nvPr/>
            </p:nvSpPr>
            <p:spPr>
              <a:xfrm>
                <a:off x="935844" y="2254518"/>
                <a:ext cx="353777" cy="253868"/>
              </a:xfrm>
              <a:custGeom>
                <a:avLst/>
                <a:gdLst>
                  <a:gd name="connsiteX0" fmla="*/ 25263 w 353777"/>
                  <a:gd name="connsiteY0" fmla="*/ 170281 h 253868"/>
                  <a:gd name="connsiteX1" fmla="*/ 12857 w 353777"/>
                  <a:gd name="connsiteY1" fmla="*/ 203726 h 253868"/>
                  <a:gd name="connsiteX2" fmla="*/ 59278 w 353777"/>
                  <a:gd name="connsiteY2" fmla="*/ 181579 h 253868"/>
                  <a:gd name="connsiteX3" fmla="*/ 31467 w 353777"/>
                  <a:gd name="connsiteY3" fmla="*/ 224044 h 253868"/>
                  <a:gd name="connsiteX4" fmla="*/ 77109 w 353777"/>
                  <a:gd name="connsiteY4" fmla="*/ 216942 h 253868"/>
                  <a:gd name="connsiteX5" fmla="*/ 48968 w 353777"/>
                  <a:gd name="connsiteY5" fmla="*/ 253204 h 253868"/>
                  <a:gd name="connsiteX6" fmla="*/ 95959 w 353777"/>
                  <a:gd name="connsiteY6" fmla="*/ 253863 h 253868"/>
                  <a:gd name="connsiteX7" fmla="*/ 145377 w 353777"/>
                  <a:gd name="connsiteY7" fmla="*/ 247630 h 253868"/>
                  <a:gd name="connsiteX8" fmla="*/ 232765 w 353777"/>
                  <a:gd name="connsiteY8" fmla="*/ 201148 h 253868"/>
                  <a:gd name="connsiteX9" fmla="*/ 296868 w 353777"/>
                  <a:gd name="connsiteY9" fmla="*/ 156256 h 253868"/>
                  <a:gd name="connsiteX10" fmla="*/ 353778 w 353777"/>
                  <a:gd name="connsiteY10" fmla="*/ 105669 h 253868"/>
                  <a:gd name="connsiteX11" fmla="*/ 285360 w 353777"/>
                  <a:gd name="connsiteY11" fmla="*/ 110793 h 253868"/>
                  <a:gd name="connsiteX12" fmla="*/ 334179 w 353777"/>
                  <a:gd name="connsiteY12" fmla="*/ 62934 h 253868"/>
                  <a:gd name="connsiteX13" fmla="*/ 247390 w 353777"/>
                  <a:gd name="connsiteY13" fmla="*/ 71535 h 253868"/>
                  <a:gd name="connsiteX14" fmla="*/ 297857 w 353777"/>
                  <a:gd name="connsiteY14" fmla="*/ 30238 h 253868"/>
                  <a:gd name="connsiteX15" fmla="*/ 217541 w 353777"/>
                  <a:gd name="connsiteY15" fmla="*/ 32995 h 253868"/>
                  <a:gd name="connsiteX16" fmla="*/ 239898 w 353777"/>
                  <a:gd name="connsiteY16" fmla="*/ 240 h 253868"/>
                  <a:gd name="connsiteX17" fmla="*/ 134828 w 353777"/>
                  <a:gd name="connsiteY17" fmla="*/ 27151 h 253868"/>
                  <a:gd name="connsiteX18" fmla="*/ 44054 w 353777"/>
                  <a:gd name="connsiteY18" fmla="*/ 98566 h 253868"/>
                  <a:gd name="connsiteX19" fmla="*/ 17681 w 353777"/>
                  <a:gd name="connsiteY19" fmla="*/ 140792 h 253868"/>
                  <a:gd name="connsiteX20" fmla="*/ 0 w 353777"/>
                  <a:gd name="connsiteY20" fmla="*/ 183797 h 253868"/>
                  <a:gd name="connsiteX21" fmla="*/ 17951 w 353777"/>
                  <a:gd name="connsiteY21" fmla="*/ 174656 h 253868"/>
                  <a:gd name="connsiteX22" fmla="*/ 25263 w 353777"/>
                  <a:gd name="connsiteY22" fmla="*/ 170281 h 253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53777" h="253868">
                    <a:moveTo>
                      <a:pt x="25263" y="170281"/>
                    </a:moveTo>
                    <a:cubicBezTo>
                      <a:pt x="21128" y="181429"/>
                      <a:pt x="16992" y="192577"/>
                      <a:pt x="12857" y="203726"/>
                    </a:cubicBezTo>
                    <a:cubicBezTo>
                      <a:pt x="28320" y="196353"/>
                      <a:pt x="43814" y="188951"/>
                      <a:pt x="59278" y="181579"/>
                    </a:cubicBezTo>
                    <a:cubicBezTo>
                      <a:pt x="49028" y="195065"/>
                      <a:pt x="39708" y="209240"/>
                      <a:pt x="31467" y="224044"/>
                    </a:cubicBezTo>
                    <a:cubicBezTo>
                      <a:pt x="46691" y="221677"/>
                      <a:pt x="61885" y="219309"/>
                      <a:pt x="77109" y="216942"/>
                    </a:cubicBezTo>
                    <a:cubicBezTo>
                      <a:pt x="67729" y="229019"/>
                      <a:pt x="58349" y="241096"/>
                      <a:pt x="48968" y="253204"/>
                    </a:cubicBezTo>
                    <a:cubicBezTo>
                      <a:pt x="51756" y="249607"/>
                      <a:pt x="89845" y="254043"/>
                      <a:pt x="95959" y="253863"/>
                    </a:cubicBezTo>
                    <a:cubicBezTo>
                      <a:pt x="112562" y="253324"/>
                      <a:pt x="129254" y="251735"/>
                      <a:pt x="145377" y="247630"/>
                    </a:cubicBezTo>
                    <a:cubicBezTo>
                      <a:pt x="176934" y="239628"/>
                      <a:pt x="207891" y="221887"/>
                      <a:pt x="232765" y="201148"/>
                    </a:cubicBezTo>
                    <a:cubicBezTo>
                      <a:pt x="252994" y="184306"/>
                      <a:pt x="274781" y="170700"/>
                      <a:pt x="296868" y="156256"/>
                    </a:cubicBezTo>
                    <a:cubicBezTo>
                      <a:pt x="317726" y="142620"/>
                      <a:pt x="338674" y="125628"/>
                      <a:pt x="353778" y="105669"/>
                    </a:cubicBezTo>
                    <a:cubicBezTo>
                      <a:pt x="331092" y="108666"/>
                      <a:pt x="308226" y="110374"/>
                      <a:pt x="285360" y="110793"/>
                    </a:cubicBezTo>
                    <a:cubicBezTo>
                      <a:pt x="299445" y="92782"/>
                      <a:pt x="315898" y="76629"/>
                      <a:pt x="334179" y="62934"/>
                    </a:cubicBezTo>
                    <a:cubicBezTo>
                      <a:pt x="305259" y="65811"/>
                      <a:pt x="276309" y="68658"/>
                      <a:pt x="247390" y="71535"/>
                    </a:cubicBezTo>
                    <a:cubicBezTo>
                      <a:pt x="263753" y="57240"/>
                      <a:pt x="280595" y="43454"/>
                      <a:pt x="297857" y="30238"/>
                    </a:cubicBezTo>
                    <a:cubicBezTo>
                      <a:pt x="271065" y="29789"/>
                      <a:pt x="244243" y="30688"/>
                      <a:pt x="217541" y="32995"/>
                    </a:cubicBezTo>
                    <a:cubicBezTo>
                      <a:pt x="223535" y="21188"/>
                      <a:pt x="231057" y="10129"/>
                      <a:pt x="239898" y="240"/>
                    </a:cubicBezTo>
                    <a:cubicBezTo>
                      <a:pt x="205344" y="-1828"/>
                      <a:pt x="164617" y="9680"/>
                      <a:pt x="134828" y="27151"/>
                    </a:cubicBezTo>
                    <a:cubicBezTo>
                      <a:pt x="100934" y="47080"/>
                      <a:pt x="68808" y="67219"/>
                      <a:pt x="44054" y="98566"/>
                    </a:cubicBezTo>
                    <a:cubicBezTo>
                      <a:pt x="33745" y="111633"/>
                      <a:pt x="24874" y="125808"/>
                      <a:pt x="17681" y="140792"/>
                    </a:cubicBezTo>
                    <a:cubicBezTo>
                      <a:pt x="11088" y="154547"/>
                      <a:pt x="1139" y="168243"/>
                      <a:pt x="0" y="183797"/>
                    </a:cubicBezTo>
                    <a:cubicBezTo>
                      <a:pt x="6114" y="181040"/>
                      <a:pt x="12107" y="177983"/>
                      <a:pt x="17951" y="174656"/>
                    </a:cubicBezTo>
                    <a:cubicBezTo>
                      <a:pt x="20409" y="173248"/>
                      <a:pt x="22836" y="171779"/>
                      <a:pt x="25263" y="170281"/>
                    </a:cubicBezTo>
                    <a:close/>
                  </a:path>
                </a:pathLst>
              </a:custGeom>
              <a:solidFill>
                <a:srgbClr val="CDCEC4">
                  <a:alpha val="50000"/>
                </a:srgbClr>
              </a:solidFill>
              <a:ln w="298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365" name="Freeform: Shape 364">
                <a:extLst>
                  <a:ext uri="{FF2B5EF4-FFF2-40B4-BE49-F238E27FC236}">
                    <a16:creationId xmlns:a16="http://schemas.microsoft.com/office/drawing/2014/main" id="{67243F2B-F027-49D6-AD2B-D5F08EC1DE8B}"/>
                  </a:ext>
                </a:extLst>
              </p:cNvPr>
              <p:cNvSpPr/>
              <p:nvPr/>
            </p:nvSpPr>
            <p:spPr>
              <a:xfrm>
                <a:off x="1349709" y="2289132"/>
                <a:ext cx="236979" cy="324199"/>
              </a:xfrm>
              <a:custGeom>
                <a:avLst/>
                <a:gdLst>
                  <a:gd name="connsiteX0" fmla="*/ 8002 w 236979"/>
                  <a:gd name="connsiteY0" fmla="*/ 8181 h 324199"/>
                  <a:gd name="connsiteX1" fmla="*/ 35722 w 236979"/>
                  <a:gd name="connsiteY1" fmla="*/ 42166 h 324199"/>
                  <a:gd name="connsiteX2" fmla="*/ 46511 w 236979"/>
                  <a:gd name="connsiteY2" fmla="*/ 62724 h 324199"/>
                  <a:gd name="connsiteX3" fmla="*/ 54662 w 236979"/>
                  <a:gd name="connsiteY3" fmla="*/ 82683 h 324199"/>
                  <a:gd name="connsiteX4" fmla="*/ 0 w 236979"/>
                  <a:gd name="connsiteY4" fmla="*/ 84451 h 324199"/>
                  <a:gd name="connsiteX5" fmla="*/ 98476 w 236979"/>
                  <a:gd name="connsiteY5" fmla="*/ 152180 h 324199"/>
                  <a:gd name="connsiteX6" fmla="*/ 154188 w 236979"/>
                  <a:gd name="connsiteY6" fmla="*/ 228869 h 324199"/>
                  <a:gd name="connsiteX7" fmla="*/ 179871 w 236979"/>
                  <a:gd name="connsiteY7" fmla="*/ 308196 h 324199"/>
                  <a:gd name="connsiteX8" fmla="*/ 179871 w 236979"/>
                  <a:gd name="connsiteY8" fmla="*/ 310923 h 324199"/>
                  <a:gd name="connsiteX9" fmla="*/ 196443 w 236979"/>
                  <a:gd name="connsiteY9" fmla="*/ 283861 h 324199"/>
                  <a:gd name="connsiteX10" fmla="*/ 206962 w 236979"/>
                  <a:gd name="connsiteY10" fmla="*/ 324199 h 324199"/>
                  <a:gd name="connsiteX11" fmla="*/ 212596 w 236979"/>
                  <a:gd name="connsiteY11" fmla="*/ 263423 h 324199"/>
                  <a:gd name="connsiteX12" fmla="*/ 234563 w 236979"/>
                  <a:gd name="connsiteY12" fmla="*/ 314579 h 324199"/>
                  <a:gd name="connsiteX13" fmla="*/ 223595 w 236979"/>
                  <a:gd name="connsiteY13" fmla="*/ 224614 h 324199"/>
                  <a:gd name="connsiteX14" fmla="*/ 190809 w 236979"/>
                  <a:gd name="connsiteY14" fmla="*/ 153439 h 324199"/>
                  <a:gd name="connsiteX15" fmla="*/ 138664 w 236979"/>
                  <a:gd name="connsiteY15" fmla="*/ 71385 h 324199"/>
                  <a:gd name="connsiteX16" fmla="*/ 76959 w 236979"/>
                  <a:gd name="connsiteY16" fmla="*/ 0 h 324199"/>
                  <a:gd name="connsiteX17" fmla="*/ 82054 w 236979"/>
                  <a:gd name="connsiteY17" fmla="*/ 45882 h 324199"/>
                  <a:gd name="connsiteX18" fmla="*/ 8002 w 236979"/>
                  <a:gd name="connsiteY18" fmla="*/ 8181 h 324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36979" h="324199">
                    <a:moveTo>
                      <a:pt x="8002" y="8181"/>
                    </a:moveTo>
                    <a:cubicBezTo>
                      <a:pt x="17532" y="18521"/>
                      <a:pt x="28200" y="30388"/>
                      <a:pt x="35722" y="42166"/>
                    </a:cubicBezTo>
                    <a:cubicBezTo>
                      <a:pt x="39918" y="48699"/>
                      <a:pt x="43364" y="55651"/>
                      <a:pt x="46511" y="62724"/>
                    </a:cubicBezTo>
                    <a:cubicBezTo>
                      <a:pt x="47890" y="65781"/>
                      <a:pt x="51995" y="81634"/>
                      <a:pt x="54662" y="82683"/>
                    </a:cubicBezTo>
                    <a:cubicBezTo>
                      <a:pt x="39798" y="76659"/>
                      <a:pt x="15554" y="82833"/>
                      <a:pt x="0" y="84451"/>
                    </a:cubicBezTo>
                    <a:cubicBezTo>
                      <a:pt x="38869" y="99226"/>
                      <a:pt x="71475" y="120503"/>
                      <a:pt x="98476" y="152180"/>
                    </a:cubicBezTo>
                    <a:cubicBezTo>
                      <a:pt x="118855" y="176065"/>
                      <a:pt x="141541" y="200070"/>
                      <a:pt x="154188" y="228869"/>
                    </a:cubicBezTo>
                    <a:cubicBezTo>
                      <a:pt x="164767" y="253024"/>
                      <a:pt x="178582" y="281764"/>
                      <a:pt x="179871" y="308196"/>
                    </a:cubicBezTo>
                    <a:lnTo>
                      <a:pt x="179871" y="310923"/>
                    </a:lnTo>
                    <a:cubicBezTo>
                      <a:pt x="185055" y="301243"/>
                      <a:pt x="189041" y="291683"/>
                      <a:pt x="196443" y="283861"/>
                    </a:cubicBezTo>
                    <a:cubicBezTo>
                      <a:pt x="202947" y="295699"/>
                      <a:pt x="206603" y="310923"/>
                      <a:pt x="206962" y="324199"/>
                    </a:cubicBezTo>
                    <a:cubicBezTo>
                      <a:pt x="215413" y="304839"/>
                      <a:pt x="210948" y="283742"/>
                      <a:pt x="212596" y="263423"/>
                    </a:cubicBezTo>
                    <a:cubicBezTo>
                      <a:pt x="224794" y="277388"/>
                      <a:pt x="226082" y="298726"/>
                      <a:pt x="234563" y="314579"/>
                    </a:cubicBezTo>
                    <a:cubicBezTo>
                      <a:pt x="241786" y="290275"/>
                      <a:pt x="231237" y="248289"/>
                      <a:pt x="223595" y="224614"/>
                    </a:cubicBezTo>
                    <a:cubicBezTo>
                      <a:pt x="213795" y="194226"/>
                      <a:pt x="205014" y="182208"/>
                      <a:pt x="190809" y="153439"/>
                    </a:cubicBezTo>
                    <a:cubicBezTo>
                      <a:pt x="176005" y="123530"/>
                      <a:pt x="162040" y="96319"/>
                      <a:pt x="138664" y="71385"/>
                    </a:cubicBezTo>
                    <a:cubicBezTo>
                      <a:pt x="117117" y="48399"/>
                      <a:pt x="96918" y="24334"/>
                      <a:pt x="76959" y="0"/>
                    </a:cubicBezTo>
                    <a:cubicBezTo>
                      <a:pt x="78667" y="15284"/>
                      <a:pt x="80345" y="30598"/>
                      <a:pt x="82054" y="45882"/>
                    </a:cubicBezTo>
                    <a:cubicBezTo>
                      <a:pt x="58798" y="30688"/>
                      <a:pt x="33924" y="18041"/>
                      <a:pt x="8002" y="8181"/>
                    </a:cubicBezTo>
                    <a:close/>
                  </a:path>
                </a:pathLst>
              </a:custGeom>
              <a:solidFill>
                <a:srgbClr val="CDCEC4">
                  <a:alpha val="50000"/>
                </a:srgbClr>
              </a:solidFill>
              <a:ln w="298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366" name="Freeform: Shape 365">
                <a:extLst>
                  <a:ext uri="{FF2B5EF4-FFF2-40B4-BE49-F238E27FC236}">
                    <a16:creationId xmlns:a16="http://schemas.microsoft.com/office/drawing/2014/main" id="{486F83D6-0B4B-4821-86A4-7348C90D0E9A}"/>
                  </a:ext>
                </a:extLst>
              </p:cNvPr>
              <p:cNvSpPr/>
              <p:nvPr/>
            </p:nvSpPr>
            <p:spPr>
              <a:xfrm>
                <a:off x="1105496" y="3019631"/>
                <a:ext cx="261072" cy="131640"/>
              </a:xfrm>
              <a:custGeom>
                <a:avLst/>
                <a:gdLst>
                  <a:gd name="connsiteX0" fmla="*/ 50946 w 261072"/>
                  <a:gd name="connsiteY0" fmla="*/ 112874 h 131640"/>
                  <a:gd name="connsiteX1" fmla="*/ 130633 w 261072"/>
                  <a:gd name="connsiteY1" fmla="*/ 131634 h 131640"/>
                  <a:gd name="connsiteX2" fmla="*/ 210109 w 261072"/>
                  <a:gd name="connsiteY2" fmla="*/ 112874 h 131640"/>
                  <a:gd name="connsiteX3" fmla="*/ 254492 w 261072"/>
                  <a:gd name="connsiteY3" fmla="*/ 80358 h 131640"/>
                  <a:gd name="connsiteX4" fmla="*/ 261055 w 261072"/>
                  <a:gd name="connsiteY4" fmla="*/ 64325 h 131640"/>
                  <a:gd name="connsiteX5" fmla="*/ 257639 w 261072"/>
                  <a:gd name="connsiteY5" fmla="*/ 48741 h 131640"/>
                  <a:gd name="connsiteX6" fmla="*/ 247899 w 261072"/>
                  <a:gd name="connsiteY6" fmla="*/ 26894 h 131640"/>
                  <a:gd name="connsiteX7" fmla="*/ 238070 w 261072"/>
                  <a:gd name="connsiteY7" fmla="*/ 9422 h 131640"/>
                  <a:gd name="connsiteX8" fmla="*/ 220958 w 261072"/>
                  <a:gd name="connsiteY8" fmla="*/ 12 h 131640"/>
                  <a:gd name="connsiteX9" fmla="*/ 202377 w 261072"/>
                  <a:gd name="connsiteY9" fmla="*/ 6366 h 131640"/>
                  <a:gd name="connsiteX10" fmla="*/ 200909 w 261072"/>
                  <a:gd name="connsiteY10" fmla="*/ 7175 h 131640"/>
                  <a:gd name="connsiteX11" fmla="*/ 159612 w 261072"/>
                  <a:gd name="connsiteY11" fmla="*/ 24886 h 131640"/>
                  <a:gd name="connsiteX12" fmla="*/ 101473 w 261072"/>
                  <a:gd name="connsiteY12" fmla="*/ 24886 h 131640"/>
                  <a:gd name="connsiteX13" fmla="*/ 63114 w 261072"/>
                  <a:gd name="connsiteY13" fmla="*/ 8733 h 131640"/>
                  <a:gd name="connsiteX14" fmla="*/ 60177 w 261072"/>
                  <a:gd name="connsiteY14" fmla="*/ 7205 h 131640"/>
                  <a:gd name="connsiteX15" fmla="*/ 40128 w 261072"/>
                  <a:gd name="connsiteY15" fmla="*/ 42 h 131640"/>
                  <a:gd name="connsiteX16" fmla="*/ 23016 w 261072"/>
                  <a:gd name="connsiteY16" fmla="*/ 9452 h 131640"/>
                  <a:gd name="connsiteX17" fmla="*/ 13186 w 261072"/>
                  <a:gd name="connsiteY17" fmla="*/ 26924 h 131640"/>
                  <a:gd name="connsiteX18" fmla="*/ 3446 w 261072"/>
                  <a:gd name="connsiteY18" fmla="*/ 48771 h 131640"/>
                  <a:gd name="connsiteX19" fmla="*/ 0 w 261072"/>
                  <a:gd name="connsiteY19" fmla="*/ 63336 h 131640"/>
                  <a:gd name="connsiteX20" fmla="*/ 6593 w 261072"/>
                  <a:gd name="connsiteY20" fmla="*/ 80388 h 131640"/>
                  <a:gd name="connsiteX21" fmla="*/ 50946 w 261072"/>
                  <a:gd name="connsiteY21" fmla="*/ 112874 h 131640"/>
                  <a:gd name="connsiteX22" fmla="*/ 205494 w 261072"/>
                  <a:gd name="connsiteY22" fmla="*/ 24916 h 131640"/>
                  <a:gd name="connsiteX23" fmla="*/ 211667 w 261072"/>
                  <a:gd name="connsiteY23" fmla="*/ 16825 h 131640"/>
                  <a:gd name="connsiteX24" fmla="*/ 247540 w 261072"/>
                  <a:gd name="connsiteY24" fmla="*/ 66063 h 131640"/>
                  <a:gd name="connsiteX25" fmla="*/ 222306 w 261072"/>
                  <a:gd name="connsiteY25" fmla="*/ 74574 h 131640"/>
                  <a:gd name="connsiteX26" fmla="*/ 205494 w 261072"/>
                  <a:gd name="connsiteY26" fmla="*/ 24916 h 131640"/>
                  <a:gd name="connsiteX27" fmla="*/ 162399 w 261072"/>
                  <a:gd name="connsiteY27" fmla="*/ 50209 h 131640"/>
                  <a:gd name="connsiteX28" fmla="*/ 180470 w 261072"/>
                  <a:gd name="connsiteY28" fmla="*/ 31749 h 131640"/>
                  <a:gd name="connsiteX29" fmla="*/ 197702 w 261072"/>
                  <a:gd name="connsiteY29" fmla="*/ 42747 h 131640"/>
                  <a:gd name="connsiteX30" fmla="*/ 210588 w 261072"/>
                  <a:gd name="connsiteY30" fmla="*/ 93184 h 131640"/>
                  <a:gd name="connsiteX31" fmla="*/ 187213 w 261072"/>
                  <a:gd name="connsiteY31" fmla="*/ 105801 h 131640"/>
                  <a:gd name="connsiteX32" fmla="*/ 164137 w 261072"/>
                  <a:gd name="connsiteY32" fmla="*/ 72446 h 131640"/>
                  <a:gd name="connsiteX33" fmla="*/ 162399 w 261072"/>
                  <a:gd name="connsiteY33" fmla="*/ 50209 h 131640"/>
                  <a:gd name="connsiteX34" fmla="*/ 120174 w 261072"/>
                  <a:gd name="connsiteY34" fmla="*/ 43976 h 131640"/>
                  <a:gd name="connsiteX35" fmla="*/ 133150 w 261072"/>
                  <a:gd name="connsiteY35" fmla="*/ 42148 h 131640"/>
                  <a:gd name="connsiteX36" fmla="*/ 143399 w 261072"/>
                  <a:gd name="connsiteY36" fmla="*/ 44036 h 131640"/>
                  <a:gd name="connsiteX37" fmla="*/ 157454 w 261072"/>
                  <a:gd name="connsiteY37" fmla="*/ 91356 h 131640"/>
                  <a:gd name="connsiteX38" fmla="*/ 148853 w 261072"/>
                  <a:gd name="connsiteY38" fmla="*/ 114522 h 131640"/>
                  <a:gd name="connsiteX39" fmla="*/ 119574 w 261072"/>
                  <a:gd name="connsiteY39" fmla="*/ 115421 h 131640"/>
                  <a:gd name="connsiteX40" fmla="*/ 109055 w 261072"/>
                  <a:gd name="connsiteY40" fmla="*/ 106490 h 131640"/>
                  <a:gd name="connsiteX41" fmla="*/ 106358 w 261072"/>
                  <a:gd name="connsiteY41" fmla="*/ 92465 h 131640"/>
                  <a:gd name="connsiteX42" fmla="*/ 120174 w 261072"/>
                  <a:gd name="connsiteY42" fmla="*/ 43976 h 131640"/>
                  <a:gd name="connsiteX43" fmla="*/ 81934 w 261072"/>
                  <a:gd name="connsiteY43" fmla="*/ 31719 h 131640"/>
                  <a:gd name="connsiteX44" fmla="*/ 100005 w 261072"/>
                  <a:gd name="connsiteY44" fmla="*/ 50180 h 131640"/>
                  <a:gd name="connsiteX45" fmla="*/ 98267 w 261072"/>
                  <a:gd name="connsiteY45" fmla="*/ 72446 h 131640"/>
                  <a:gd name="connsiteX46" fmla="*/ 75191 w 261072"/>
                  <a:gd name="connsiteY46" fmla="*/ 105801 h 131640"/>
                  <a:gd name="connsiteX47" fmla="*/ 51815 w 261072"/>
                  <a:gd name="connsiteY47" fmla="*/ 93184 h 131640"/>
                  <a:gd name="connsiteX48" fmla="*/ 64702 w 261072"/>
                  <a:gd name="connsiteY48" fmla="*/ 42747 h 131640"/>
                  <a:gd name="connsiteX49" fmla="*/ 81934 w 261072"/>
                  <a:gd name="connsiteY49" fmla="*/ 31719 h 131640"/>
                  <a:gd name="connsiteX50" fmla="*/ 50707 w 261072"/>
                  <a:gd name="connsiteY50" fmla="*/ 16825 h 131640"/>
                  <a:gd name="connsiteX51" fmla="*/ 56880 w 261072"/>
                  <a:gd name="connsiteY51" fmla="*/ 24916 h 131640"/>
                  <a:gd name="connsiteX52" fmla="*/ 40098 w 261072"/>
                  <a:gd name="connsiteY52" fmla="*/ 74574 h 131640"/>
                  <a:gd name="connsiteX53" fmla="*/ 14864 w 261072"/>
                  <a:gd name="connsiteY53" fmla="*/ 66063 h 131640"/>
                  <a:gd name="connsiteX54" fmla="*/ 50707 w 261072"/>
                  <a:gd name="connsiteY54" fmla="*/ 16825 h 131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61072" h="131640">
                    <a:moveTo>
                      <a:pt x="50946" y="112874"/>
                    </a:moveTo>
                    <a:cubicBezTo>
                      <a:pt x="76090" y="124112"/>
                      <a:pt x="103211" y="131364"/>
                      <a:pt x="130633" y="131634"/>
                    </a:cubicBezTo>
                    <a:cubicBezTo>
                      <a:pt x="160271" y="131904"/>
                      <a:pt x="186584" y="123393"/>
                      <a:pt x="210109" y="112874"/>
                    </a:cubicBezTo>
                    <a:cubicBezTo>
                      <a:pt x="226981" y="105352"/>
                      <a:pt x="242235" y="94203"/>
                      <a:pt x="254492" y="80358"/>
                    </a:cubicBezTo>
                    <a:cubicBezTo>
                      <a:pt x="258868" y="75413"/>
                      <a:pt x="260846" y="69989"/>
                      <a:pt x="261055" y="64325"/>
                    </a:cubicBezTo>
                    <a:cubicBezTo>
                      <a:pt x="261235" y="59260"/>
                      <a:pt x="259977" y="53985"/>
                      <a:pt x="257639" y="48741"/>
                    </a:cubicBezTo>
                    <a:cubicBezTo>
                      <a:pt x="254402" y="41459"/>
                      <a:pt x="251166" y="34176"/>
                      <a:pt x="247899" y="26894"/>
                    </a:cubicBezTo>
                    <a:cubicBezTo>
                      <a:pt x="245172" y="20780"/>
                      <a:pt x="242385" y="14547"/>
                      <a:pt x="238070" y="9422"/>
                    </a:cubicBezTo>
                    <a:cubicBezTo>
                      <a:pt x="233754" y="4268"/>
                      <a:pt x="227641" y="252"/>
                      <a:pt x="220958" y="12"/>
                    </a:cubicBezTo>
                    <a:cubicBezTo>
                      <a:pt x="214335" y="-227"/>
                      <a:pt x="208221" y="3099"/>
                      <a:pt x="202377" y="6366"/>
                    </a:cubicBezTo>
                    <a:cubicBezTo>
                      <a:pt x="201898" y="6635"/>
                      <a:pt x="201388" y="6905"/>
                      <a:pt x="200909" y="7175"/>
                    </a:cubicBezTo>
                    <a:cubicBezTo>
                      <a:pt x="187782" y="14457"/>
                      <a:pt x="173877" y="20301"/>
                      <a:pt x="159612" y="24886"/>
                    </a:cubicBezTo>
                    <a:cubicBezTo>
                      <a:pt x="140852" y="30910"/>
                      <a:pt x="120353" y="30940"/>
                      <a:pt x="101473" y="24886"/>
                    </a:cubicBezTo>
                    <a:cubicBezTo>
                      <a:pt x="88257" y="20661"/>
                      <a:pt x="75371" y="15266"/>
                      <a:pt x="63114" y="8733"/>
                    </a:cubicBezTo>
                    <a:cubicBezTo>
                      <a:pt x="62125" y="8224"/>
                      <a:pt x="61136" y="7744"/>
                      <a:pt x="60177" y="7205"/>
                    </a:cubicBezTo>
                    <a:cubicBezTo>
                      <a:pt x="53883" y="3728"/>
                      <a:pt x="47320" y="-227"/>
                      <a:pt x="40128" y="42"/>
                    </a:cubicBezTo>
                    <a:cubicBezTo>
                      <a:pt x="33415" y="312"/>
                      <a:pt x="27301" y="4328"/>
                      <a:pt x="23016" y="9452"/>
                    </a:cubicBezTo>
                    <a:cubicBezTo>
                      <a:pt x="18700" y="14607"/>
                      <a:pt x="15913" y="20810"/>
                      <a:pt x="13186" y="26924"/>
                    </a:cubicBezTo>
                    <a:cubicBezTo>
                      <a:pt x="9949" y="34206"/>
                      <a:pt x="6713" y="41489"/>
                      <a:pt x="3446" y="48771"/>
                    </a:cubicBezTo>
                    <a:cubicBezTo>
                      <a:pt x="1259" y="53686"/>
                      <a:pt x="0" y="58601"/>
                      <a:pt x="0" y="63336"/>
                    </a:cubicBezTo>
                    <a:cubicBezTo>
                      <a:pt x="0" y="69359"/>
                      <a:pt x="1978" y="75143"/>
                      <a:pt x="6593" y="80388"/>
                    </a:cubicBezTo>
                    <a:cubicBezTo>
                      <a:pt x="18820" y="94203"/>
                      <a:pt x="34074" y="105352"/>
                      <a:pt x="50946" y="112874"/>
                    </a:cubicBezTo>
                    <a:close/>
                    <a:moveTo>
                      <a:pt x="205494" y="24916"/>
                    </a:moveTo>
                    <a:cubicBezTo>
                      <a:pt x="206543" y="21590"/>
                      <a:pt x="208491" y="18803"/>
                      <a:pt x="211667" y="16825"/>
                    </a:cubicBezTo>
                    <a:cubicBezTo>
                      <a:pt x="234353" y="2679"/>
                      <a:pt x="251046" y="50299"/>
                      <a:pt x="247540" y="66063"/>
                    </a:cubicBezTo>
                    <a:cubicBezTo>
                      <a:pt x="244783" y="78500"/>
                      <a:pt x="231477" y="85962"/>
                      <a:pt x="222306" y="74574"/>
                    </a:cubicBezTo>
                    <a:cubicBezTo>
                      <a:pt x="214934" y="65403"/>
                      <a:pt x="200849" y="39840"/>
                      <a:pt x="205494" y="24916"/>
                    </a:cubicBezTo>
                    <a:close/>
                    <a:moveTo>
                      <a:pt x="162399" y="50209"/>
                    </a:moveTo>
                    <a:cubicBezTo>
                      <a:pt x="163568" y="40919"/>
                      <a:pt x="168243" y="33157"/>
                      <a:pt x="180470" y="31749"/>
                    </a:cubicBezTo>
                    <a:cubicBezTo>
                      <a:pt x="188322" y="30820"/>
                      <a:pt x="194795" y="36124"/>
                      <a:pt x="197702" y="42747"/>
                    </a:cubicBezTo>
                    <a:cubicBezTo>
                      <a:pt x="204025" y="57192"/>
                      <a:pt x="218380" y="77061"/>
                      <a:pt x="210588" y="93184"/>
                    </a:cubicBezTo>
                    <a:cubicBezTo>
                      <a:pt x="206932" y="100766"/>
                      <a:pt x="195155" y="105801"/>
                      <a:pt x="187213" y="105801"/>
                    </a:cubicBezTo>
                    <a:cubicBezTo>
                      <a:pt x="172229" y="105801"/>
                      <a:pt x="166505" y="83774"/>
                      <a:pt x="164137" y="72446"/>
                    </a:cubicBezTo>
                    <a:cubicBezTo>
                      <a:pt x="162699" y="65643"/>
                      <a:pt x="161470" y="57462"/>
                      <a:pt x="162399" y="50209"/>
                    </a:cubicBezTo>
                    <a:close/>
                    <a:moveTo>
                      <a:pt x="120174" y="43976"/>
                    </a:moveTo>
                    <a:cubicBezTo>
                      <a:pt x="124189" y="42148"/>
                      <a:pt x="128745" y="41998"/>
                      <a:pt x="133150" y="42148"/>
                    </a:cubicBezTo>
                    <a:cubicBezTo>
                      <a:pt x="136656" y="42238"/>
                      <a:pt x="140252" y="42538"/>
                      <a:pt x="143399" y="44036"/>
                    </a:cubicBezTo>
                    <a:cubicBezTo>
                      <a:pt x="156465" y="50180"/>
                      <a:pt x="156585" y="79339"/>
                      <a:pt x="157454" y="91356"/>
                    </a:cubicBezTo>
                    <a:cubicBezTo>
                      <a:pt x="158144" y="100886"/>
                      <a:pt x="158323" y="110416"/>
                      <a:pt x="148853" y="114522"/>
                    </a:cubicBezTo>
                    <a:cubicBezTo>
                      <a:pt x="139833" y="118418"/>
                      <a:pt x="128894" y="117129"/>
                      <a:pt x="119574" y="115421"/>
                    </a:cubicBezTo>
                    <a:cubicBezTo>
                      <a:pt x="114869" y="114552"/>
                      <a:pt x="111063" y="110806"/>
                      <a:pt x="109055" y="106490"/>
                    </a:cubicBezTo>
                    <a:cubicBezTo>
                      <a:pt x="107017" y="102145"/>
                      <a:pt x="106538" y="97260"/>
                      <a:pt x="106358" y="92465"/>
                    </a:cubicBezTo>
                    <a:cubicBezTo>
                      <a:pt x="105909" y="79669"/>
                      <a:pt x="105969" y="50419"/>
                      <a:pt x="120174" y="43976"/>
                    </a:cubicBezTo>
                    <a:close/>
                    <a:moveTo>
                      <a:pt x="81934" y="31719"/>
                    </a:moveTo>
                    <a:cubicBezTo>
                      <a:pt x="94161" y="33157"/>
                      <a:pt x="98836" y="40919"/>
                      <a:pt x="100005" y="50180"/>
                    </a:cubicBezTo>
                    <a:cubicBezTo>
                      <a:pt x="100934" y="57432"/>
                      <a:pt x="99705" y="65643"/>
                      <a:pt x="98267" y="72446"/>
                    </a:cubicBezTo>
                    <a:cubicBezTo>
                      <a:pt x="95899" y="83774"/>
                      <a:pt x="90175" y="105801"/>
                      <a:pt x="75191" y="105801"/>
                    </a:cubicBezTo>
                    <a:cubicBezTo>
                      <a:pt x="67249" y="105801"/>
                      <a:pt x="55472" y="100766"/>
                      <a:pt x="51815" y="93184"/>
                    </a:cubicBezTo>
                    <a:cubicBezTo>
                      <a:pt x="44024" y="77061"/>
                      <a:pt x="58379" y="57192"/>
                      <a:pt x="64702" y="42747"/>
                    </a:cubicBezTo>
                    <a:cubicBezTo>
                      <a:pt x="67609" y="36094"/>
                      <a:pt x="74082" y="30790"/>
                      <a:pt x="81934" y="31719"/>
                    </a:cubicBezTo>
                    <a:close/>
                    <a:moveTo>
                      <a:pt x="50707" y="16825"/>
                    </a:moveTo>
                    <a:cubicBezTo>
                      <a:pt x="53883" y="18803"/>
                      <a:pt x="55831" y="21590"/>
                      <a:pt x="56880" y="24916"/>
                    </a:cubicBezTo>
                    <a:cubicBezTo>
                      <a:pt x="61525" y="39840"/>
                      <a:pt x="47440" y="65403"/>
                      <a:pt x="40098" y="74574"/>
                    </a:cubicBezTo>
                    <a:cubicBezTo>
                      <a:pt x="30927" y="85992"/>
                      <a:pt x="17621" y="78530"/>
                      <a:pt x="14864" y="66063"/>
                    </a:cubicBezTo>
                    <a:cubicBezTo>
                      <a:pt x="11358" y="50299"/>
                      <a:pt x="28020" y="2679"/>
                      <a:pt x="50707" y="16825"/>
                    </a:cubicBezTo>
                    <a:close/>
                  </a:path>
                </a:pathLst>
              </a:custGeom>
              <a:solidFill>
                <a:srgbClr val="00B0F0"/>
              </a:solidFill>
              <a:ln w="298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367" name="Freeform: Shape 366">
                <a:extLst>
                  <a:ext uri="{FF2B5EF4-FFF2-40B4-BE49-F238E27FC236}">
                    <a16:creationId xmlns:a16="http://schemas.microsoft.com/office/drawing/2014/main" id="{9EFA3B15-D9F8-4AD7-9DC7-533899477EA2}"/>
                  </a:ext>
                </a:extLst>
              </p:cNvPr>
              <p:cNvSpPr/>
              <p:nvPr/>
            </p:nvSpPr>
            <p:spPr>
              <a:xfrm>
                <a:off x="902283" y="3866163"/>
                <a:ext cx="645049" cy="629851"/>
              </a:xfrm>
              <a:custGeom>
                <a:avLst/>
                <a:gdLst>
                  <a:gd name="connsiteX0" fmla="*/ 620374 w 645049"/>
                  <a:gd name="connsiteY0" fmla="*/ 626791 h 629851"/>
                  <a:gd name="connsiteX1" fmla="*/ 645038 w 645049"/>
                  <a:gd name="connsiteY1" fmla="*/ 601019 h 629851"/>
                  <a:gd name="connsiteX2" fmla="*/ 645038 w 645049"/>
                  <a:gd name="connsiteY2" fmla="*/ 592268 h 629851"/>
                  <a:gd name="connsiteX3" fmla="*/ 645038 w 645049"/>
                  <a:gd name="connsiteY3" fmla="*/ 361031 h 629851"/>
                  <a:gd name="connsiteX4" fmla="*/ 645038 w 645049"/>
                  <a:gd name="connsiteY4" fmla="*/ 247840 h 629851"/>
                  <a:gd name="connsiteX5" fmla="*/ 642910 w 645049"/>
                  <a:gd name="connsiteY5" fmla="*/ 172769 h 629851"/>
                  <a:gd name="connsiteX6" fmla="*/ 641951 w 645049"/>
                  <a:gd name="connsiteY6" fmla="*/ 164258 h 629851"/>
                  <a:gd name="connsiteX7" fmla="*/ 629934 w 645049"/>
                  <a:gd name="connsiteY7" fmla="*/ 113551 h 629851"/>
                  <a:gd name="connsiteX8" fmla="*/ 587169 w 645049"/>
                  <a:gd name="connsiteY8" fmla="*/ 41987 h 629851"/>
                  <a:gd name="connsiteX9" fmla="*/ 466995 w 645049"/>
                  <a:gd name="connsiteY9" fmla="*/ 60 h 629851"/>
                  <a:gd name="connsiteX10" fmla="*/ 307443 w 645049"/>
                  <a:gd name="connsiteY10" fmla="*/ 9531 h 629851"/>
                  <a:gd name="connsiteX11" fmla="*/ 160897 w 645049"/>
                  <a:gd name="connsiteY11" fmla="*/ 2098 h 629851"/>
                  <a:gd name="connsiteX12" fmla="*/ 82829 w 645049"/>
                  <a:gd name="connsiteY12" fmla="*/ 30539 h 629851"/>
                  <a:gd name="connsiteX13" fmla="*/ 13752 w 645049"/>
                  <a:gd name="connsiteY13" fmla="*/ 114001 h 629851"/>
                  <a:gd name="connsiteX14" fmla="*/ 1675 w 645049"/>
                  <a:gd name="connsiteY14" fmla="*/ 163059 h 629851"/>
                  <a:gd name="connsiteX15" fmla="*/ 116 w 645049"/>
                  <a:gd name="connsiteY15" fmla="*/ 230099 h 629851"/>
                  <a:gd name="connsiteX16" fmla="*/ 116 w 645049"/>
                  <a:gd name="connsiteY16" fmla="*/ 470686 h 629851"/>
                  <a:gd name="connsiteX17" fmla="*/ 116 w 645049"/>
                  <a:gd name="connsiteY17" fmla="*/ 598471 h 629851"/>
                  <a:gd name="connsiteX18" fmla="*/ 26968 w 645049"/>
                  <a:gd name="connsiteY18" fmla="*/ 624244 h 629851"/>
                  <a:gd name="connsiteX19" fmla="*/ 326862 w 645049"/>
                  <a:gd name="connsiteY19" fmla="*/ 625503 h 629851"/>
                  <a:gd name="connsiteX20" fmla="*/ 620374 w 645049"/>
                  <a:gd name="connsiteY20" fmla="*/ 626791 h 629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45049" h="629851">
                    <a:moveTo>
                      <a:pt x="620374" y="626791"/>
                    </a:moveTo>
                    <a:cubicBezTo>
                      <a:pt x="634159" y="626192"/>
                      <a:pt x="645038" y="614834"/>
                      <a:pt x="645038" y="601019"/>
                    </a:cubicBezTo>
                    <a:lnTo>
                      <a:pt x="645038" y="592268"/>
                    </a:lnTo>
                    <a:cubicBezTo>
                      <a:pt x="645038" y="515189"/>
                      <a:pt x="645038" y="438110"/>
                      <a:pt x="645038" y="361031"/>
                    </a:cubicBezTo>
                    <a:cubicBezTo>
                      <a:pt x="645038" y="323301"/>
                      <a:pt x="645038" y="285570"/>
                      <a:pt x="645038" y="247840"/>
                    </a:cubicBezTo>
                    <a:cubicBezTo>
                      <a:pt x="645038" y="222786"/>
                      <a:pt x="645338" y="197583"/>
                      <a:pt x="642910" y="172769"/>
                    </a:cubicBezTo>
                    <a:cubicBezTo>
                      <a:pt x="642640" y="169922"/>
                      <a:pt x="642311" y="167105"/>
                      <a:pt x="641951" y="164258"/>
                    </a:cubicBezTo>
                    <a:cubicBezTo>
                      <a:pt x="639793" y="147086"/>
                      <a:pt x="636137" y="130124"/>
                      <a:pt x="629934" y="113551"/>
                    </a:cubicBezTo>
                    <a:cubicBezTo>
                      <a:pt x="620164" y="87389"/>
                      <a:pt x="605809" y="62844"/>
                      <a:pt x="587169" y="41987"/>
                    </a:cubicBezTo>
                    <a:cubicBezTo>
                      <a:pt x="557410" y="8721"/>
                      <a:pt x="509610" y="-869"/>
                      <a:pt x="466995" y="60"/>
                    </a:cubicBezTo>
                    <a:cubicBezTo>
                      <a:pt x="413801" y="1229"/>
                      <a:pt x="360517" y="12947"/>
                      <a:pt x="307443" y="9531"/>
                    </a:cubicBezTo>
                    <a:cubicBezTo>
                      <a:pt x="258654" y="6384"/>
                      <a:pt x="209896" y="-3895"/>
                      <a:pt x="160897" y="2098"/>
                    </a:cubicBezTo>
                    <a:cubicBezTo>
                      <a:pt x="133116" y="5485"/>
                      <a:pt x="106265" y="15254"/>
                      <a:pt x="82829" y="30539"/>
                    </a:cubicBezTo>
                    <a:cubicBezTo>
                      <a:pt x="52082" y="50617"/>
                      <a:pt x="27747" y="80076"/>
                      <a:pt x="13752" y="114001"/>
                    </a:cubicBezTo>
                    <a:cubicBezTo>
                      <a:pt x="6889" y="130633"/>
                      <a:pt x="3413" y="146786"/>
                      <a:pt x="1675" y="163059"/>
                    </a:cubicBezTo>
                    <a:cubicBezTo>
                      <a:pt x="-633" y="184786"/>
                      <a:pt x="116" y="206663"/>
                      <a:pt x="116" y="230099"/>
                    </a:cubicBezTo>
                    <a:cubicBezTo>
                      <a:pt x="116" y="310294"/>
                      <a:pt x="116" y="390490"/>
                      <a:pt x="116" y="470686"/>
                    </a:cubicBezTo>
                    <a:lnTo>
                      <a:pt x="116" y="598471"/>
                    </a:lnTo>
                    <a:cubicBezTo>
                      <a:pt x="116" y="613126"/>
                      <a:pt x="12313" y="624844"/>
                      <a:pt x="26968" y="624244"/>
                    </a:cubicBezTo>
                    <a:cubicBezTo>
                      <a:pt x="80971" y="621996"/>
                      <a:pt x="207738" y="618160"/>
                      <a:pt x="326862" y="625503"/>
                    </a:cubicBezTo>
                    <a:cubicBezTo>
                      <a:pt x="446707" y="632965"/>
                      <a:pt x="569308" y="629039"/>
                      <a:pt x="620374" y="626791"/>
                    </a:cubicBezTo>
                    <a:close/>
                  </a:path>
                </a:pathLst>
              </a:custGeom>
              <a:solidFill>
                <a:srgbClr val="605A5F"/>
              </a:solidFill>
              <a:ln w="298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368" name="Freeform: Shape 367">
                <a:extLst>
                  <a:ext uri="{FF2B5EF4-FFF2-40B4-BE49-F238E27FC236}">
                    <a16:creationId xmlns:a16="http://schemas.microsoft.com/office/drawing/2014/main" id="{975035FE-2A0E-491D-8F51-DB905D0E45E3}"/>
                  </a:ext>
                </a:extLst>
              </p:cNvPr>
              <p:cNvSpPr/>
              <p:nvPr/>
            </p:nvSpPr>
            <p:spPr>
              <a:xfrm>
                <a:off x="1119893" y="3033864"/>
                <a:ext cx="43413" cy="65967"/>
              </a:xfrm>
              <a:custGeom>
                <a:avLst/>
                <a:gdLst>
                  <a:gd name="connsiteX0" fmla="*/ 467 w 43413"/>
                  <a:gd name="connsiteY0" fmla="*/ 51831 h 65967"/>
                  <a:gd name="connsiteX1" fmla="*/ 25700 w 43413"/>
                  <a:gd name="connsiteY1" fmla="*/ 60342 h 65967"/>
                  <a:gd name="connsiteX2" fmla="*/ 42483 w 43413"/>
                  <a:gd name="connsiteY2" fmla="*/ 10684 h 65967"/>
                  <a:gd name="connsiteX3" fmla="*/ 36309 w 43413"/>
                  <a:gd name="connsiteY3" fmla="*/ 2592 h 65967"/>
                  <a:gd name="connsiteX4" fmla="*/ 467 w 43413"/>
                  <a:gd name="connsiteY4" fmla="*/ 51831 h 659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413" h="65967">
                    <a:moveTo>
                      <a:pt x="467" y="51831"/>
                    </a:moveTo>
                    <a:cubicBezTo>
                      <a:pt x="3224" y="64268"/>
                      <a:pt x="16530" y="71730"/>
                      <a:pt x="25700" y="60342"/>
                    </a:cubicBezTo>
                    <a:cubicBezTo>
                      <a:pt x="33073" y="51171"/>
                      <a:pt x="47158" y="25638"/>
                      <a:pt x="42483" y="10684"/>
                    </a:cubicBezTo>
                    <a:cubicBezTo>
                      <a:pt x="41434" y="7357"/>
                      <a:pt x="39486" y="4570"/>
                      <a:pt x="36309" y="2592"/>
                    </a:cubicBezTo>
                    <a:cubicBezTo>
                      <a:pt x="13623" y="-11553"/>
                      <a:pt x="-3039" y="36067"/>
                      <a:pt x="467" y="51831"/>
                    </a:cubicBezTo>
                    <a:close/>
                  </a:path>
                </a:pathLst>
              </a:custGeom>
              <a:solidFill>
                <a:srgbClr val="0070C0"/>
              </a:solidFill>
              <a:ln w="298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369" name="Freeform: Shape 368">
                <a:extLst>
                  <a:ext uri="{FF2B5EF4-FFF2-40B4-BE49-F238E27FC236}">
                    <a16:creationId xmlns:a16="http://schemas.microsoft.com/office/drawing/2014/main" id="{67B2B62E-F546-4619-989E-BA4751CF79B0}"/>
                  </a:ext>
                </a:extLst>
              </p:cNvPr>
              <p:cNvSpPr/>
              <p:nvPr/>
            </p:nvSpPr>
            <p:spPr>
              <a:xfrm>
                <a:off x="1155051" y="3051244"/>
                <a:ext cx="50755" cy="74188"/>
              </a:xfrm>
              <a:custGeom>
                <a:avLst/>
                <a:gdLst>
                  <a:gd name="connsiteX0" fmla="*/ 2260 w 50755"/>
                  <a:gd name="connsiteY0" fmla="*/ 61571 h 74188"/>
                  <a:gd name="connsiteX1" fmla="*/ 25635 w 50755"/>
                  <a:gd name="connsiteY1" fmla="*/ 74188 h 74188"/>
                  <a:gd name="connsiteX2" fmla="*/ 48711 w 50755"/>
                  <a:gd name="connsiteY2" fmla="*/ 40833 h 74188"/>
                  <a:gd name="connsiteX3" fmla="*/ 50449 w 50755"/>
                  <a:gd name="connsiteY3" fmla="*/ 18567 h 74188"/>
                  <a:gd name="connsiteX4" fmla="*/ 32378 w 50755"/>
                  <a:gd name="connsiteY4" fmla="*/ 106 h 74188"/>
                  <a:gd name="connsiteX5" fmla="*/ 15146 w 50755"/>
                  <a:gd name="connsiteY5" fmla="*/ 11104 h 74188"/>
                  <a:gd name="connsiteX6" fmla="*/ 2260 w 50755"/>
                  <a:gd name="connsiteY6" fmla="*/ 61571 h 74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755" h="74188">
                    <a:moveTo>
                      <a:pt x="2260" y="61571"/>
                    </a:moveTo>
                    <a:cubicBezTo>
                      <a:pt x="5916" y="69153"/>
                      <a:pt x="17694" y="74188"/>
                      <a:pt x="25635" y="74188"/>
                    </a:cubicBezTo>
                    <a:cubicBezTo>
                      <a:pt x="40620" y="74188"/>
                      <a:pt x="46344" y="52161"/>
                      <a:pt x="48711" y="40833"/>
                    </a:cubicBezTo>
                    <a:cubicBezTo>
                      <a:pt x="50119" y="34030"/>
                      <a:pt x="51348" y="25849"/>
                      <a:pt x="50449" y="18567"/>
                    </a:cubicBezTo>
                    <a:cubicBezTo>
                      <a:pt x="49280" y="9276"/>
                      <a:pt x="44605" y="1514"/>
                      <a:pt x="32378" y="106"/>
                    </a:cubicBezTo>
                    <a:cubicBezTo>
                      <a:pt x="24526" y="-823"/>
                      <a:pt x="18053" y="4481"/>
                      <a:pt x="15146" y="11104"/>
                    </a:cubicBezTo>
                    <a:cubicBezTo>
                      <a:pt x="8823" y="25549"/>
                      <a:pt x="-5532" y="45448"/>
                      <a:pt x="2260" y="61571"/>
                    </a:cubicBezTo>
                    <a:close/>
                  </a:path>
                </a:pathLst>
              </a:custGeom>
              <a:solidFill>
                <a:srgbClr val="0070C0"/>
              </a:solidFill>
              <a:ln w="298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370" name="Freeform: Shape 369">
                <a:extLst>
                  <a:ext uri="{FF2B5EF4-FFF2-40B4-BE49-F238E27FC236}">
                    <a16:creationId xmlns:a16="http://schemas.microsoft.com/office/drawing/2014/main" id="{C647256E-55CD-4D2F-8B4F-A4AA14BB845E}"/>
                  </a:ext>
                </a:extLst>
              </p:cNvPr>
              <p:cNvSpPr/>
              <p:nvPr/>
            </p:nvSpPr>
            <p:spPr>
              <a:xfrm>
                <a:off x="1310070" y="3033864"/>
                <a:ext cx="43431" cy="65987"/>
              </a:xfrm>
              <a:custGeom>
                <a:avLst/>
                <a:gdLst>
                  <a:gd name="connsiteX0" fmla="*/ 17732 w 43431"/>
                  <a:gd name="connsiteY0" fmla="*/ 60342 h 65987"/>
                  <a:gd name="connsiteX1" fmla="*/ 42966 w 43431"/>
                  <a:gd name="connsiteY1" fmla="*/ 51831 h 65987"/>
                  <a:gd name="connsiteX2" fmla="*/ 7093 w 43431"/>
                  <a:gd name="connsiteY2" fmla="*/ 2592 h 65987"/>
                  <a:gd name="connsiteX3" fmla="*/ 920 w 43431"/>
                  <a:gd name="connsiteY3" fmla="*/ 10684 h 65987"/>
                  <a:gd name="connsiteX4" fmla="*/ 17732 w 43431"/>
                  <a:gd name="connsiteY4" fmla="*/ 60342 h 659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431" h="65987">
                    <a:moveTo>
                      <a:pt x="17732" y="60342"/>
                    </a:moveTo>
                    <a:cubicBezTo>
                      <a:pt x="26903" y="71760"/>
                      <a:pt x="40209" y="64298"/>
                      <a:pt x="42966" y="51831"/>
                    </a:cubicBezTo>
                    <a:cubicBezTo>
                      <a:pt x="46472" y="36067"/>
                      <a:pt x="29780" y="-11553"/>
                      <a:pt x="7093" y="2592"/>
                    </a:cubicBezTo>
                    <a:cubicBezTo>
                      <a:pt x="3917" y="4570"/>
                      <a:pt x="1969" y="7357"/>
                      <a:pt x="920" y="10684"/>
                    </a:cubicBezTo>
                    <a:cubicBezTo>
                      <a:pt x="-3725" y="25608"/>
                      <a:pt x="10360" y="51171"/>
                      <a:pt x="17732" y="60342"/>
                    </a:cubicBezTo>
                    <a:close/>
                  </a:path>
                </a:pathLst>
              </a:custGeom>
              <a:solidFill>
                <a:srgbClr val="8CB369"/>
              </a:solidFill>
              <a:ln w="298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371" name="Freeform: Shape 370">
                <a:extLst>
                  <a:ext uri="{FF2B5EF4-FFF2-40B4-BE49-F238E27FC236}">
                    <a16:creationId xmlns:a16="http://schemas.microsoft.com/office/drawing/2014/main" id="{12B067E0-7535-404A-98D3-72718F3FEDC1}"/>
                  </a:ext>
                </a:extLst>
              </p:cNvPr>
              <p:cNvSpPr/>
              <p:nvPr/>
            </p:nvSpPr>
            <p:spPr>
              <a:xfrm>
                <a:off x="1267542" y="3051274"/>
                <a:ext cx="50772" cy="74158"/>
              </a:xfrm>
              <a:custGeom>
                <a:avLst/>
                <a:gdLst>
                  <a:gd name="connsiteX0" fmla="*/ 25137 w 50772"/>
                  <a:gd name="connsiteY0" fmla="*/ 74158 h 74158"/>
                  <a:gd name="connsiteX1" fmla="*/ 48512 w 50772"/>
                  <a:gd name="connsiteY1" fmla="*/ 61541 h 74158"/>
                  <a:gd name="connsiteX2" fmla="*/ 35626 w 50772"/>
                  <a:gd name="connsiteY2" fmla="*/ 11104 h 74158"/>
                  <a:gd name="connsiteX3" fmla="*/ 18394 w 50772"/>
                  <a:gd name="connsiteY3" fmla="*/ 106 h 74158"/>
                  <a:gd name="connsiteX4" fmla="*/ 323 w 50772"/>
                  <a:gd name="connsiteY4" fmla="*/ 18566 h 74158"/>
                  <a:gd name="connsiteX5" fmla="*/ 2061 w 50772"/>
                  <a:gd name="connsiteY5" fmla="*/ 40833 h 74158"/>
                  <a:gd name="connsiteX6" fmla="*/ 25137 w 50772"/>
                  <a:gd name="connsiteY6" fmla="*/ 74158 h 74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772" h="74158">
                    <a:moveTo>
                      <a:pt x="25137" y="74158"/>
                    </a:moveTo>
                    <a:cubicBezTo>
                      <a:pt x="33079" y="74158"/>
                      <a:pt x="44856" y="69123"/>
                      <a:pt x="48512" y="61541"/>
                    </a:cubicBezTo>
                    <a:cubicBezTo>
                      <a:pt x="56304" y="45418"/>
                      <a:pt x="41949" y="25549"/>
                      <a:pt x="35626" y="11104"/>
                    </a:cubicBezTo>
                    <a:cubicBezTo>
                      <a:pt x="32719" y="4481"/>
                      <a:pt x="26276" y="-823"/>
                      <a:pt x="18394" y="106"/>
                    </a:cubicBezTo>
                    <a:cubicBezTo>
                      <a:pt x="6167" y="1544"/>
                      <a:pt x="1492" y="9306"/>
                      <a:pt x="323" y="18566"/>
                    </a:cubicBezTo>
                    <a:cubicBezTo>
                      <a:pt x="-606" y="25819"/>
                      <a:pt x="623" y="34030"/>
                      <a:pt x="2061" y="40833"/>
                    </a:cubicBezTo>
                    <a:cubicBezTo>
                      <a:pt x="4429" y="52131"/>
                      <a:pt x="10153" y="74158"/>
                      <a:pt x="25137" y="74158"/>
                    </a:cubicBezTo>
                    <a:close/>
                  </a:path>
                </a:pathLst>
              </a:custGeom>
              <a:solidFill>
                <a:srgbClr val="0070C0"/>
              </a:solidFill>
              <a:ln w="298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372" name="Freeform: Shape 371">
                <a:extLst>
                  <a:ext uri="{FF2B5EF4-FFF2-40B4-BE49-F238E27FC236}">
                    <a16:creationId xmlns:a16="http://schemas.microsoft.com/office/drawing/2014/main" id="{312F2F81-58DC-4FB7-8086-07614E4FD652}"/>
                  </a:ext>
                </a:extLst>
              </p:cNvPr>
              <p:cNvSpPr/>
              <p:nvPr/>
            </p:nvSpPr>
            <p:spPr>
              <a:xfrm>
                <a:off x="1211743" y="3061746"/>
                <a:ext cx="51490" cy="74960"/>
              </a:xfrm>
              <a:custGeom>
                <a:avLst/>
                <a:gdLst>
                  <a:gd name="connsiteX0" fmla="*/ 2808 w 51490"/>
                  <a:gd name="connsiteY0" fmla="*/ 64375 h 74960"/>
                  <a:gd name="connsiteX1" fmla="*/ 13327 w 51490"/>
                  <a:gd name="connsiteY1" fmla="*/ 73306 h 74960"/>
                  <a:gd name="connsiteX2" fmla="*/ 42606 w 51490"/>
                  <a:gd name="connsiteY2" fmla="*/ 72407 h 74960"/>
                  <a:gd name="connsiteX3" fmla="*/ 51207 w 51490"/>
                  <a:gd name="connsiteY3" fmla="*/ 49241 h 74960"/>
                  <a:gd name="connsiteX4" fmla="*/ 37152 w 51490"/>
                  <a:gd name="connsiteY4" fmla="*/ 1921 h 74960"/>
                  <a:gd name="connsiteX5" fmla="*/ 26903 w 51490"/>
                  <a:gd name="connsiteY5" fmla="*/ 33 h 74960"/>
                  <a:gd name="connsiteX6" fmla="*/ 13926 w 51490"/>
                  <a:gd name="connsiteY6" fmla="*/ 1861 h 74960"/>
                  <a:gd name="connsiteX7" fmla="*/ 111 w 51490"/>
                  <a:gd name="connsiteY7" fmla="*/ 50350 h 74960"/>
                  <a:gd name="connsiteX8" fmla="*/ 2808 w 51490"/>
                  <a:gd name="connsiteY8" fmla="*/ 64375 h 74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490" h="74960">
                    <a:moveTo>
                      <a:pt x="2808" y="64375"/>
                    </a:moveTo>
                    <a:cubicBezTo>
                      <a:pt x="4846" y="68721"/>
                      <a:pt x="8622" y="72437"/>
                      <a:pt x="13327" y="73306"/>
                    </a:cubicBezTo>
                    <a:cubicBezTo>
                      <a:pt x="22647" y="75014"/>
                      <a:pt x="33585" y="76303"/>
                      <a:pt x="42606" y="72407"/>
                    </a:cubicBezTo>
                    <a:cubicBezTo>
                      <a:pt x="52076" y="68301"/>
                      <a:pt x="51896" y="58771"/>
                      <a:pt x="51207" y="49241"/>
                    </a:cubicBezTo>
                    <a:cubicBezTo>
                      <a:pt x="50338" y="37224"/>
                      <a:pt x="50188" y="8065"/>
                      <a:pt x="37152" y="1921"/>
                    </a:cubicBezTo>
                    <a:cubicBezTo>
                      <a:pt x="33975" y="423"/>
                      <a:pt x="30379" y="153"/>
                      <a:pt x="26903" y="33"/>
                    </a:cubicBezTo>
                    <a:cubicBezTo>
                      <a:pt x="22497" y="-87"/>
                      <a:pt x="17942" y="33"/>
                      <a:pt x="13926" y="1861"/>
                    </a:cubicBezTo>
                    <a:cubicBezTo>
                      <a:pt x="-249" y="8304"/>
                      <a:pt x="-309" y="37524"/>
                      <a:pt x="111" y="50350"/>
                    </a:cubicBezTo>
                    <a:cubicBezTo>
                      <a:pt x="261" y="55145"/>
                      <a:pt x="770" y="60030"/>
                      <a:pt x="2808" y="64375"/>
                    </a:cubicBezTo>
                    <a:close/>
                  </a:path>
                </a:pathLst>
              </a:custGeom>
              <a:solidFill>
                <a:srgbClr val="0070C0"/>
              </a:solidFill>
              <a:ln w="298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373" name="Freeform: Shape 372">
                <a:extLst>
                  <a:ext uri="{FF2B5EF4-FFF2-40B4-BE49-F238E27FC236}">
                    <a16:creationId xmlns:a16="http://schemas.microsoft.com/office/drawing/2014/main" id="{217202DD-8E52-4991-965D-E83DEFF13901}"/>
                  </a:ext>
                </a:extLst>
              </p:cNvPr>
              <p:cNvSpPr/>
              <p:nvPr/>
            </p:nvSpPr>
            <p:spPr>
              <a:xfrm>
                <a:off x="1099742" y="2186569"/>
                <a:ext cx="260156" cy="32166"/>
              </a:xfrm>
              <a:custGeom>
                <a:avLst/>
                <a:gdLst>
                  <a:gd name="connsiteX0" fmla="*/ 11358 w 260156"/>
                  <a:gd name="connsiteY0" fmla="*/ 29979 h 32166"/>
                  <a:gd name="connsiteX1" fmla="*/ 24304 w 260156"/>
                  <a:gd name="connsiteY1" fmla="*/ 27372 h 32166"/>
                  <a:gd name="connsiteX2" fmla="*/ 40997 w 260156"/>
                  <a:gd name="connsiteY2" fmla="*/ 24045 h 32166"/>
                  <a:gd name="connsiteX3" fmla="*/ 60746 w 260156"/>
                  <a:gd name="connsiteY3" fmla="*/ 20449 h 32166"/>
                  <a:gd name="connsiteX4" fmla="*/ 71535 w 260156"/>
                  <a:gd name="connsiteY4" fmla="*/ 18711 h 32166"/>
                  <a:gd name="connsiteX5" fmla="*/ 77109 w 260156"/>
                  <a:gd name="connsiteY5" fmla="*/ 17812 h 32166"/>
                  <a:gd name="connsiteX6" fmla="*/ 82803 w 260156"/>
                  <a:gd name="connsiteY6" fmla="*/ 17033 h 32166"/>
                  <a:gd name="connsiteX7" fmla="*/ 94461 w 260156"/>
                  <a:gd name="connsiteY7" fmla="*/ 15444 h 32166"/>
                  <a:gd name="connsiteX8" fmla="*/ 106418 w 260156"/>
                  <a:gd name="connsiteY8" fmla="*/ 14186 h 32166"/>
                  <a:gd name="connsiteX9" fmla="*/ 118555 w 260156"/>
                  <a:gd name="connsiteY9" fmla="*/ 13197 h 32166"/>
                  <a:gd name="connsiteX10" fmla="*/ 130783 w 260156"/>
                  <a:gd name="connsiteY10" fmla="*/ 12537 h 32166"/>
                  <a:gd name="connsiteX11" fmla="*/ 143010 w 260156"/>
                  <a:gd name="connsiteY11" fmla="*/ 12208 h 32166"/>
                  <a:gd name="connsiteX12" fmla="*/ 155147 w 260156"/>
                  <a:gd name="connsiteY12" fmla="*/ 12358 h 32166"/>
                  <a:gd name="connsiteX13" fmla="*/ 178672 w 260156"/>
                  <a:gd name="connsiteY13" fmla="*/ 14006 h 32166"/>
                  <a:gd name="connsiteX14" fmla="*/ 200609 w 260156"/>
                  <a:gd name="connsiteY14" fmla="*/ 16913 h 32166"/>
                  <a:gd name="connsiteX15" fmla="*/ 210678 w 260156"/>
                  <a:gd name="connsiteY15" fmla="*/ 18951 h 32166"/>
                  <a:gd name="connsiteX16" fmla="*/ 215503 w 260156"/>
                  <a:gd name="connsiteY16" fmla="*/ 19880 h 32166"/>
                  <a:gd name="connsiteX17" fmla="*/ 220089 w 260156"/>
                  <a:gd name="connsiteY17" fmla="*/ 20989 h 32166"/>
                  <a:gd name="connsiteX18" fmla="*/ 228749 w 260156"/>
                  <a:gd name="connsiteY18" fmla="*/ 23056 h 32166"/>
                  <a:gd name="connsiteX19" fmla="*/ 236511 w 260156"/>
                  <a:gd name="connsiteY19" fmla="*/ 25184 h 32166"/>
                  <a:gd name="connsiteX20" fmla="*/ 249128 w 260156"/>
                  <a:gd name="connsiteY20" fmla="*/ 28840 h 32166"/>
                  <a:gd name="connsiteX21" fmla="*/ 260156 w 260156"/>
                  <a:gd name="connsiteY21" fmla="*/ 32167 h 32166"/>
                  <a:gd name="connsiteX22" fmla="*/ 250057 w 260156"/>
                  <a:gd name="connsiteY22" fmla="*/ 26563 h 32166"/>
                  <a:gd name="connsiteX23" fmla="*/ 238130 w 260156"/>
                  <a:gd name="connsiteY23" fmla="*/ 20749 h 32166"/>
                  <a:gd name="connsiteX24" fmla="*/ 230637 w 260156"/>
                  <a:gd name="connsiteY24" fmla="*/ 17422 h 32166"/>
                  <a:gd name="connsiteX25" fmla="*/ 222126 w 260156"/>
                  <a:gd name="connsiteY25" fmla="*/ 14216 h 32166"/>
                  <a:gd name="connsiteX26" fmla="*/ 202587 w 260156"/>
                  <a:gd name="connsiteY26" fmla="*/ 7952 h 32166"/>
                  <a:gd name="connsiteX27" fmla="*/ 180111 w 260156"/>
                  <a:gd name="connsiteY27" fmla="*/ 3187 h 32166"/>
                  <a:gd name="connsiteX28" fmla="*/ 168063 w 260156"/>
                  <a:gd name="connsiteY28" fmla="*/ 1539 h 32166"/>
                  <a:gd name="connsiteX29" fmla="*/ 155656 w 260156"/>
                  <a:gd name="connsiteY29" fmla="*/ 430 h 32166"/>
                  <a:gd name="connsiteX30" fmla="*/ 143010 w 260156"/>
                  <a:gd name="connsiteY30" fmla="*/ 11 h 32166"/>
                  <a:gd name="connsiteX31" fmla="*/ 130273 w 260156"/>
                  <a:gd name="connsiteY31" fmla="*/ 250 h 32166"/>
                  <a:gd name="connsiteX32" fmla="*/ 117566 w 260156"/>
                  <a:gd name="connsiteY32" fmla="*/ 1059 h 32166"/>
                  <a:gd name="connsiteX33" fmla="*/ 105039 w 260156"/>
                  <a:gd name="connsiteY33" fmla="*/ 2348 h 32166"/>
                  <a:gd name="connsiteX34" fmla="*/ 92782 w 260156"/>
                  <a:gd name="connsiteY34" fmla="*/ 4086 h 32166"/>
                  <a:gd name="connsiteX35" fmla="*/ 80915 w 260156"/>
                  <a:gd name="connsiteY35" fmla="*/ 6334 h 32166"/>
                  <a:gd name="connsiteX36" fmla="*/ 58738 w 260156"/>
                  <a:gd name="connsiteY36" fmla="*/ 11548 h 32166"/>
                  <a:gd name="connsiteX37" fmla="*/ 39199 w 260156"/>
                  <a:gd name="connsiteY37" fmla="*/ 17272 h 32166"/>
                  <a:gd name="connsiteX38" fmla="*/ 22926 w 260156"/>
                  <a:gd name="connsiteY38" fmla="*/ 22907 h 32166"/>
                  <a:gd name="connsiteX39" fmla="*/ 10609 w 260156"/>
                  <a:gd name="connsiteY39" fmla="*/ 27701 h 32166"/>
                  <a:gd name="connsiteX40" fmla="*/ 0 w 260156"/>
                  <a:gd name="connsiteY40" fmla="*/ 32167 h 32166"/>
                  <a:gd name="connsiteX41" fmla="*/ 0 w 260156"/>
                  <a:gd name="connsiteY41" fmla="*/ 32167 h 32166"/>
                  <a:gd name="connsiteX42" fmla="*/ 0 w 260156"/>
                  <a:gd name="connsiteY42" fmla="*/ 32167 h 32166"/>
                  <a:gd name="connsiteX43" fmla="*/ 11358 w 260156"/>
                  <a:gd name="connsiteY43" fmla="*/ 29979 h 32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260156" h="32166">
                    <a:moveTo>
                      <a:pt x="11358" y="29979"/>
                    </a:moveTo>
                    <a:cubicBezTo>
                      <a:pt x="14954" y="29290"/>
                      <a:pt x="19300" y="28301"/>
                      <a:pt x="24304" y="27372"/>
                    </a:cubicBezTo>
                    <a:cubicBezTo>
                      <a:pt x="29309" y="26443"/>
                      <a:pt x="34913" y="25304"/>
                      <a:pt x="40997" y="24045"/>
                    </a:cubicBezTo>
                    <a:cubicBezTo>
                      <a:pt x="47110" y="22936"/>
                      <a:pt x="53733" y="21708"/>
                      <a:pt x="60746" y="20449"/>
                    </a:cubicBezTo>
                    <a:cubicBezTo>
                      <a:pt x="64252" y="19880"/>
                      <a:pt x="67849" y="19310"/>
                      <a:pt x="71535" y="18711"/>
                    </a:cubicBezTo>
                    <a:cubicBezTo>
                      <a:pt x="73363" y="18411"/>
                      <a:pt x="75221" y="18112"/>
                      <a:pt x="77109" y="17812"/>
                    </a:cubicBezTo>
                    <a:cubicBezTo>
                      <a:pt x="78997" y="17542"/>
                      <a:pt x="80885" y="17302"/>
                      <a:pt x="82803" y="17033"/>
                    </a:cubicBezTo>
                    <a:cubicBezTo>
                      <a:pt x="86639" y="16493"/>
                      <a:pt x="90505" y="15984"/>
                      <a:pt x="94461" y="15444"/>
                    </a:cubicBezTo>
                    <a:cubicBezTo>
                      <a:pt x="98416" y="15025"/>
                      <a:pt x="102402" y="14605"/>
                      <a:pt x="106418" y="14186"/>
                    </a:cubicBezTo>
                    <a:cubicBezTo>
                      <a:pt x="110434" y="13646"/>
                      <a:pt x="114510" y="13556"/>
                      <a:pt x="118555" y="13197"/>
                    </a:cubicBezTo>
                    <a:cubicBezTo>
                      <a:pt x="122631" y="12867"/>
                      <a:pt x="126707" y="12537"/>
                      <a:pt x="130783" y="12537"/>
                    </a:cubicBezTo>
                    <a:cubicBezTo>
                      <a:pt x="134858" y="12448"/>
                      <a:pt x="138964" y="12178"/>
                      <a:pt x="143010" y="12208"/>
                    </a:cubicBezTo>
                    <a:cubicBezTo>
                      <a:pt x="147085" y="12268"/>
                      <a:pt x="151131" y="12298"/>
                      <a:pt x="155147" y="12358"/>
                    </a:cubicBezTo>
                    <a:cubicBezTo>
                      <a:pt x="163148" y="12807"/>
                      <a:pt x="171090" y="13047"/>
                      <a:pt x="178672" y="14006"/>
                    </a:cubicBezTo>
                    <a:cubicBezTo>
                      <a:pt x="186314" y="14635"/>
                      <a:pt x="193626" y="15954"/>
                      <a:pt x="200609" y="16913"/>
                    </a:cubicBezTo>
                    <a:cubicBezTo>
                      <a:pt x="204055" y="17602"/>
                      <a:pt x="207442" y="18291"/>
                      <a:pt x="210678" y="18951"/>
                    </a:cubicBezTo>
                    <a:cubicBezTo>
                      <a:pt x="212327" y="19250"/>
                      <a:pt x="213915" y="19580"/>
                      <a:pt x="215503" y="19880"/>
                    </a:cubicBezTo>
                    <a:cubicBezTo>
                      <a:pt x="217062" y="20269"/>
                      <a:pt x="218590" y="20629"/>
                      <a:pt x="220089" y="20989"/>
                    </a:cubicBezTo>
                    <a:cubicBezTo>
                      <a:pt x="223115" y="21708"/>
                      <a:pt x="225992" y="22397"/>
                      <a:pt x="228749" y="23056"/>
                    </a:cubicBezTo>
                    <a:cubicBezTo>
                      <a:pt x="231507" y="23716"/>
                      <a:pt x="234054" y="24525"/>
                      <a:pt x="236511" y="25184"/>
                    </a:cubicBezTo>
                    <a:cubicBezTo>
                      <a:pt x="241366" y="26563"/>
                      <a:pt x="245682" y="27642"/>
                      <a:pt x="249128" y="28840"/>
                    </a:cubicBezTo>
                    <a:cubicBezTo>
                      <a:pt x="256081" y="31028"/>
                      <a:pt x="260156" y="32167"/>
                      <a:pt x="260156" y="32167"/>
                    </a:cubicBezTo>
                    <a:cubicBezTo>
                      <a:pt x="260156" y="32167"/>
                      <a:pt x="256530" y="30069"/>
                      <a:pt x="250057" y="26563"/>
                    </a:cubicBezTo>
                    <a:cubicBezTo>
                      <a:pt x="246850" y="24765"/>
                      <a:pt x="242805" y="22847"/>
                      <a:pt x="238130" y="20749"/>
                    </a:cubicBezTo>
                    <a:cubicBezTo>
                      <a:pt x="235792" y="19700"/>
                      <a:pt x="233335" y="18501"/>
                      <a:pt x="230637" y="17422"/>
                    </a:cubicBezTo>
                    <a:cubicBezTo>
                      <a:pt x="227940" y="16403"/>
                      <a:pt x="225093" y="15324"/>
                      <a:pt x="222126" y="14216"/>
                    </a:cubicBezTo>
                    <a:cubicBezTo>
                      <a:pt x="216253" y="11818"/>
                      <a:pt x="209570" y="10050"/>
                      <a:pt x="202587" y="7952"/>
                    </a:cubicBezTo>
                    <a:cubicBezTo>
                      <a:pt x="195484" y="6334"/>
                      <a:pt x="188022" y="4266"/>
                      <a:pt x="180111" y="3187"/>
                    </a:cubicBezTo>
                    <a:cubicBezTo>
                      <a:pt x="176185" y="2528"/>
                      <a:pt x="172169" y="1839"/>
                      <a:pt x="168063" y="1539"/>
                    </a:cubicBezTo>
                    <a:cubicBezTo>
                      <a:pt x="163988" y="1149"/>
                      <a:pt x="159822" y="670"/>
                      <a:pt x="155656" y="430"/>
                    </a:cubicBezTo>
                    <a:cubicBezTo>
                      <a:pt x="151461" y="280"/>
                      <a:pt x="147235" y="160"/>
                      <a:pt x="143010" y="11"/>
                    </a:cubicBezTo>
                    <a:cubicBezTo>
                      <a:pt x="138784" y="-49"/>
                      <a:pt x="134529" y="160"/>
                      <a:pt x="130273" y="250"/>
                    </a:cubicBezTo>
                    <a:cubicBezTo>
                      <a:pt x="126017" y="310"/>
                      <a:pt x="121792" y="700"/>
                      <a:pt x="117566" y="1059"/>
                    </a:cubicBezTo>
                    <a:cubicBezTo>
                      <a:pt x="113371" y="1449"/>
                      <a:pt x="109145" y="1719"/>
                      <a:pt x="105039" y="2348"/>
                    </a:cubicBezTo>
                    <a:cubicBezTo>
                      <a:pt x="100904" y="2948"/>
                      <a:pt x="96828" y="3517"/>
                      <a:pt x="92782" y="4086"/>
                    </a:cubicBezTo>
                    <a:cubicBezTo>
                      <a:pt x="88767" y="4746"/>
                      <a:pt x="84811" y="5555"/>
                      <a:pt x="80915" y="6334"/>
                    </a:cubicBezTo>
                    <a:cubicBezTo>
                      <a:pt x="73123" y="7713"/>
                      <a:pt x="65751" y="9840"/>
                      <a:pt x="58738" y="11548"/>
                    </a:cubicBezTo>
                    <a:cubicBezTo>
                      <a:pt x="51726" y="13347"/>
                      <a:pt x="45222" y="15474"/>
                      <a:pt x="39199" y="17272"/>
                    </a:cubicBezTo>
                    <a:cubicBezTo>
                      <a:pt x="33205" y="19190"/>
                      <a:pt x="27751" y="21198"/>
                      <a:pt x="22926" y="22907"/>
                    </a:cubicBezTo>
                    <a:cubicBezTo>
                      <a:pt x="18071" y="24525"/>
                      <a:pt x="14025" y="26353"/>
                      <a:pt x="10609" y="27701"/>
                    </a:cubicBezTo>
                    <a:cubicBezTo>
                      <a:pt x="3896" y="30429"/>
                      <a:pt x="60" y="32137"/>
                      <a:pt x="0" y="32167"/>
                    </a:cubicBezTo>
                    <a:lnTo>
                      <a:pt x="0" y="32167"/>
                    </a:lnTo>
                    <a:lnTo>
                      <a:pt x="0" y="32167"/>
                    </a:lnTo>
                    <a:cubicBezTo>
                      <a:pt x="120" y="32107"/>
                      <a:pt x="4256" y="31418"/>
                      <a:pt x="11358" y="29979"/>
                    </a:cubicBezTo>
                    <a:close/>
                  </a:path>
                </a:pathLst>
              </a:custGeom>
              <a:solidFill>
                <a:srgbClr val="7C7C75"/>
              </a:solidFill>
              <a:ln w="298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374" name="Freeform: Shape 373">
                <a:extLst>
                  <a:ext uri="{FF2B5EF4-FFF2-40B4-BE49-F238E27FC236}">
                    <a16:creationId xmlns:a16="http://schemas.microsoft.com/office/drawing/2014/main" id="{78910BF8-1F67-46F2-8E83-DD39D222C58A}"/>
                  </a:ext>
                </a:extLst>
              </p:cNvPr>
              <p:cNvSpPr/>
              <p:nvPr/>
            </p:nvSpPr>
            <p:spPr>
              <a:xfrm>
                <a:off x="929551" y="2642893"/>
                <a:ext cx="600268" cy="122498"/>
              </a:xfrm>
              <a:custGeom>
                <a:avLst/>
                <a:gdLst>
                  <a:gd name="connsiteX0" fmla="*/ 531791 w 600268"/>
                  <a:gd name="connsiteY0" fmla="*/ 18627 h 122498"/>
                  <a:gd name="connsiteX1" fmla="*/ 528224 w 600268"/>
                  <a:gd name="connsiteY1" fmla="*/ 17638 h 122498"/>
                  <a:gd name="connsiteX2" fmla="*/ 515368 w 600268"/>
                  <a:gd name="connsiteY2" fmla="*/ 14702 h 122498"/>
                  <a:gd name="connsiteX3" fmla="*/ 510963 w 600268"/>
                  <a:gd name="connsiteY3" fmla="*/ 14282 h 122498"/>
                  <a:gd name="connsiteX4" fmla="*/ 470535 w 600268"/>
                  <a:gd name="connsiteY4" fmla="*/ 8408 h 122498"/>
                  <a:gd name="connsiteX5" fmla="*/ 416772 w 600268"/>
                  <a:gd name="connsiteY5" fmla="*/ 706 h 122498"/>
                  <a:gd name="connsiteX6" fmla="*/ 368702 w 600268"/>
                  <a:gd name="connsiteY6" fmla="*/ 8019 h 122498"/>
                  <a:gd name="connsiteX7" fmla="*/ 333309 w 600268"/>
                  <a:gd name="connsiteY7" fmla="*/ 18867 h 122498"/>
                  <a:gd name="connsiteX8" fmla="*/ 294560 w 600268"/>
                  <a:gd name="connsiteY8" fmla="*/ 21205 h 122498"/>
                  <a:gd name="connsiteX9" fmla="*/ 267469 w 600268"/>
                  <a:gd name="connsiteY9" fmla="*/ 18238 h 122498"/>
                  <a:gd name="connsiteX10" fmla="*/ 234413 w 600268"/>
                  <a:gd name="connsiteY10" fmla="*/ 7329 h 122498"/>
                  <a:gd name="connsiteX11" fmla="*/ 186344 w 600268"/>
                  <a:gd name="connsiteY11" fmla="*/ 17 h 122498"/>
                  <a:gd name="connsiteX12" fmla="*/ 110074 w 600268"/>
                  <a:gd name="connsiteY12" fmla="*/ 11525 h 122498"/>
                  <a:gd name="connsiteX13" fmla="*/ 77588 w 600268"/>
                  <a:gd name="connsiteY13" fmla="*/ 17099 h 122498"/>
                  <a:gd name="connsiteX14" fmla="*/ 63353 w 600268"/>
                  <a:gd name="connsiteY14" fmla="*/ 20695 h 122498"/>
                  <a:gd name="connsiteX15" fmla="*/ 0 w 600268"/>
                  <a:gd name="connsiteY15" fmla="*/ 37388 h 122498"/>
                  <a:gd name="connsiteX16" fmla="*/ 5274 w 600268"/>
                  <a:gd name="connsiteY16" fmla="*/ 47937 h 122498"/>
                  <a:gd name="connsiteX17" fmla="*/ 77289 w 600268"/>
                  <a:gd name="connsiteY17" fmla="*/ 29686 h 122498"/>
                  <a:gd name="connsiteX18" fmla="*/ 111752 w 600268"/>
                  <a:gd name="connsiteY18" fmla="*/ 101640 h 122498"/>
                  <a:gd name="connsiteX19" fmla="*/ 143249 w 600268"/>
                  <a:gd name="connsiteY19" fmla="*/ 118872 h 122498"/>
                  <a:gd name="connsiteX20" fmla="*/ 176334 w 600268"/>
                  <a:gd name="connsiteY20" fmla="*/ 121809 h 122498"/>
                  <a:gd name="connsiteX21" fmla="*/ 250387 w 600268"/>
                  <a:gd name="connsiteY21" fmla="*/ 106735 h 122498"/>
                  <a:gd name="connsiteX22" fmla="*/ 267199 w 600268"/>
                  <a:gd name="connsiteY22" fmla="*/ 76377 h 122498"/>
                  <a:gd name="connsiteX23" fmla="*/ 268248 w 600268"/>
                  <a:gd name="connsiteY23" fmla="*/ 69214 h 122498"/>
                  <a:gd name="connsiteX24" fmla="*/ 272713 w 600268"/>
                  <a:gd name="connsiteY24" fmla="*/ 55369 h 122498"/>
                  <a:gd name="connsiteX25" fmla="*/ 282303 w 600268"/>
                  <a:gd name="connsiteY25" fmla="*/ 46378 h 122498"/>
                  <a:gd name="connsiteX26" fmla="*/ 320453 w 600268"/>
                  <a:gd name="connsiteY26" fmla="*/ 46378 h 122498"/>
                  <a:gd name="connsiteX27" fmla="*/ 330882 w 600268"/>
                  <a:gd name="connsiteY27" fmla="*/ 57706 h 122498"/>
                  <a:gd name="connsiteX28" fmla="*/ 335647 w 600268"/>
                  <a:gd name="connsiteY28" fmla="*/ 75957 h 122498"/>
                  <a:gd name="connsiteX29" fmla="*/ 352669 w 600268"/>
                  <a:gd name="connsiteY29" fmla="*/ 107424 h 122498"/>
                  <a:gd name="connsiteX30" fmla="*/ 426721 w 600268"/>
                  <a:gd name="connsiteY30" fmla="*/ 122498 h 122498"/>
                  <a:gd name="connsiteX31" fmla="*/ 459806 w 600268"/>
                  <a:gd name="connsiteY31" fmla="*/ 119561 h 122498"/>
                  <a:gd name="connsiteX32" fmla="*/ 491303 w 600268"/>
                  <a:gd name="connsiteY32" fmla="*/ 102329 h 122498"/>
                  <a:gd name="connsiteX33" fmla="*/ 525767 w 600268"/>
                  <a:gd name="connsiteY33" fmla="*/ 30315 h 122498"/>
                  <a:gd name="connsiteX34" fmla="*/ 595983 w 600268"/>
                  <a:gd name="connsiteY34" fmla="*/ 47127 h 122498"/>
                  <a:gd name="connsiteX35" fmla="*/ 600269 w 600268"/>
                  <a:gd name="connsiteY35" fmla="*/ 35320 h 122498"/>
                  <a:gd name="connsiteX36" fmla="*/ 531791 w 600268"/>
                  <a:gd name="connsiteY36" fmla="*/ 18627 h 122498"/>
                  <a:gd name="connsiteX37" fmla="*/ 261235 w 600268"/>
                  <a:gd name="connsiteY37" fmla="*/ 61512 h 122498"/>
                  <a:gd name="connsiteX38" fmla="*/ 247390 w 600268"/>
                  <a:gd name="connsiteY38" fmla="*/ 99602 h 122498"/>
                  <a:gd name="connsiteX39" fmla="*/ 144688 w 600268"/>
                  <a:gd name="connsiteY39" fmla="*/ 111230 h 122498"/>
                  <a:gd name="connsiteX40" fmla="*/ 118435 w 600268"/>
                  <a:gd name="connsiteY40" fmla="*/ 97564 h 122498"/>
                  <a:gd name="connsiteX41" fmla="*/ 116308 w 600268"/>
                  <a:gd name="connsiteY41" fmla="*/ 93159 h 122498"/>
                  <a:gd name="connsiteX42" fmla="*/ 101533 w 600268"/>
                  <a:gd name="connsiteY42" fmla="*/ 58515 h 122498"/>
                  <a:gd name="connsiteX43" fmla="*/ 115648 w 600268"/>
                  <a:gd name="connsiteY43" fmla="*/ 21744 h 122498"/>
                  <a:gd name="connsiteX44" fmla="*/ 186254 w 600268"/>
                  <a:gd name="connsiteY44" fmla="*/ 7779 h 122498"/>
                  <a:gd name="connsiteX45" fmla="*/ 232136 w 600268"/>
                  <a:gd name="connsiteY45" fmla="*/ 14732 h 122498"/>
                  <a:gd name="connsiteX46" fmla="*/ 251286 w 600268"/>
                  <a:gd name="connsiteY46" fmla="*/ 25220 h 122498"/>
                  <a:gd name="connsiteX47" fmla="*/ 261235 w 600268"/>
                  <a:gd name="connsiteY47" fmla="*/ 61512 h 122498"/>
                  <a:gd name="connsiteX48" fmla="*/ 501702 w 600268"/>
                  <a:gd name="connsiteY48" fmla="*/ 59205 h 122498"/>
                  <a:gd name="connsiteX49" fmla="*/ 486928 w 600268"/>
                  <a:gd name="connsiteY49" fmla="*/ 93848 h 122498"/>
                  <a:gd name="connsiteX50" fmla="*/ 484800 w 600268"/>
                  <a:gd name="connsiteY50" fmla="*/ 98254 h 122498"/>
                  <a:gd name="connsiteX51" fmla="*/ 458548 w 600268"/>
                  <a:gd name="connsiteY51" fmla="*/ 111919 h 122498"/>
                  <a:gd name="connsiteX52" fmla="*/ 355846 w 600268"/>
                  <a:gd name="connsiteY52" fmla="*/ 100292 h 122498"/>
                  <a:gd name="connsiteX53" fmla="*/ 342000 w 600268"/>
                  <a:gd name="connsiteY53" fmla="*/ 62202 h 122498"/>
                  <a:gd name="connsiteX54" fmla="*/ 351980 w 600268"/>
                  <a:gd name="connsiteY54" fmla="*/ 25910 h 122498"/>
                  <a:gd name="connsiteX55" fmla="*/ 371130 w 600268"/>
                  <a:gd name="connsiteY55" fmla="*/ 15421 h 122498"/>
                  <a:gd name="connsiteX56" fmla="*/ 416981 w 600268"/>
                  <a:gd name="connsiteY56" fmla="*/ 8468 h 122498"/>
                  <a:gd name="connsiteX57" fmla="*/ 487587 w 600268"/>
                  <a:gd name="connsiteY57" fmla="*/ 22433 h 122498"/>
                  <a:gd name="connsiteX58" fmla="*/ 501702 w 600268"/>
                  <a:gd name="connsiteY58" fmla="*/ 59205 h 122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600268" h="122498">
                    <a:moveTo>
                      <a:pt x="531791" y="18627"/>
                    </a:moveTo>
                    <a:cubicBezTo>
                      <a:pt x="530592" y="18328"/>
                      <a:pt x="529423" y="17998"/>
                      <a:pt x="528224" y="17638"/>
                    </a:cubicBezTo>
                    <a:cubicBezTo>
                      <a:pt x="523999" y="16410"/>
                      <a:pt x="519803" y="15121"/>
                      <a:pt x="515368" y="14702"/>
                    </a:cubicBezTo>
                    <a:cubicBezTo>
                      <a:pt x="513900" y="14552"/>
                      <a:pt x="512431" y="14432"/>
                      <a:pt x="510963" y="14282"/>
                    </a:cubicBezTo>
                    <a:cubicBezTo>
                      <a:pt x="497567" y="12933"/>
                      <a:pt x="483631" y="11435"/>
                      <a:pt x="470535" y="8408"/>
                    </a:cubicBezTo>
                    <a:cubicBezTo>
                      <a:pt x="452884" y="4362"/>
                      <a:pt x="435022" y="377"/>
                      <a:pt x="416772" y="706"/>
                    </a:cubicBezTo>
                    <a:cubicBezTo>
                      <a:pt x="407871" y="856"/>
                      <a:pt x="380570" y="4272"/>
                      <a:pt x="368702" y="8019"/>
                    </a:cubicBezTo>
                    <a:cubicBezTo>
                      <a:pt x="356775" y="11795"/>
                      <a:pt x="345776" y="16679"/>
                      <a:pt x="333309" y="18867"/>
                    </a:cubicBezTo>
                    <a:cubicBezTo>
                      <a:pt x="320543" y="21115"/>
                      <a:pt x="307507" y="21744"/>
                      <a:pt x="294560" y="21205"/>
                    </a:cubicBezTo>
                    <a:cubicBezTo>
                      <a:pt x="285480" y="20815"/>
                      <a:pt x="276429" y="19826"/>
                      <a:pt x="267469" y="18238"/>
                    </a:cubicBezTo>
                    <a:cubicBezTo>
                      <a:pt x="255811" y="16170"/>
                      <a:pt x="245622" y="10896"/>
                      <a:pt x="234413" y="7329"/>
                    </a:cubicBezTo>
                    <a:cubicBezTo>
                      <a:pt x="222516" y="3553"/>
                      <a:pt x="195245" y="167"/>
                      <a:pt x="186344" y="17"/>
                    </a:cubicBezTo>
                    <a:cubicBezTo>
                      <a:pt x="160212" y="-433"/>
                      <a:pt x="135787" y="8168"/>
                      <a:pt x="110074" y="11525"/>
                    </a:cubicBezTo>
                    <a:cubicBezTo>
                      <a:pt x="99196" y="12933"/>
                      <a:pt x="88167" y="13982"/>
                      <a:pt x="77588" y="17099"/>
                    </a:cubicBezTo>
                    <a:cubicBezTo>
                      <a:pt x="73513" y="18298"/>
                      <a:pt x="67489" y="19736"/>
                      <a:pt x="63353" y="20695"/>
                    </a:cubicBezTo>
                    <a:lnTo>
                      <a:pt x="0" y="37388"/>
                    </a:lnTo>
                    <a:lnTo>
                      <a:pt x="5274" y="47937"/>
                    </a:lnTo>
                    <a:lnTo>
                      <a:pt x="77289" y="29686"/>
                    </a:lnTo>
                    <a:cubicBezTo>
                      <a:pt x="84151" y="52102"/>
                      <a:pt x="99346" y="83120"/>
                      <a:pt x="111752" y="101640"/>
                    </a:cubicBezTo>
                    <a:cubicBezTo>
                      <a:pt x="118256" y="114317"/>
                      <a:pt x="130393" y="116534"/>
                      <a:pt x="143249" y="118872"/>
                    </a:cubicBezTo>
                    <a:cubicBezTo>
                      <a:pt x="154158" y="120850"/>
                      <a:pt x="165246" y="121809"/>
                      <a:pt x="176334" y="121809"/>
                    </a:cubicBezTo>
                    <a:cubicBezTo>
                      <a:pt x="201778" y="121809"/>
                      <a:pt x="227251" y="116684"/>
                      <a:pt x="250387" y="106735"/>
                    </a:cubicBezTo>
                    <a:cubicBezTo>
                      <a:pt x="261535" y="101940"/>
                      <a:pt x="265281" y="87135"/>
                      <a:pt x="267199" y="76377"/>
                    </a:cubicBezTo>
                    <a:cubicBezTo>
                      <a:pt x="267619" y="74009"/>
                      <a:pt x="267978" y="71612"/>
                      <a:pt x="268248" y="69214"/>
                    </a:cubicBezTo>
                    <a:cubicBezTo>
                      <a:pt x="268847" y="64180"/>
                      <a:pt x="269956" y="59744"/>
                      <a:pt x="272713" y="55369"/>
                    </a:cubicBezTo>
                    <a:cubicBezTo>
                      <a:pt x="275051" y="51653"/>
                      <a:pt x="278108" y="47997"/>
                      <a:pt x="282303" y="46378"/>
                    </a:cubicBezTo>
                    <a:cubicBezTo>
                      <a:pt x="294051" y="41823"/>
                      <a:pt x="308496" y="41613"/>
                      <a:pt x="320453" y="46378"/>
                    </a:cubicBezTo>
                    <a:cubicBezTo>
                      <a:pt x="325428" y="48356"/>
                      <a:pt x="328574" y="53091"/>
                      <a:pt x="330882" y="57706"/>
                    </a:cubicBezTo>
                    <a:cubicBezTo>
                      <a:pt x="333729" y="63400"/>
                      <a:pt x="334628" y="69754"/>
                      <a:pt x="335647" y="75957"/>
                    </a:cubicBezTo>
                    <a:cubicBezTo>
                      <a:pt x="337505" y="87015"/>
                      <a:pt x="341161" y="102479"/>
                      <a:pt x="352669" y="107424"/>
                    </a:cubicBezTo>
                    <a:cubicBezTo>
                      <a:pt x="375805" y="117374"/>
                      <a:pt x="401278" y="122498"/>
                      <a:pt x="426721" y="122498"/>
                    </a:cubicBezTo>
                    <a:cubicBezTo>
                      <a:pt x="437810" y="122498"/>
                      <a:pt x="448928" y="121509"/>
                      <a:pt x="459806" y="119561"/>
                    </a:cubicBezTo>
                    <a:cubicBezTo>
                      <a:pt x="472663" y="117254"/>
                      <a:pt x="484800" y="115036"/>
                      <a:pt x="491303" y="102329"/>
                    </a:cubicBezTo>
                    <a:cubicBezTo>
                      <a:pt x="503710" y="83809"/>
                      <a:pt x="518904" y="52702"/>
                      <a:pt x="525767" y="30315"/>
                    </a:cubicBezTo>
                    <a:lnTo>
                      <a:pt x="595983" y="47127"/>
                    </a:lnTo>
                    <a:lnTo>
                      <a:pt x="600269" y="35320"/>
                    </a:lnTo>
                    <a:lnTo>
                      <a:pt x="531791" y="18627"/>
                    </a:lnTo>
                    <a:close/>
                    <a:moveTo>
                      <a:pt x="261235" y="61512"/>
                    </a:moveTo>
                    <a:cubicBezTo>
                      <a:pt x="259887" y="82221"/>
                      <a:pt x="254702" y="96456"/>
                      <a:pt x="247390" y="99602"/>
                    </a:cubicBezTo>
                    <a:cubicBezTo>
                      <a:pt x="215533" y="113298"/>
                      <a:pt x="179062" y="117434"/>
                      <a:pt x="144688" y="111230"/>
                    </a:cubicBezTo>
                    <a:cubicBezTo>
                      <a:pt x="132640" y="109042"/>
                      <a:pt x="123110" y="107334"/>
                      <a:pt x="118435" y="97564"/>
                    </a:cubicBezTo>
                    <a:lnTo>
                      <a:pt x="116308" y="93159"/>
                    </a:lnTo>
                    <a:cubicBezTo>
                      <a:pt x="110823" y="81831"/>
                      <a:pt x="105159" y="70113"/>
                      <a:pt x="101533" y="58515"/>
                    </a:cubicBezTo>
                    <a:cubicBezTo>
                      <a:pt x="94431" y="35949"/>
                      <a:pt x="93382" y="29116"/>
                      <a:pt x="115648" y="21744"/>
                    </a:cubicBezTo>
                    <a:cubicBezTo>
                      <a:pt x="146486" y="11555"/>
                      <a:pt x="163088" y="7389"/>
                      <a:pt x="186254" y="7779"/>
                    </a:cubicBezTo>
                    <a:cubicBezTo>
                      <a:pt x="195305" y="7929"/>
                      <a:pt x="221887" y="11495"/>
                      <a:pt x="232136" y="14732"/>
                    </a:cubicBezTo>
                    <a:cubicBezTo>
                      <a:pt x="243614" y="18358"/>
                      <a:pt x="248259" y="22074"/>
                      <a:pt x="251286" y="25220"/>
                    </a:cubicBezTo>
                    <a:cubicBezTo>
                      <a:pt x="262344" y="36758"/>
                      <a:pt x="262344" y="44700"/>
                      <a:pt x="261235" y="61512"/>
                    </a:cubicBezTo>
                    <a:close/>
                    <a:moveTo>
                      <a:pt x="501702" y="59205"/>
                    </a:moveTo>
                    <a:cubicBezTo>
                      <a:pt x="498046" y="70803"/>
                      <a:pt x="492382" y="82520"/>
                      <a:pt x="486928" y="93848"/>
                    </a:cubicBezTo>
                    <a:lnTo>
                      <a:pt x="484800" y="98254"/>
                    </a:lnTo>
                    <a:cubicBezTo>
                      <a:pt x="480095" y="108023"/>
                      <a:pt x="470595" y="109762"/>
                      <a:pt x="458548" y="111919"/>
                    </a:cubicBezTo>
                    <a:cubicBezTo>
                      <a:pt x="424144" y="118123"/>
                      <a:pt x="387672" y="114017"/>
                      <a:pt x="355846" y="100292"/>
                    </a:cubicBezTo>
                    <a:cubicBezTo>
                      <a:pt x="348533" y="97145"/>
                      <a:pt x="343349" y="82910"/>
                      <a:pt x="342000" y="62202"/>
                    </a:cubicBezTo>
                    <a:cubicBezTo>
                      <a:pt x="340891" y="45359"/>
                      <a:pt x="340891" y="37448"/>
                      <a:pt x="351980" y="25910"/>
                    </a:cubicBezTo>
                    <a:cubicBezTo>
                      <a:pt x="355007" y="22763"/>
                      <a:pt x="359652" y="19047"/>
                      <a:pt x="371130" y="15421"/>
                    </a:cubicBezTo>
                    <a:cubicBezTo>
                      <a:pt x="381379" y="12184"/>
                      <a:pt x="407961" y="8618"/>
                      <a:pt x="416981" y="8468"/>
                    </a:cubicBezTo>
                    <a:cubicBezTo>
                      <a:pt x="440147" y="8078"/>
                      <a:pt x="456780" y="12274"/>
                      <a:pt x="487587" y="22433"/>
                    </a:cubicBezTo>
                    <a:cubicBezTo>
                      <a:pt x="509854" y="29776"/>
                      <a:pt x="508805" y="36609"/>
                      <a:pt x="501702" y="59205"/>
                    </a:cubicBezTo>
                    <a:close/>
                  </a:path>
                </a:pathLst>
              </a:custGeom>
              <a:solidFill>
                <a:srgbClr val="4A403F"/>
              </a:solidFill>
              <a:ln w="298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grpSp>
            <p:nvGrpSpPr>
              <p:cNvPr id="375" name="Graphic 484">
                <a:extLst>
                  <a:ext uri="{FF2B5EF4-FFF2-40B4-BE49-F238E27FC236}">
                    <a16:creationId xmlns:a16="http://schemas.microsoft.com/office/drawing/2014/main" id="{3DDA76E9-1A4E-4616-BBCF-9A2B127CDECA}"/>
                  </a:ext>
                </a:extLst>
              </p:cNvPr>
              <p:cNvGrpSpPr/>
              <p:nvPr/>
            </p:nvGrpSpPr>
            <p:grpSpPr>
              <a:xfrm>
                <a:off x="1050114" y="2490790"/>
                <a:ext cx="361419" cy="470235"/>
                <a:chOff x="949346" y="2490790"/>
                <a:chExt cx="361419" cy="470235"/>
              </a:xfrm>
              <a:solidFill>
                <a:srgbClr val="C9F0FF"/>
              </a:solidFill>
            </p:grpSpPr>
            <p:sp>
              <p:nvSpPr>
                <p:cNvPr id="456" name="Freeform: Shape 455">
                  <a:extLst>
                    <a:ext uri="{FF2B5EF4-FFF2-40B4-BE49-F238E27FC236}">
                      <a16:creationId xmlns:a16="http://schemas.microsoft.com/office/drawing/2014/main" id="{13C80C54-6BCE-4577-B2B1-D0299B190B46}"/>
                    </a:ext>
                  </a:extLst>
                </p:cNvPr>
                <p:cNvSpPr/>
                <p:nvPr/>
              </p:nvSpPr>
              <p:spPr>
                <a:xfrm>
                  <a:off x="949346" y="2609310"/>
                  <a:ext cx="109924" cy="30213"/>
                </a:xfrm>
                <a:custGeom>
                  <a:avLst/>
                  <a:gdLst>
                    <a:gd name="connsiteX0" fmla="*/ 47560 w 109924"/>
                    <a:gd name="connsiteY0" fmla="*/ 245 h 30213"/>
                    <a:gd name="connsiteX1" fmla="*/ 0 w 109924"/>
                    <a:gd name="connsiteY1" fmla="*/ 22362 h 30213"/>
                    <a:gd name="connsiteX2" fmla="*/ 41986 w 109924"/>
                    <a:gd name="connsiteY2" fmla="*/ 9715 h 30213"/>
                    <a:gd name="connsiteX3" fmla="*/ 109924 w 109924"/>
                    <a:gd name="connsiteY3" fmla="*/ 30213 h 30213"/>
                    <a:gd name="connsiteX4" fmla="*/ 47560 w 109924"/>
                    <a:gd name="connsiteY4" fmla="*/ 245 h 302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924" h="30213">
                      <a:moveTo>
                        <a:pt x="47560" y="245"/>
                      </a:moveTo>
                      <a:cubicBezTo>
                        <a:pt x="27961" y="1773"/>
                        <a:pt x="10938" y="10254"/>
                        <a:pt x="0" y="22362"/>
                      </a:cubicBezTo>
                      <a:cubicBezTo>
                        <a:pt x="12167" y="15469"/>
                        <a:pt x="26462" y="10914"/>
                        <a:pt x="41986" y="9715"/>
                      </a:cubicBezTo>
                      <a:cubicBezTo>
                        <a:pt x="68688" y="7647"/>
                        <a:pt x="93202" y="15768"/>
                        <a:pt x="109924" y="30213"/>
                      </a:cubicBezTo>
                      <a:cubicBezTo>
                        <a:pt x="100155" y="10734"/>
                        <a:pt x="75521" y="-1943"/>
                        <a:pt x="47560" y="245"/>
                      </a:cubicBezTo>
                      <a:close/>
                    </a:path>
                  </a:pathLst>
                </a:custGeom>
                <a:solidFill>
                  <a:srgbClr val="94958B"/>
                </a:solidFill>
                <a:ln w="298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457" name="Freeform: Shape 456">
                  <a:extLst>
                    <a:ext uri="{FF2B5EF4-FFF2-40B4-BE49-F238E27FC236}">
                      <a16:creationId xmlns:a16="http://schemas.microsoft.com/office/drawing/2014/main" id="{FE60D545-CACB-442F-8D33-61DE994B35D8}"/>
                    </a:ext>
                  </a:extLst>
                </p:cNvPr>
                <p:cNvSpPr/>
                <p:nvPr/>
              </p:nvSpPr>
              <p:spPr>
                <a:xfrm>
                  <a:off x="1199283" y="2608012"/>
                  <a:ext cx="109924" cy="31541"/>
                </a:xfrm>
                <a:custGeom>
                  <a:avLst/>
                  <a:gdLst>
                    <a:gd name="connsiteX0" fmla="*/ 62364 w 109924"/>
                    <a:gd name="connsiteY0" fmla="*/ 255 h 31541"/>
                    <a:gd name="connsiteX1" fmla="*/ 0 w 109924"/>
                    <a:gd name="connsiteY1" fmla="*/ 31542 h 31541"/>
                    <a:gd name="connsiteX2" fmla="*/ 67939 w 109924"/>
                    <a:gd name="connsiteY2" fmla="*/ 10144 h 31541"/>
                    <a:gd name="connsiteX3" fmla="*/ 109924 w 109924"/>
                    <a:gd name="connsiteY3" fmla="*/ 23360 h 31541"/>
                    <a:gd name="connsiteX4" fmla="*/ 62364 w 109924"/>
                    <a:gd name="connsiteY4" fmla="*/ 255 h 315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924" h="31541">
                      <a:moveTo>
                        <a:pt x="62364" y="255"/>
                      </a:moveTo>
                      <a:cubicBezTo>
                        <a:pt x="34404" y="-2023"/>
                        <a:pt x="9770" y="11193"/>
                        <a:pt x="0" y="31542"/>
                      </a:cubicBezTo>
                      <a:cubicBezTo>
                        <a:pt x="16752" y="16467"/>
                        <a:pt x="41237" y="7956"/>
                        <a:pt x="67939" y="10144"/>
                      </a:cubicBezTo>
                      <a:cubicBezTo>
                        <a:pt x="83462" y="11403"/>
                        <a:pt x="97757" y="16168"/>
                        <a:pt x="109924" y="23360"/>
                      </a:cubicBezTo>
                      <a:cubicBezTo>
                        <a:pt x="98986" y="10714"/>
                        <a:pt x="81964" y="1843"/>
                        <a:pt x="62364" y="255"/>
                      </a:cubicBezTo>
                      <a:close/>
                    </a:path>
                  </a:pathLst>
                </a:custGeom>
                <a:solidFill>
                  <a:srgbClr val="94958B"/>
                </a:solidFill>
                <a:ln w="298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458" name="Freeform: Shape 457">
                  <a:extLst>
                    <a:ext uri="{FF2B5EF4-FFF2-40B4-BE49-F238E27FC236}">
                      <a16:creationId xmlns:a16="http://schemas.microsoft.com/office/drawing/2014/main" id="{10496407-9AD3-4389-819E-CC0057E3BCCD}"/>
                    </a:ext>
                  </a:extLst>
                </p:cNvPr>
                <p:cNvSpPr/>
                <p:nvPr/>
              </p:nvSpPr>
              <p:spPr>
                <a:xfrm>
                  <a:off x="1089470" y="2757689"/>
                  <a:ext cx="61234" cy="52185"/>
                </a:xfrm>
                <a:custGeom>
                  <a:avLst/>
                  <a:gdLst>
                    <a:gd name="connsiteX0" fmla="*/ 12296 w 61234"/>
                    <a:gd name="connsiteY0" fmla="*/ 32396 h 52185"/>
                    <a:gd name="connsiteX1" fmla="*/ 52663 w 61234"/>
                    <a:gd name="connsiteY1" fmla="*/ 0 h 52185"/>
                    <a:gd name="connsiteX2" fmla="*/ 46550 w 61234"/>
                    <a:gd name="connsiteY2" fmla="*/ 749 h 52185"/>
                    <a:gd name="connsiteX3" fmla="*/ 188 w 61234"/>
                    <a:gd name="connsiteY3" fmla="*/ 34494 h 52185"/>
                    <a:gd name="connsiteX4" fmla="*/ 55210 w 61234"/>
                    <a:gd name="connsiteY4" fmla="*/ 50677 h 52185"/>
                    <a:gd name="connsiteX5" fmla="*/ 61234 w 61234"/>
                    <a:gd name="connsiteY5" fmla="*/ 49328 h 52185"/>
                    <a:gd name="connsiteX6" fmla="*/ 12296 w 61234"/>
                    <a:gd name="connsiteY6" fmla="*/ 32396 h 52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234" h="52185">
                      <a:moveTo>
                        <a:pt x="12296" y="32396"/>
                      </a:moveTo>
                      <a:cubicBezTo>
                        <a:pt x="10078" y="19629"/>
                        <a:pt x="27789" y="5844"/>
                        <a:pt x="52663" y="0"/>
                      </a:cubicBezTo>
                      <a:cubicBezTo>
                        <a:pt x="50625" y="240"/>
                        <a:pt x="48617" y="390"/>
                        <a:pt x="46550" y="749"/>
                      </a:cubicBezTo>
                      <a:cubicBezTo>
                        <a:pt x="18559" y="5604"/>
                        <a:pt x="-2209" y="20708"/>
                        <a:pt x="188" y="34494"/>
                      </a:cubicBezTo>
                      <a:cubicBezTo>
                        <a:pt x="2586" y="48279"/>
                        <a:pt x="27220" y="55532"/>
                        <a:pt x="55210" y="50677"/>
                      </a:cubicBezTo>
                      <a:cubicBezTo>
                        <a:pt x="57278" y="50317"/>
                        <a:pt x="59226" y="49808"/>
                        <a:pt x="61234" y="49328"/>
                      </a:cubicBezTo>
                      <a:cubicBezTo>
                        <a:pt x="35851" y="52175"/>
                        <a:pt x="14513" y="45163"/>
                        <a:pt x="12296" y="32396"/>
                      </a:cubicBezTo>
                      <a:close/>
                    </a:path>
                  </a:pathLst>
                </a:custGeom>
                <a:solidFill>
                  <a:srgbClr val="CB7366"/>
                </a:solidFill>
                <a:ln w="298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459" name="Freeform: Shape 458">
                  <a:extLst>
                    <a:ext uri="{FF2B5EF4-FFF2-40B4-BE49-F238E27FC236}">
                      <a16:creationId xmlns:a16="http://schemas.microsoft.com/office/drawing/2014/main" id="{9CF84F35-BB01-4172-9C30-77FABB1AC235}"/>
                    </a:ext>
                  </a:extLst>
                </p:cNvPr>
                <p:cNvSpPr/>
                <p:nvPr/>
              </p:nvSpPr>
              <p:spPr>
                <a:xfrm>
                  <a:off x="1035026" y="2845107"/>
                  <a:ext cx="196023" cy="63383"/>
                </a:xfrm>
                <a:custGeom>
                  <a:avLst/>
                  <a:gdLst>
                    <a:gd name="connsiteX0" fmla="*/ 0 w 196023"/>
                    <a:gd name="connsiteY0" fmla="*/ 0 h 63383"/>
                    <a:gd name="connsiteX1" fmla="*/ 98027 w 196023"/>
                    <a:gd name="connsiteY1" fmla="*/ 63383 h 63383"/>
                    <a:gd name="connsiteX2" fmla="*/ 196024 w 196023"/>
                    <a:gd name="connsiteY2" fmla="*/ 0 h 63383"/>
                    <a:gd name="connsiteX3" fmla="*/ 98027 w 196023"/>
                    <a:gd name="connsiteY3" fmla="*/ 29639 h 63383"/>
                    <a:gd name="connsiteX4" fmla="*/ 0 w 196023"/>
                    <a:gd name="connsiteY4" fmla="*/ 0 h 633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023" h="63383">
                      <a:moveTo>
                        <a:pt x="0" y="0"/>
                      </a:moveTo>
                      <a:cubicBezTo>
                        <a:pt x="19869" y="37940"/>
                        <a:pt x="56341" y="63383"/>
                        <a:pt x="98027" y="63383"/>
                      </a:cubicBezTo>
                      <a:cubicBezTo>
                        <a:pt x="139713" y="63383"/>
                        <a:pt x="176155" y="37940"/>
                        <a:pt x="196024" y="0"/>
                      </a:cubicBezTo>
                      <a:cubicBezTo>
                        <a:pt x="168663" y="18610"/>
                        <a:pt x="134738" y="29639"/>
                        <a:pt x="98027" y="29639"/>
                      </a:cubicBezTo>
                      <a:cubicBezTo>
                        <a:pt x="61256" y="29639"/>
                        <a:pt x="27361" y="18610"/>
                        <a:pt x="0" y="0"/>
                      </a:cubicBezTo>
                      <a:close/>
                    </a:path>
                  </a:pathLst>
                </a:custGeom>
                <a:solidFill>
                  <a:srgbClr val="CB7366"/>
                </a:solidFill>
                <a:ln w="298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460" name="Freeform: Shape 459">
                  <a:extLst>
                    <a:ext uri="{FF2B5EF4-FFF2-40B4-BE49-F238E27FC236}">
                      <a16:creationId xmlns:a16="http://schemas.microsoft.com/office/drawing/2014/main" id="{39E1E66E-3850-4435-B81D-2C2EA3874390}"/>
                    </a:ext>
                  </a:extLst>
                </p:cNvPr>
                <p:cNvSpPr/>
                <p:nvPr/>
              </p:nvSpPr>
              <p:spPr>
                <a:xfrm>
                  <a:off x="1003432" y="2809894"/>
                  <a:ext cx="54040" cy="70096"/>
                </a:xfrm>
                <a:custGeom>
                  <a:avLst/>
                  <a:gdLst>
                    <a:gd name="connsiteX0" fmla="*/ 157 w 54040"/>
                    <a:gd name="connsiteY0" fmla="*/ 70096 h 70096"/>
                    <a:gd name="connsiteX1" fmla="*/ 427 w 54040"/>
                    <a:gd name="connsiteY1" fmla="*/ 58349 h 70096"/>
                    <a:gd name="connsiteX2" fmla="*/ 3034 w 54040"/>
                    <a:gd name="connsiteY2" fmla="*/ 46781 h 70096"/>
                    <a:gd name="connsiteX3" fmla="*/ 15291 w 54040"/>
                    <a:gd name="connsiteY3" fmla="*/ 26492 h 70096"/>
                    <a:gd name="connsiteX4" fmla="*/ 33752 w 54040"/>
                    <a:gd name="connsiteY4" fmla="*/ 11748 h 70096"/>
                    <a:gd name="connsiteX5" fmla="*/ 43851 w 54040"/>
                    <a:gd name="connsiteY5" fmla="*/ 5784 h 70096"/>
                    <a:gd name="connsiteX6" fmla="*/ 54041 w 54040"/>
                    <a:gd name="connsiteY6" fmla="*/ 0 h 70096"/>
                    <a:gd name="connsiteX7" fmla="*/ 34861 w 54040"/>
                    <a:gd name="connsiteY7" fmla="*/ 13456 h 70096"/>
                    <a:gd name="connsiteX8" fmla="*/ 17179 w 54040"/>
                    <a:gd name="connsiteY8" fmla="*/ 28290 h 70096"/>
                    <a:gd name="connsiteX9" fmla="*/ 4892 w 54040"/>
                    <a:gd name="connsiteY9" fmla="*/ 47470 h 70096"/>
                    <a:gd name="connsiteX10" fmla="*/ 157 w 54040"/>
                    <a:gd name="connsiteY10" fmla="*/ 70096 h 70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040" h="70096">
                      <a:moveTo>
                        <a:pt x="157" y="70096"/>
                      </a:moveTo>
                      <a:cubicBezTo>
                        <a:pt x="-142" y="66200"/>
                        <a:pt x="7" y="62245"/>
                        <a:pt x="427" y="58349"/>
                      </a:cubicBezTo>
                      <a:cubicBezTo>
                        <a:pt x="907" y="54423"/>
                        <a:pt x="1776" y="50557"/>
                        <a:pt x="3034" y="46781"/>
                      </a:cubicBezTo>
                      <a:cubicBezTo>
                        <a:pt x="5522" y="39229"/>
                        <a:pt x="9897" y="32306"/>
                        <a:pt x="15291" y="26492"/>
                      </a:cubicBezTo>
                      <a:cubicBezTo>
                        <a:pt x="20716" y="20678"/>
                        <a:pt x="27099" y="15883"/>
                        <a:pt x="33752" y="11748"/>
                      </a:cubicBezTo>
                      <a:cubicBezTo>
                        <a:pt x="37078" y="9680"/>
                        <a:pt x="40465" y="7702"/>
                        <a:pt x="43851" y="5784"/>
                      </a:cubicBezTo>
                      <a:cubicBezTo>
                        <a:pt x="47268" y="3896"/>
                        <a:pt x="50654" y="1978"/>
                        <a:pt x="54041" y="0"/>
                      </a:cubicBezTo>
                      <a:cubicBezTo>
                        <a:pt x="47897" y="4885"/>
                        <a:pt x="41214" y="8961"/>
                        <a:pt x="34861" y="13456"/>
                      </a:cubicBezTo>
                      <a:cubicBezTo>
                        <a:pt x="28537" y="17951"/>
                        <a:pt x="22394" y="22656"/>
                        <a:pt x="17179" y="28290"/>
                      </a:cubicBezTo>
                      <a:cubicBezTo>
                        <a:pt x="11935" y="33864"/>
                        <a:pt x="7739" y="40368"/>
                        <a:pt x="4892" y="47470"/>
                      </a:cubicBezTo>
                      <a:cubicBezTo>
                        <a:pt x="2075" y="54603"/>
                        <a:pt x="667" y="62305"/>
                        <a:pt x="157" y="70096"/>
                      </a:cubicBezTo>
                      <a:close/>
                    </a:path>
                  </a:pathLst>
                </a:custGeom>
                <a:solidFill>
                  <a:srgbClr val="CB7366"/>
                </a:solidFill>
                <a:ln w="298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461" name="Freeform: Shape 460">
                  <a:extLst>
                    <a:ext uri="{FF2B5EF4-FFF2-40B4-BE49-F238E27FC236}">
                      <a16:creationId xmlns:a16="http://schemas.microsoft.com/office/drawing/2014/main" id="{F068EC5E-4A29-47DB-B4C1-1517417B4B12}"/>
                    </a:ext>
                  </a:extLst>
                </p:cNvPr>
                <p:cNvSpPr/>
                <p:nvPr/>
              </p:nvSpPr>
              <p:spPr>
                <a:xfrm>
                  <a:off x="1199553" y="2804620"/>
                  <a:ext cx="54040" cy="70096"/>
                </a:xfrm>
                <a:custGeom>
                  <a:avLst/>
                  <a:gdLst>
                    <a:gd name="connsiteX0" fmla="*/ 53883 w 54040"/>
                    <a:gd name="connsiteY0" fmla="*/ 70096 h 70096"/>
                    <a:gd name="connsiteX1" fmla="*/ 53614 w 54040"/>
                    <a:gd name="connsiteY1" fmla="*/ 58349 h 70096"/>
                    <a:gd name="connsiteX2" fmla="*/ 51006 w 54040"/>
                    <a:gd name="connsiteY2" fmla="*/ 46781 h 70096"/>
                    <a:gd name="connsiteX3" fmla="*/ 38749 w 54040"/>
                    <a:gd name="connsiteY3" fmla="*/ 26492 h 70096"/>
                    <a:gd name="connsiteX4" fmla="*/ 20289 w 54040"/>
                    <a:gd name="connsiteY4" fmla="*/ 11748 h 70096"/>
                    <a:gd name="connsiteX5" fmla="*/ 10189 w 54040"/>
                    <a:gd name="connsiteY5" fmla="*/ 5784 h 70096"/>
                    <a:gd name="connsiteX6" fmla="*/ 0 w 54040"/>
                    <a:gd name="connsiteY6" fmla="*/ 0 h 70096"/>
                    <a:gd name="connsiteX7" fmla="*/ 19180 w 54040"/>
                    <a:gd name="connsiteY7" fmla="*/ 13456 h 70096"/>
                    <a:gd name="connsiteX8" fmla="*/ 36861 w 54040"/>
                    <a:gd name="connsiteY8" fmla="*/ 28290 h 70096"/>
                    <a:gd name="connsiteX9" fmla="*/ 49148 w 54040"/>
                    <a:gd name="connsiteY9" fmla="*/ 47470 h 70096"/>
                    <a:gd name="connsiteX10" fmla="*/ 53883 w 54040"/>
                    <a:gd name="connsiteY10" fmla="*/ 70096 h 70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040" h="70096">
                      <a:moveTo>
                        <a:pt x="53883" y="70096"/>
                      </a:moveTo>
                      <a:cubicBezTo>
                        <a:pt x="54183" y="66200"/>
                        <a:pt x="54033" y="62245"/>
                        <a:pt x="53614" y="58349"/>
                      </a:cubicBezTo>
                      <a:cubicBezTo>
                        <a:pt x="53134" y="54423"/>
                        <a:pt x="52265" y="50557"/>
                        <a:pt x="51006" y="46781"/>
                      </a:cubicBezTo>
                      <a:cubicBezTo>
                        <a:pt x="48519" y="39229"/>
                        <a:pt x="44144" y="32306"/>
                        <a:pt x="38749" y="26492"/>
                      </a:cubicBezTo>
                      <a:cubicBezTo>
                        <a:pt x="33325" y="20678"/>
                        <a:pt x="26942" y="15883"/>
                        <a:pt x="20289" y="11748"/>
                      </a:cubicBezTo>
                      <a:cubicBezTo>
                        <a:pt x="16962" y="9680"/>
                        <a:pt x="13576" y="7702"/>
                        <a:pt x="10189" y="5784"/>
                      </a:cubicBezTo>
                      <a:cubicBezTo>
                        <a:pt x="6773" y="3896"/>
                        <a:pt x="3386" y="1978"/>
                        <a:pt x="0" y="0"/>
                      </a:cubicBezTo>
                      <a:cubicBezTo>
                        <a:pt x="6144" y="4885"/>
                        <a:pt x="12827" y="8961"/>
                        <a:pt x="19180" y="13456"/>
                      </a:cubicBezTo>
                      <a:cubicBezTo>
                        <a:pt x="25503" y="17951"/>
                        <a:pt x="31647" y="22656"/>
                        <a:pt x="36861" y="28290"/>
                      </a:cubicBezTo>
                      <a:cubicBezTo>
                        <a:pt x="42106" y="33864"/>
                        <a:pt x="46301" y="40368"/>
                        <a:pt x="49148" y="47470"/>
                      </a:cubicBezTo>
                      <a:cubicBezTo>
                        <a:pt x="51965" y="54603"/>
                        <a:pt x="53374" y="62304"/>
                        <a:pt x="53883" y="70096"/>
                      </a:cubicBezTo>
                      <a:close/>
                    </a:path>
                  </a:pathLst>
                </a:custGeom>
                <a:solidFill>
                  <a:srgbClr val="CB7366"/>
                </a:solidFill>
                <a:ln w="298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462" name="Freeform: Shape 461">
                  <a:extLst>
                    <a:ext uri="{FF2B5EF4-FFF2-40B4-BE49-F238E27FC236}">
                      <a16:creationId xmlns:a16="http://schemas.microsoft.com/office/drawing/2014/main" id="{5947825E-314C-4726-BCC3-B27CC75FB78E}"/>
                    </a:ext>
                  </a:extLst>
                </p:cNvPr>
                <p:cNvSpPr/>
                <p:nvPr/>
              </p:nvSpPr>
              <p:spPr>
                <a:xfrm>
                  <a:off x="1024837" y="2537481"/>
                  <a:ext cx="247839" cy="41506"/>
                </a:xfrm>
                <a:custGeom>
                  <a:avLst/>
                  <a:gdLst>
                    <a:gd name="connsiteX0" fmla="*/ 0 w 247839"/>
                    <a:gd name="connsiteY0" fmla="*/ 18670 h 41506"/>
                    <a:gd name="connsiteX1" fmla="*/ 35033 w 247839"/>
                    <a:gd name="connsiteY1" fmla="*/ 30388 h 41506"/>
                    <a:gd name="connsiteX2" fmla="*/ 107587 w 247839"/>
                    <a:gd name="connsiteY2" fmla="*/ 38899 h 41506"/>
                    <a:gd name="connsiteX3" fmla="*/ 180111 w 247839"/>
                    <a:gd name="connsiteY3" fmla="*/ 30238 h 41506"/>
                    <a:gd name="connsiteX4" fmla="*/ 215114 w 247839"/>
                    <a:gd name="connsiteY4" fmla="*/ 18461 h 41506"/>
                    <a:gd name="connsiteX5" fmla="*/ 247839 w 247839"/>
                    <a:gd name="connsiteY5" fmla="*/ 0 h 41506"/>
                    <a:gd name="connsiteX6" fmla="*/ 180470 w 247839"/>
                    <a:gd name="connsiteY6" fmla="*/ 32186 h 41506"/>
                    <a:gd name="connsiteX7" fmla="*/ 107557 w 247839"/>
                    <a:gd name="connsiteY7" fmla="*/ 41506 h 41506"/>
                    <a:gd name="connsiteX8" fmla="*/ 34614 w 247839"/>
                    <a:gd name="connsiteY8" fmla="*/ 32336 h 41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839" h="41506">
                      <a:moveTo>
                        <a:pt x="0" y="18670"/>
                      </a:moveTo>
                      <a:cubicBezTo>
                        <a:pt x="11388" y="23615"/>
                        <a:pt x="23136" y="27451"/>
                        <a:pt x="35033" y="30388"/>
                      </a:cubicBezTo>
                      <a:cubicBezTo>
                        <a:pt x="58828" y="36262"/>
                        <a:pt x="83222" y="38989"/>
                        <a:pt x="107587" y="38899"/>
                      </a:cubicBezTo>
                      <a:cubicBezTo>
                        <a:pt x="131951" y="38959"/>
                        <a:pt x="156316" y="36172"/>
                        <a:pt x="180111" y="30238"/>
                      </a:cubicBezTo>
                      <a:cubicBezTo>
                        <a:pt x="192008" y="27271"/>
                        <a:pt x="203756" y="23405"/>
                        <a:pt x="215114" y="18461"/>
                      </a:cubicBezTo>
                      <a:cubicBezTo>
                        <a:pt x="226532" y="13576"/>
                        <a:pt x="237560" y="7492"/>
                        <a:pt x="247839" y="0"/>
                      </a:cubicBezTo>
                      <a:cubicBezTo>
                        <a:pt x="227700" y="15913"/>
                        <a:pt x="204265" y="25743"/>
                        <a:pt x="180470" y="32186"/>
                      </a:cubicBezTo>
                      <a:cubicBezTo>
                        <a:pt x="156585" y="38569"/>
                        <a:pt x="132041" y="41357"/>
                        <a:pt x="107557" y="41506"/>
                      </a:cubicBezTo>
                      <a:cubicBezTo>
                        <a:pt x="83073" y="41386"/>
                        <a:pt x="58498" y="38689"/>
                        <a:pt x="34614" y="32336"/>
                      </a:cubicBezTo>
                    </a:path>
                  </a:pathLst>
                </a:custGeom>
                <a:solidFill>
                  <a:srgbClr val="CB7366"/>
                </a:solidFill>
                <a:ln w="298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463" name="Freeform: Shape 462">
                  <a:extLst>
                    <a:ext uri="{FF2B5EF4-FFF2-40B4-BE49-F238E27FC236}">
                      <a16:creationId xmlns:a16="http://schemas.microsoft.com/office/drawing/2014/main" id="{26D1C148-1451-433C-9D2E-D349543CF097}"/>
                    </a:ext>
                  </a:extLst>
                </p:cNvPr>
                <p:cNvSpPr/>
                <p:nvPr/>
              </p:nvSpPr>
              <p:spPr>
                <a:xfrm>
                  <a:off x="1093614" y="2490790"/>
                  <a:ext cx="173547" cy="41506"/>
                </a:xfrm>
                <a:custGeom>
                  <a:avLst/>
                  <a:gdLst>
                    <a:gd name="connsiteX0" fmla="*/ 59368 w 173547"/>
                    <a:gd name="connsiteY0" fmla="*/ 38899 h 41506"/>
                    <a:gd name="connsiteX1" fmla="*/ 118406 w 173547"/>
                    <a:gd name="connsiteY1" fmla="*/ 30238 h 41506"/>
                    <a:gd name="connsiteX2" fmla="*/ 146906 w 173547"/>
                    <a:gd name="connsiteY2" fmla="*/ 18461 h 41506"/>
                    <a:gd name="connsiteX3" fmla="*/ 173547 w 173547"/>
                    <a:gd name="connsiteY3" fmla="*/ 0 h 41506"/>
                    <a:gd name="connsiteX4" fmla="*/ 118735 w 173547"/>
                    <a:gd name="connsiteY4" fmla="*/ 32186 h 41506"/>
                    <a:gd name="connsiteX5" fmla="*/ 59368 w 173547"/>
                    <a:gd name="connsiteY5" fmla="*/ 41506 h 41506"/>
                    <a:gd name="connsiteX6" fmla="*/ 0 w 173547"/>
                    <a:gd name="connsiteY6" fmla="*/ 32336 h 41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3547" h="41506">
                      <a:moveTo>
                        <a:pt x="59368" y="38899"/>
                      </a:moveTo>
                      <a:cubicBezTo>
                        <a:pt x="79177" y="38959"/>
                        <a:pt x="99046" y="36172"/>
                        <a:pt x="118406" y="30238"/>
                      </a:cubicBezTo>
                      <a:cubicBezTo>
                        <a:pt x="128085" y="27271"/>
                        <a:pt x="137645" y="23405"/>
                        <a:pt x="146906" y="18461"/>
                      </a:cubicBezTo>
                      <a:cubicBezTo>
                        <a:pt x="156196" y="13576"/>
                        <a:pt x="165156" y="7492"/>
                        <a:pt x="173547" y="0"/>
                      </a:cubicBezTo>
                      <a:cubicBezTo>
                        <a:pt x="157155" y="15913"/>
                        <a:pt x="138065" y="25743"/>
                        <a:pt x="118735" y="32186"/>
                      </a:cubicBezTo>
                      <a:cubicBezTo>
                        <a:pt x="99316" y="38569"/>
                        <a:pt x="79327" y="41357"/>
                        <a:pt x="59368" y="41506"/>
                      </a:cubicBezTo>
                      <a:cubicBezTo>
                        <a:pt x="39439" y="41386"/>
                        <a:pt x="19450" y="38689"/>
                        <a:pt x="0" y="32336"/>
                      </a:cubicBezTo>
                    </a:path>
                  </a:pathLst>
                </a:custGeom>
                <a:solidFill>
                  <a:srgbClr val="CB7366"/>
                </a:solidFill>
                <a:ln w="298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464" name="Freeform: Shape 463">
                  <a:extLst>
                    <a:ext uri="{FF2B5EF4-FFF2-40B4-BE49-F238E27FC236}">
                      <a16:creationId xmlns:a16="http://schemas.microsoft.com/office/drawing/2014/main" id="{8790F4C6-1F3F-4464-A5A1-224CDBF85C7D}"/>
                    </a:ext>
                  </a:extLst>
                </p:cNvPr>
                <p:cNvSpPr/>
                <p:nvPr/>
              </p:nvSpPr>
              <p:spPr>
                <a:xfrm>
                  <a:off x="1080188" y="2941425"/>
                  <a:ext cx="102312" cy="19599"/>
                </a:xfrm>
                <a:custGeom>
                  <a:avLst/>
                  <a:gdLst>
                    <a:gd name="connsiteX0" fmla="*/ 0 w 102312"/>
                    <a:gd name="connsiteY0" fmla="*/ 19600 h 19599"/>
                    <a:gd name="connsiteX1" fmla="*/ 10219 w 102312"/>
                    <a:gd name="connsiteY1" fmla="*/ 10040 h 19599"/>
                    <a:gd name="connsiteX2" fmla="*/ 23016 w 102312"/>
                    <a:gd name="connsiteY2" fmla="*/ 4136 h 19599"/>
                    <a:gd name="connsiteX3" fmla="*/ 50857 w 102312"/>
                    <a:gd name="connsiteY3" fmla="*/ 1 h 19599"/>
                    <a:gd name="connsiteX4" fmla="*/ 78637 w 102312"/>
                    <a:gd name="connsiteY4" fmla="*/ 4436 h 19599"/>
                    <a:gd name="connsiteX5" fmla="*/ 91494 w 102312"/>
                    <a:gd name="connsiteY5" fmla="*/ 10220 h 19599"/>
                    <a:gd name="connsiteX6" fmla="*/ 102312 w 102312"/>
                    <a:gd name="connsiteY6" fmla="*/ 19120 h 19599"/>
                    <a:gd name="connsiteX7" fmla="*/ 90864 w 102312"/>
                    <a:gd name="connsiteY7" fmla="*/ 11359 h 19599"/>
                    <a:gd name="connsiteX8" fmla="*/ 78038 w 102312"/>
                    <a:gd name="connsiteY8" fmla="*/ 6384 h 19599"/>
                    <a:gd name="connsiteX9" fmla="*/ 50827 w 102312"/>
                    <a:gd name="connsiteY9" fmla="*/ 2668 h 19599"/>
                    <a:gd name="connsiteX10" fmla="*/ 23615 w 102312"/>
                    <a:gd name="connsiteY10" fmla="*/ 6114 h 19599"/>
                    <a:gd name="connsiteX11" fmla="*/ 10879 w 102312"/>
                    <a:gd name="connsiteY11" fmla="*/ 11209 h 19599"/>
                    <a:gd name="connsiteX12" fmla="*/ 0 w 102312"/>
                    <a:gd name="connsiteY12" fmla="*/ 19600 h 19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2312" h="19599">
                      <a:moveTo>
                        <a:pt x="0" y="19600"/>
                      </a:moveTo>
                      <a:cubicBezTo>
                        <a:pt x="2607" y="15734"/>
                        <a:pt x="6263" y="12587"/>
                        <a:pt x="10219" y="10040"/>
                      </a:cubicBezTo>
                      <a:cubicBezTo>
                        <a:pt x="14205" y="7523"/>
                        <a:pt x="18550" y="5635"/>
                        <a:pt x="23016" y="4136"/>
                      </a:cubicBezTo>
                      <a:cubicBezTo>
                        <a:pt x="31976" y="1169"/>
                        <a:pt x="41446" y="-29"/>
                        <a:pt x="50857" y="1"/>
                      </a:cubicBezTo>
                      <a:cubicBezTo>
                        <a:pt x="60267" y="120"/>
                        <a:pt x="69707" y="1409"/>
                        <a:pt x="78637" y="4436"/>
                      </a:cubicBezTo>
                      <a:cubicBezTo>
                        <a:pt x="83103" y="5934"/>
                        <a:pt x="87448" y="7822"/>
                        <a:pt x="91494" y="10220"/>
                      </a:cubicBezTo>
                      <a:cubicBezTo>
                        <a:pt x="95480" y="12677"/>
                        <a:pt x="99286" y="15554"/>
                        <a:pt x="102312" y="19120"/>
                      </a:cubicBezTo>
                      <a:cubicBezTo>
                        <a:pt x="98866" y="16004"/>
                        <a:pt x="95000" y="13396"/>
                        <a:pt x="90864" y="11359"/>
                      </a:cubicBezTo>
                      <a:cubicBezTo>
                        <a:pt x="86789" y="9261"/>
                        <a:pt x="82473" y="7612"/>
                        <a:pt x="78038" y="6384"/>
                      </a:cubicBezTo>
                      <a:cubicBezTo>
                        <a:pt x="69197" y="3896"/>
                        <a:pt x="60027" y="2698"/>
                        <a:pt x="50827" y="2668"/>
                      </a:cubicBezTo>
                      <a:cubicBezTo>
                        <a:pt x="41656" y="2578"/>
                        <a:pt x="32456" y="3657"/>
                        <a:pt x="23615" y="6114"/>
                      </a:cubicBezTo>
                      <a:cubicBezTo>
                        <a:pt x="19210" y="7343"/>
                        <a:pt x="14894" y="8991"/>
                        <a:pt x="10879" y="11209"/>
                      </a:cubicBezTo>
                      <a:cubicBezTo>
                        <a:pt x="6803" y="13307"/>
                        <a:pt x="3087" y="16124"/>
                        <a:pt x="0" y="19600"/>
                      </a:cubicBezTo>
                      <a:close/>
                    </a:path>
                  </a:pathLst>
                </a:custGeom>
                <a:solidFill>
                  <a:srgbClr val="CB7366"/>
                </a:solidFill>
                <a:ln w="298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465" name="Freeform: Shape 464">
                  <a:extLst>
                    <a:ext uri="{FF2B5EF4-FFF2-40B4-BE49-F238E27FC236}">
                      <a16:creationId xmlns:a16="http://schemas.microsoft.com/office/drawing/2014/main" id="{E9FFA21C-0B4B-4348-AE6A-BCE2CED41CCF}"/>
                    </a:ext>
                  </a:extLst>
                </p:cNvPr>
                <p:cNvSpPr/>
                <p:nvPr/>
              </p:nvSpPr>
              <p:spPr>
                <a:xfrm>
                  <a:off x="952852" y="2677523"/>
                  <a:ext cx="103001" cy="46600"/>
                </a:xfrm>
                <a:custGeom>
                  <a:avLst/>
                  <a:gdLst>
                    <a:gd name="connsiteX0" fmla="*/ 68298 w 103001"/>
                    <a:gd name="connsiteY0" fmla="*/ 37580 h 46600"/>
                    <a:gd name="connsiteX1" fmla="*/ 68658 w 103001"/>
                    <a:gd name="connsiteY1" fmla="*/ 36382 h 46600"/>
                    <a:gd name="connsiteX2" fmla="*/ 66111 w 103001"/>
                    <a:gd name="connsiteY2" fmla="*/ 33235 h 46600"/>
                    <a:gd name="connsiteX3" fmla="*/ 68268 w 103001"/>
                    <a:gd name="connsiteY3" fmla="*/ 32905 h 46600"/>
                    <a:gd name="connsiteX4" fmla="*/ 103002 w 103001"/>
                    <a:gd name="connsiteY4" fmla="*/ 5934 h 46600"/>
                    <a:gd name="connsiteX5" fmla="*/ 71775 w 103001"/>
                    <a:gd name="connsiteY5" fmla="*/ 22357 h 46600"/>
                    <a:gd name="connsiteX6" fmla="*/ 35902 w 103001"/>
                    <a:gd name="connsiteY6" fmla="*/ 17741 h 46600"/>
                    <a:gd name="connsiteX7" fmla="*/ 35962 w 103001"/>
                    <a:gd name="connsiteY7" fmla="*/ 17442 h 46600"/>
                    <a:gd name="connsiteX8" fmla="*/ 34913 w 103001"/>
                    <a:gd name="connsiteY8" fmla="*/ 17262 h 46600"/>
                    <a:gd name="connsiteX9" fmla="*/ 19929 w 103001"/>
                    <a:gd name="connsiteY9" fmla="*/ 6593 h 46600"/>
                    <a:gd name="connsiteX10" fmla="*/ 15434 w 103001"/>
                    <a:gd name="connsiteY10" fmla="*/ 0 h 46600"/>
                    <a:gd name="connsiteX11" fmla="*/ 0 w 103001"/>
                    <a:gd name="connsiteY11" fmla="*/ 17382 h 46600"/>
                    <a:gd name="connsiteX12" fmla="*/ 20648 w 103001"/>
                    <a:gd name="connsiteY12" fmla="*/ 16902 h 46600"/>
                    <a:gd name="connsiteX13" fmla="*/ 17651 w 103001"/>
                    <a:gd name="connsiteY13" fmla="*/ 41446 h 46600"/>
                    <a:gd name="connsiteX14" fmla="*/ 29459 w 103001"/>
                    <a:gd name="connsiteY14" fmla="*/ 33864 h 46600"/>
                    <a:gd name="connsiteX15" fmla="*/ 58798 w 103001"/>
                    <a:gd name="connsiteY15" fmla="*/ 46601 h 46600"/>
                    <a:gd name="connsiteX16" fmla="*/ 58888 w 103001"/>
                    <a:gd name="connsiteY16" fmla="*/ 46601 h 46600"/>
                    <a:gd name="connsiteX17" fmla="*/ 96738 w 103001"/>
                    <a:gd name="connsiteY17" fmla="*/ 27511 h 46600"/>
                    <a:gd name="connsiteX18" fmla="*/ 92663 w 103001"/>
                    <a:gd name="connsiteY18" fmla="*/ 21727 h 46600"/>
                    <a:gd name="connsiteX19" fmla="*/ 68298 w 103001"/>
                    <a:gd name="connsiteY19" fmla="*/ 37580 h 46600"/>
                    <a:gd name="connsiteX20" fmla="*/ 33924 w 103001"/>
                    <a:gd name="connsiteY20" fmla="*/ 24934 h 46600"/>
                    <a:gd name="connsiteX21" fmla="*/ 49927 w 103001"/>
                    <a:gd name="connsiteY21" fmla="*/ 32516 h 46600"/>
                    <a:gd name="connsiteX22" fmla="*/ 45822 w 103001"/>
                    <a:gd name="connsiteY22" fmla="*/ 36322 h 46600"/>
                    <a:gd name="connsiteX23" fmla="*/ 32935 w 103001"/>
                    <a:gd name="connsiteY23" fmla="*/ 27451 h 46600"/>
                    <a:gd name="connsiteX24" fmla="*/ 33924 w 103001"/>
                    <a:gd name="connsiteY24" fmla="*/ 24934 h 46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03001" h="46600">
                      <a:moveTo>
                        <a:pt x="68298" y="37580"/>
                      </a:moveTo>
                      <a:cubicBezTo>
                        <a:pt x="68508" y="37191"/>
                        <a:pt x="68658" y="36801"/>
                        <a:pt x="68658" y="36382"/>
                      </a:cubicBezTo>
                      <a:cubicBezTo>
                        <a:pt x="68658" y="35183"/>
                        <a:pt x="67669" y="34074"/>
                        <a:pt x="66111" y="33235"/>
                      </a:cubicBezTo>
                      <a:cubicBezTo>
                        <a:pt x="66830" y="33115"/>
                        <a:pt x="67549" y="33055"/>
                        <a:pt x="68268" y="32905"/>
                      </a:cubicBezTo>
                      <a:cubicBezTo>
                        <a:pt x="83192" y="29968"/>
                        <a:pt x="95599" y="19689"/>
                        <a:pt x="103002" y="5934"/>
                      </a:cubicBezTo>
                      <a:cubicBezTo>
                        <a:pt x="94191" y="14145"/>
                        <a:pt x="83612" y="20019"/>
                        <a:pt x="71775" y="22357"/>
                      </a:cubicBezTo>
                      <a:cubicBezTo>
                        <a:pt x="59098" y="24844"/>
                        <a:pt x="46781" y="23016"/>
                        <a:pt x="35902" y="17741"/>
                      </a:cubicBezTo>
                      <a:cubicBezTo>
                        <a:pt x="35932" y="17651"/>
                        <a:pt x="35962" y="17532"/>
                        <a:pt x="35962" y="17442"/>
                      </a:cubicBezTo>
                      <a:cubicBezTo>
                        <a:pt x="35603" y="17412"/>
                        <a:pt x="35273" y="17292"/>
                        <a:pt x="34913" y="17262"/>
                      </a:cubicBezTo>
                      <a:cubicBezTo>
                        <a:pt x="29489" y="14505"/>
                        <a:pt x="24454" y="10938"/>
                        <a:pt x="19929" y="6593"/>
                      </a:cubicBezTo>
                      <a:cubicBezTo>
                        <a:pt x="18311" y="4495"/>
                        <a:pt x="16842" y="2248"/>
                        <a:pt x="15434" y="0"/>
                      </a:cubicBezTo>
                      <a:cubicBezTo>
                        <a:pt x="14085" y="11268"/>
                        <a:pt x="4645" y="11868"/>
                        <a:pt x="0" y="17382"/>
                      </a:cubicBezTo>
                      <a:cubicBezTo>
                        <a:pt x="5784" y="19869"/>
                        <a:pt x="13965" y="19090"/>
                        <a:pt x="20648" y="16902"/>
                      </a:cubicBezTo>
                      <a:cubicBezTo>
                        <a:pt x="22896" y="25084"/>
                        <a:pt x="21637" y="36651"/>
                        <a:pt x="17651" y="41446"/>
                      </a:cubicBezTo>
                      <a:cubicBezTo>
                        <a:pt x="22057" y="41656"/>
                        <a:pt x="26162" y="38659"/>
                        <a:pt x="29459" y="33864"/>
                      </a:cubicBezTo>
                      <a:cubicBezTo>
                        <a:pt x="37551" y="42106"/>
                        <a:pt x="47710" y="46601"/>
                        <a:pt x="58798" y="46601"/>
                      </a:cubicBezTo>
                      <a:cubicBezTo>
                        <a:pt x="58828" y="46601"/>
                        <a:pt x="58858" y="46601"/>
                        <a:pt x="58888" y="46601"/>
                      </a:cubicBezTo>
                      <a:cubicBezTo>
                        <a:pt x="72554" y="46571"/>
                        <a:pt x="86010" y="39798"/>
                        <a:pt x="96738" y="27511"/>
                      </a:cubicBezTo>
                      <a:lnTo>
                        <a:pt x="92663" y="21727"/>
                      </a:lnTo>
                      <a:cubicBezTo>
                        <a:pt x="85560" y="29849"/>
                        <a:pt x="77139" y="35273"/>
                        <a:pt x="68298" y="37580"/>
                      </a:cubicBezTo>
                      <a:close/>
                      <a:moveTo>
                        <a:pt x="33924" y="24934"/>
                      </a:moveTo>
                      <a:cubicBezTo>
                        <a:pt x="38749" y="28530"/>
                        <a:pt x="44144" y="31137"/>
                        <a:pt x="49927" y="32516"/>
                      </a:cubicBezTo>
                      <a:cubicBezTo>
                        <a:pt x="47470" y="33445"/>
                        <a:pt x="45882" y="34793"/>
                        <a:pt x="45822" y="36322"/>
                      </a:cubicBezTo>
                      <a:cubicBezTo>
                        <a:pt x="41087" y="34404"/>
                        <a:pt x="36741" y="31407"/>
                        <a:pt x="32935" y="27451"/>
                      </a:cubicBezTo>
                      <a:cubicBezTo>
                        <a:pt x="33265" y="26612"/>
                        <a:pt x="33595" y="25773"/>
                        <a:pt x="33924" y="24934"/>
                      </a:cubicBezTo>
                      <a:close/>
                    </a:path>
                  </a:pathLst>
                </a:custGeom>
                <a:solidFill>
                  <a:srgbClr val="612005"/>
                </a:solidFill>
                <a:ln w="298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466" name="Freeform: Shape 465">
                  <a:extLst>
                    <a:ext uri="{FF2B5EF4-FFF2-40B4-BE49-F238E27FC236}">
                      <a16:creationId xmlns:a16="http://schemas.microsoft.com/office/drawing/2014/main" id="{0B5CF6A2-001A-43E7-A19F-8CF1C42841F4}"/>
                    </a:ext>
                  </a:extLst>
                </p:cNvPr>
                <p:cNvSpPr/>
                <p:nvPr/>
              </p:nvSpPr>
              <p:spPr>
                <a:xfrm>
                  <a:off x="1207764" y="2676894"/>
                  <a:ext cx="103001" cy="46600"/>
                </a:xfrm>
                <a:custGeom>
                  <a:avLst/>
                  <a:gdLst>
                    <a:gd name="connsiteX0" fmla="*/ 103002 w 103001"/>
                    <a:gd name="connsiteY0" fmla="*/ 17382 h 46600"/>
                    <a:gd name="connsiteX1" fmla="*/ 87568 w 103001"/>
                    <a:gd name="connsiteY1" fmla="*/ 0 h 46600"/>
                    <a:gd name="connsiteX2" fmla="*/ 83103 w 103001"/>
                    <a:gd name="connsiteY2" fmla="*/ 6593 h 46600"/>
                    <a:gd name="connsiteX3" fmla="*/ 68088 w 103001"/>
                    <a:gd name="connsiteY3" fmla="*/ 17262 h 46600"/>
                    <a:gd name="connsiteX4" fmla="*/ 67039 w 103001"/>
                    <a:gd name="connsiteY4" fmla="*/ 17442 h 46600"/>
                    <a:gd name="connsiteX5" fmla="*/ 67099 w 103001"/>
                    <a:gd name="connsiteY5" fmla="*/ 17741 h 46600"/>
                    <a:gd name="connsiteX6" fmla="*/ 31227 w 103001"/>
                    <a:gd name="connsiteY6" fmla="*/ 22357 h 46600"/>
                    <a:gd name="connsiteX7" fmla="*/ 0 w 103001"/>
                    <a:gd name="connsiteY7" fmla="*/ 5964 h 46600"/>
                    <a:gd name="connsiteX8" fmla="*/ 32636 w 103001"/>
                    <a:gd name="connsiteY8" fmla="*/ 32366 h 46600"/>
                    <a:gd name="connsiteX9" fmla="*/ 28320 w 103001"/>
                    <a:gd name="connsiteY9" fmla="*/ 35303 h 46600"/>
                    <a:gd name="connsiteX10" fmla="*/ 10309 w 103001"/>
                    <a:gd name="connsiteY10" fmla="*/ 21727 h 46600"/>
                    <a:gd name="connsiteX11" fmla="*/ 6263 w 103001"/>
                    <a:gd name="connsiteY11" fmla="*/ 27511 h 46600"/>
                    <a:gd name="connsiteX12" fmla="*/ 44114 w 103001"/>
                    <a:gd name="connsiteY12" fmla="*/ 46601 h 46600"/>
                    <a:gd name="connsiteX13" fmla="*/ 44204 w 103001"/>
                    <a:gd name="connsiteY13" fmla="*/ 46601 h 46600"/>
                    <a:gd name="connsiteX14" fmla="*/ 73573 w 103001"/>
                    <a:gd name="connsiteY14" fmla="*/ 33864 h 46600"/>
                    <a:gd name="connsiteX15" fmla="*/ 85380 w 103001"/>
                    <a:gd name="connsiteY15" fmla="*/ 41446 h 46600"/>
                    <a:gd name="connsiteX16" fmla="*/ 82383 w 103001"/>
                    <a:gd name="connsiteY16" fmla="*/ 16902 h 46600"/>
                    <a:gd name="connsiteX17" fmla="*/ 103002 w 103001"/>
                    <a:gd name="connsiteY17" fmla="*/ 17382 h 46600"/>
                    <a:gd name="connsiteX18" fmla="*/ 50047 w 103001"/>
                    <a:gd name="connsiteY18" fmla="*/ 38270 h 46600"/>
                    <a:gd name="connsiteX19" fmla="*/ 50886 w 103001"/>
                    <a:gd name="connsiteY19" fmla="*/ 36382 h 46600"/>
                    <a:gd name="connsiteX20" fmla="*/ 48549 w 103001"/>
                    <a:gd name="connsiteY20" fmla="*/ 33355 h 46600"/>
                    <a:gd name="connsiteX21" fmla="*/ 69077 w 103001"/>
                    <a:gd name="connsiteY21" fmla="*/ 24934 h 46600"/>
                    <a:gd name="connsiteX22" fmla="*/ 70066 w 103001"/>
                    <a:gd name="connsiteY22" fmla="*/ 27451 h 46600"/>
                    <a:gd name="connsiteX23" fmla="*/ 50047 w 103001"/>
                    <a:gd name="connsiteY23" fmla="*/ 38270 h 46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03001" h="46600">
                      <a:moveTo>
                        <a:pt x="103002" y="17382"/>
                      </a:moveTo>
                      <a:cubicBezTo>
                        <a:pt x="98386" y="11868"/>
                        <a:pt x="88946" y="11268"/>
                        <a:pt x="87568" y="0"/>
                      </a:cubicBezTo>
                      <a:cubicBezTo>
                        <a:pt x="86189" y="2248"/>
                        <a:pt x="84691" y="4465"/>
                        <a:pt x="83103" y="6593"/>
                      </a:cubicBezTo>
                      <a:cubicBezTo>
                        <a:pt x="78577" y="10909"/>
                        <a:pt x="73513" y="14505"/>
                        <a:pt x="68088" y="17262"/>
                      </a:cubicBezTo>
                      <a:cubicBezTo>
                        <a:pt x="67729" y="17322"/>
                        <a:pt x="67399" y="17442"/>
                        <a:pt x="67039" y="17442"/>
                      </a:cubicBezTo>
                      <a:cubicBezTo>
                        <a:pt x="67069" y="17532"/>
                        <a:pt x="67099" y="17651"/>
                        <a:pt x="67099" y="17741"/>
                      </a:cubicBezTo>
                      <a:cubicBezTo>
                        <a:pt x="56221" y="22986"/>
                        <a:pt x="43904" y="24844"/>
                        <a:pt x="31227" y="22357"/>
                      </a:cubicBezTo>
                      <a:cubicBezTo>
                        <a:pt x="19420" y="20019"/>
                        <a:pt x="8811" y="14175"/>
                        <a:pt x="0" y="5964"/>
                      </a:cubicBezTo>
                      <a:cubicBezTo>
                        <a:pt x="7073" y="19060"/>
                        <a:pt x="18670" y="28920"/>
                        <a:pt x="32636" y="32366"/>
                      </a:cubicBezTo>
                      <a:cubicBezTo>
                        <a:pt x="30478" y="33085"/>
                        <a:pt x="28920" y="34104"/>
                        <a:pt x="28320" y="35303"/>
                      </a:cubicBezTo>
                      <a:cubicBezTo>
                        <a:pt x="21847" y="32426"/>
                        <a:pt x="15703" y="27871"/>
                        <a:pt x="10309" y="21727"/>
                      </a:cubicBezTo>
                      <a:lnTo>
                        <a:pt x="6263" y="27511"/>
                      </a:lnTo>
                      <a:cubicBezTo>
                        <a:pt x="16992" y="39798"/>
                        <a:pt x="30448" y="46571"/>
                        <a:pt x="44114" y="46601"/>
                      </a:cubicBezTo>
                      <a:cubicBezTo>
                        <a:pt x="44144" y="46601"/>
                        <a:pt x="44174" y="46601"/>
                        <a:pt x="44204" y="46601"/>
                      </a:cubicBezTo>
                      <a:cubicBezTo>
                        <a:pt x="55322" y="46601"/>
                        <a:pt x="65451" y="42076"/>
                        <a:pt x="73573" y="33864"/>
                      </a:cubicBezTo>
                      <a:cubicBezTo>
                        <a:pt x="76869" y="38659"/>
                        <a:pt x="80975" y="41656"/>
                        <a:pt x="85380" y="41446"/>
                      </a:cubicBezTo>
                      <a:cubicBezTo>
                        <a:pt x="81394" y="36651"/>
                        <a:pt x="80106" y="25054"/>
                        <a:pt x="82383" y="16902"/>
                      </a:cubicBezTo>
                      <a:cubicBezTo>
                        <a:pt x="89036" y="19090"/>
                        <a:pt x="97218" y="19869"/>
                        <a:pt x="103002" y="17382"/>
                      </a:cubicBezTo>
                      <a:close/>
                      <a:moveTo>
                        <a:pt x="50047" y="38270"/>
                      </a:moveTo>
                      <a:cubicBezTo>
                        <a:pt x="50587" y="37700"/>
                        <a:pt x="50886" y="37041"/>
                        <a:pt x="50886" y="36382"/>
                      </a:cubicBezTo>
                      <a:cubicBezTo>
                        <a:pt x="50886" y="35243"/>
                        <a:pt x="49987" y="34194"/>
                        <a:pt x="48549" y="33355"/>
                      </a:cubicBezTo>
                      <a:cubicBezTo>
                        <a:pt x="56041" y="32396"/>
                        <a:pt x="63024" y="29459"/>
                        <a:pt x="69077" y="24934"/>
                      </a:cubicBezTo>
                      <a:cubicBezTo>
                        <a:pt x="69377" y="25803"/>
                        <a:pt x="69707" y="26642"/>
                        <a:pt x="70066" y="27451"/>
                      </a:cubicBezTo>
                      <a:cubicBezTo>
                        <a:pt x="64432" y="33295"/>
                        <a:pt x="57599" y="37011"/>
                        <a:pt x="50047" y="38270"/>
                      </a:cubicBezTo>
                      <a:close/>
                    </a:path>
                  </a:pathLst>
                </a:custGeom>
                <a:solidFill>
                  <a:srgbClr val="612005"/>
                </a:solidFill>
                <a:ln w="298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grpSp>
          <p:sp>
            <p:nvSpPr>
              <p:cNvPr id="376" name="Freeform: Shape 375">
                <a:extLst>
                  <a:ext uri="{FF2B5EF4-FFF2-40B4-BE49-F238E27FC236}">
                    <a16:creationId xmlns:a16="http://schemas.microsoft.com/office/drawing/2014/main" id="{C49EF5CE-DFAF-4909-8B15-DAF88B005FB8}"/>
                  </a:ext>
                </a:extLst>
              </p:cNvPr>
              <p:cNvSpPr/>
              <p:nvPr/>
            </p:nvSpPr>
            <p:spPr>
              <a:xfrm>
                <a:off x="941658" y="4671476"/>
                <a:ext cx="277478" cy="149872"/>
              </a:xfrm>
              <a:custGeom>
                <a:avLst/>
                <a:gdLst>
                  <a:gd name="connsiteX0" fmla="*/ 277478 w 277478"/>
                  <a:gd name="connsiteY0" fmla="*/ 132940 h 149872"/>
                  <a:gd name="connsiteX1" fmla="*/ 276339 w 277478"/>
                  <a:gd name="connsiteY1" fmla="*/ 149872 h 149872"/>
                  <a:gd name="connsiteX2" fmla="*/ 1139 w 277478"/>
                  <a:gd name="connsiteY2" fmla="*/ 149872 h 149872"/>
                  <a:gd name="connsiteX3" fmla="*/ 0 w 277478"/>
                  <a:gd name="connsiteY3" fmla="*/ 132940 h 149872"/>
                  <a:gd name="connsiteX4" fmla="*/ 210 w 277478"/>
                  <a:gd name="connsiteY4" fmla="*/ 125418 h 149872"/>
                  <a:gd name="connsiteX5" fmla="*/ 210 w 277478"/>
                  <a:gd name="connsiteY5" fmla="*/ 125328 h 149872"/>
                  <a:gd name="connsiteX6" fmla="*/ 32516 w 277478"/>
                  <a:gd name="connsiteY6" fmla="*/ 34464 h 149872"/>
                  <a:gd name="connsiteX7" fmla="*/ 45492 w 277478"/>
                  <a:gd name="connsiteY7" fmla="*/ 25084 h 149872"/>
                  <a:gd name="connsiteX8" fmla="*/ 138724 w 277478"/>
                  <a:gd name="connsiteY8" fmla="*/ 0 h 149872"/>
                  <a:gd name="connsiteX9" fmla="*/ 230158 w 277478"/>
                  <a:gd name="connsiteY9" fmla="*/ 23915 h 149872"/>
                  <a:gd name="connsiteX10" fmla="*/ 243134 w 277478"/>
                  <a:gd name="connsiteY10" fmla="*/ 32995 h 149872"/>
                  <a:gd name="connsiteX11" fmla="*/ 277238 w 277478"/>
                  <a:gd name="connsiteY11" fmla="*/ 125328 h 149872"/>
                  <a:gd name="connsiteX12" fmla="*/ 277238 w 277478"/>
                  <a:gd name="connsiteY12" fmla="*/ 125418 h 149872"/>
                  <a:gd name="connsiteX13" fmla="*/ 277478 w 277478"/>
                  <a:gd name="connsiteY13" fmla="*/ 132940 h 14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7478" h="149872">
                    <a:moveTo>
                      <a:pt x="277478" y="132940"/>
                    </a:moveTo>
                    <a:cubicBezTo>
                      <a:pt x="277478" y="138694"/>
                      <a:pt x="277089" y="144358"/>
                      <a:pt x="276339" y="149872"/>
                    </a:cubicBezTo>
                    <a:lnTo>
                      <a:pt x="1139" y="149872"/>
                    </a:lnTo>
                    <a:cubicBezTo>
                      <a:pt x="390" y="144328"/>
                      <a:pt x="0" y="138664"/>
                      <a:pt x="0" y="132940"/>
                    </a:cubicBezTo>
                    <a:cubicBezTo>
                      <a:pt x="0" y="130423"/>
                      <a:pt x="30" y="127875"/>
                      <a:pt x="210" y="125418"/>
                    </a:cubicBezTo>
                    <a:cubicBezTo>
                      <a:pt x="210" y="125388"/>
                      <a:pt x="210" y="125388"/>
                      <a:pt x="210" y="125328"/>
                    </a:cubicBezTo>
                    <a:cubicBezTo>
                      <a:pt x="2338" y="89366"/>
                      <a:pt x="6383" y="57210"/>
                      <a:pt x="32516" y="34464"/>
                    </a:cubicBezTo>
                    <a:cubicBezTo>
                      <a:pt x="36352" y="31137"/>
                      <a:pt x="40727" y="27991"/>
                      <a:pt x="45492" y="25084"/>
                    </a:cubicBezTo>
                    <a:cubicBezTo>
                      <a:pt x="71205" y="9350"/>
                      <a:pt x="108486" y="0"/>
                      <a:pt x="138724" y="0"/>
                    </a:cubicBezTo>
                    <a:cubicBezTo>
                      <a:pt x="168243" y="0"/>
                      <a:pt x="204835" y="8871"/>
                      <a:pt x="230158" y="23915"/>
                    </a:cubicBezTo>
                    <a:cubicBezTo>
                      <a:pt x="234923" y="26732"/>
                      <a:pt x="239268" y="29759"/>
                      <a:pt x="243134" y="32995"/>
                    </a:cubicBezTo>
                    <a:cubicBezTo>
                      <a:pt x="270286" y="55771"/>
                      <a:pt x="275081" y="88557"/>
                      <a:pt x="277238" y="125328"/>
                    </a:cubicBezTo>
                    <a:cubicBezTo>
                      <a:pt x="277238" y="125358"/>
                      <a:pt x="277238" y="125358"/>
                      <a:pt x="277238" y="125418"/>
                    </a:cubicBezTo>
                    <a:cubicBezTo>
                      <a:pt x="277418" y="127875"/>
                      <a:pt x="277478" y="130423"/>
                      <a:pt x="277478" y="132940"/>
                    </a:cubicBezTo>
                    <a:close/>
                  </a:path>
                </a:pathLst>
              </a:custGeom>
              <a:solidFill>
                <a:srgbClr val="946846"/>
              </a:solidFill>
              <a:ln w="298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377" name="Freeform: Shape 376">
                <a:extLst>
                  <a:ext uri="{FF2B5EF4-FFF2-40B4-BE49-F238E27FC236}">
                    <a16:creationId xmlns:a16="http://schemas.microsoft.com/office/drawing/2014/main" id="{69F6A42F-C19E-47CD-8E18-9540A5A37497}"/>
                  </a:ext>
                </a:extLst>
              </p:cNvPr>
              <p:cNvSpPr/>
              <p:nvPr/>
            </p:nvSpPr>
            <p:spPr>
              <a:xfrm>
                <a:off x="987150" y="4671476"/>
                <a:ext cx="184725" cy="80814"/>
              </a:xfrm>
              <a:custGeom>
                <a:avLst/>
                <a:gdLst>
                  <a:gd name="connsiteX0" fmla="*/ 184726 w 184725"/>
                  <a:gd name="connsiteY0" fmla="*/ 26762 h 80814"/>
                  <a:gd name="connsiteX1" fmla="*/ 184606 w 184725"/>
                  <a:gd name="connsiteY1" fmla="*/ 36022 h 80814"/>
                  <a:gd name="connsiteX2" fmla="*/ 92393 w 184725"/>
                  <a:gd name="connsiteY2" fmla="*/ 59158 h 80814"/>
                  <a:gd name="connsiteX3" fmla="*/ 180 w 184725"/>
                  <a:gd name="connsiteY3" fmla="*/ 36022 h 80814"/>
                  <a:gd name="connsiteX4" fmla="*/ 0 w 184725"/>
                  <a:gd name="connsiteY4" fmla="*/ 26762 h 80814"/>
                  <a:gd name="connsiteX5" fmla="*/ 0 w 184725"/>
                  <a:gd name="connsiteY5" fmla="*/ 25084 h 80814"/>
                  <a:gd name="connsiteX6" fmla="*/ 93232 w 184725"/>
                  <a:gd name="connsiteY6" fmla="*/ 0 h 80814"/>
                  <a:gd name="connsiteX7" fmla="*/ 184666 w 184725"/>
                  <a:gd name="connsiteY7" fmla="*/ 23915 h 80814"/>
                  <a:gd name="connsiteX8" fmla="*/ 184726 w 184725"/>
                  <a:gd name="connsiteY8" fmla="*/ 26762 h 80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4725" h="80814">
                    <a:moveTo>
                      <a:pt x="184726" y="26762"/>
                    </a:moveTo>
                    <a:cubicBezTo>
                      <a:pt x="184726" y="29879"/>
                      <a:pt x="184696" y="32935"/>
                      <a:pt x="184606" y="36022"/>
                    </a:cubicBezTo>
                    <a:cubicBezTo>
                      <a:pt x="181849" y="120833"/>
                      <a:pt x="171600" y="59158"/>
                      <a:pt x="92393" y="59158"/>
                    </a:cubicBezTo>
                    <a:cubicBezTo>
                      <a:pt x="17232" y="59158"/>
                      <a:pt x="2967" y="120833"/>
                      <a:pt x="180" y="36022"/>
                    </a:cubicBezTo>
                    <a:cubicBezTo>
                      <a:pt x="60" y="32965"/>
                      <a:pt x="0" y="29879"/>
                      <a:pt x="0" y="26762"/>
                    </a:cubicBezTo>
                    <a:lnTo>
                      <a:pt x="0" y="25084"/>
                    </a:lnTo>
                    <a:cubicBezTo>
                      <a:pt x="25713" y="9350"/>
                      <a:pt x="62994" y="0"/>
                      <a:pt x="93232" y="0"/>
                    </a:cubicBezTo>
                    <a:cubicBezTo>
                      <a:pt x="122751" y="0"/>
                      <a:pt x="159342" y="8871"/>
                      <a:pt x="184666" y="23915"/>
                    </a:cubicBezTo>
                    <a:cubicBezTo>
                      <a:pt x="184726" y="25263"/>
                      <a:pt x="184726" y="26192"/>
                      <a:pt x="184726" y="26762"/>
                    </a:cubicBezTo>
                    <a:close/>
                  </a:path>
                </a:pathLst>
              </a:custGeom>
              <a:solidFill>
                <a:srgbClr val="FFFFFF">
                  <a:alpha val="25000"/>
                </a:srgbClr>
              </a:solidFill>
              <a:ln w="298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378" name="Freeform: Shape 377">
                <a:extLst>
                  <a:ext uri="{FF2B5EF4-FFF2-40B4-BE49-F238E27FC236}">
                    <a16:creationId xmlns:a16="http://schemas.microsoft.com/office/drawing/2014/main" id="{37E2EB47-C7C9-4ECE-A799-7AAF64B2965E}"/>
                  </a:ext>
                </a:extLst>
              </p:cNvPr>
              <p:cNvSpPr/>
              <p:nvPr/>
            </p:nvSpPr>
            <p:spPr>
              <a:xfrm>
                <a:off x="937762" y="4796804"/>
                <a:ext cx="285299" cy="24574"/>
              </a:xfrm>
              <a:custGeom>
                <a:avLst/>
                <a:gdLst>
                  <a:gd name="connsiteX0" fmla="*/ 285300 w 285299"/>
                  <a:gd name="connsiteY0" fmla="*/ 5844 h 24574"/>
                  <a:gd name="connsiteX1" fmla="*/ 285300 w 285299"/>
                  <a:gd name="connsiteY1" fmla="*/ 18731 h 24574"/>
                  <a:gd name="connsiteX2" fmla="*/ 280505 w 285299"/>
                  <a:gd name="connsiteY2" fmla="*/ 24574 h 24574"/>
                  <a:gd name="connsiteX3" fmla="*/ 4795 w 285299"/>
                  <a:gd name="connsiteY3" fmla="*/ 24574 h 24574"/>
                  <a:gd name="connsiteX4" fmla="*/ 0 w 285299"/>
                  <a:gd name="connsiteY4" fmla="*/ 18731 h 24574"/>
                  <a:gd name="connsiteX5" fmla="*/ 0 w 285299"/>
                  <a:gd name="connsiteY5" fmla="*/ 5844 h 24574"/>
                  <a:gd name="connsiteX6" fmla="*/ 4795 w 285299"/>
                  <a:gd name="connsiteY6" fmla="*/ 0 h 24574"/>
                  <a:gd name="connsiteX7" fmla="*/ 280505 w 285299"/>
                  <a:gd name="connsiteY7" fmla="*/ 0 h 24574"/>
                  <a:gd name="connsiteX8" fmla="*/ 285300 w 285299"/>
                  <a:gd name="connsiteY8" fmla="*/ 5844 h 24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5299" h="24574">
                    <a:moveTo>
                      <a:pt x="285300" y="5844"/>
                    </a:moveTo>
                    <a:lnTo>
                      <a:pt x="285300" y="18731"/>
                    </a:lnTo>
                    <a:cubicBezTo>
                      <a:pt x="285300" y="21967"/>
                      <a:pt x="283142" y="24574"/>
                      <a:pt x="280505" y="24574"/>
                    </a:cubicBezTo>
                    <a:lnTo>
                      <a:pt x="4795" y="24574"/>
                    </a:lnTo>
                    <a:cubicBezTo>
                      <a:pt x="2128" y="24574"/>
                      <a:pt x="0" y="21967"/>
                      <a:pt x="0" y="18731"/>
                    </a:cubicBezTo>
                    <a:lnTo>
                      <a:pt x="0" y="5844"/>
                    </a:lnTo>
                    <a:cubicBezTo>
                      <a:pt x="0" y="2607"/>
                      <a:pt x="2158" y="0"/>
                      <a:pt x="4795" y="0"/>
                    </a:cubicBezTo>
                    <a:lnTo>
                      <a:pt x="280505" y="0"/>
                    </a:lnTo>
                    <a:cubicBezTo>
                      <a:pt x="283142" y="-30"/>
                      <a:pt x="285300" y="2607"/>
                      <a:pt x="285300" y="5844"/>
                    </a:cubicBezTo>
                    <a:close/>
                  </a:path>
                </a:pathLst>
              </a:custGeom>
              <a:solidFill>
                <a:srgbClr val="593A25"/>
              </a:solidFill>
              <a:ln w="298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379" name="Freeform: Shape 378">
                <a:extLst>
                  <a:ext uri="{FF2B5EF4-FFF2-40B4-BE49-F238E27FC236}">
                    <a16:creationId xmlns:a16="http://schemas.microsoft.com/office/drawing/2014/main" id="{82B4C417-B164-49CB-AA8A-C7D5F94E4314}"/>
                  </a:ext>
                </a:extLst>
              </p:cNvPr>
              <p:cNvSpPr/>
              <p:nvPr/>
            </p:nvSpPr>
            <p:spPr>
              <a:xfrm>
                <a:off x="1242961" y="4671476"/>
                <a:ext cx="277478" cy="149872"/>
              </a:xfrm>
              <a:custGeom>
                <a:avLst/>
                <a:gdLst>
                  <a:gd name="connsiteX0" fmla="*/ 277478 w 277478"/>
                  <a:gd name="connsiteY0" fmla="*/ 132940 h 149872"/>
                  <a:gd name="connsiteX1" fmla="*/ 276339 w 277478"/>
                  <a:gd name="connsiteY1" fmla="*/ 149872 h 149872"/>
                  <a:gd name="connsiteX2" fmla="*/ 1139 w 277478"/>
                  <a:gd name="connsiteY2" fmla="*/ 149872 h 149872"/>
                  <a:gd name="connsiteX3" fmla="*/ 0 w 277478"/>
                  <a:gd name="connsiteY3" fmla="*/ 132940 h 149872"/>
                  <a:gd name="connsiteX4" fmla="*/ 210 w 277478"/>
                  <a:gd name="connsiteY4" fmla="*/ 125418 h 149872"/>
                  <a:gd name="connsiteX5" fmla="*/ 210 w 277478"/>
                  <a:gd name="connsiteY5" fmla="*/ 125328 h 149872"/>
                  <a:gd name="connsiteX6" fmla="*/ 32516 w 277478"/>
                  <a:gd name="connsiteY6" fmla="*/ 34464 h 149872"/>
                  <a:gd name="connsiteX7" fmla="*/ 45492 w 277478"/>
                  <a:gd name="connsiteY7" fmla="*/ 25084 h 149872"/>
                  <a:gd name="connsiteX8" fmla="*/ 138724 w 277478"/>
                  <a:gd name="connsiteY8" fmla="*/ 0 h 149872"/>
                  <a:gd name="connsiteX9" fmla="*/ 230158 w 277478"/>
                  <a:gd name="connsiteY9" fmla="*/ 23915 h 149872"/>
                  <a:gd name="connsiteX10" fmla="*/ 243134 w 277478"/>
                  <a:gd name="connsiteY10" fmla="*/ 32995 h 149872"/>
                  <a:gd name="connsiteX11" fmla="*/ 277238 w 277478"/>
                  <a:gd name="connsiteY11" fmla="*/ 125328 h 149872"/>
                  <a:gd name="connsiteX12" fmla="*/ 277238 w 277478"/>
                  <a:gd name="connsiteY12" fmla="*/ 125418 h 149872"/>
                  <a:gd name="connsiteX13" fmla="*/ 277478 w 277478"/>
                  <a:gd name="connsiteY13" fmla="*/ 132940 h 14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7478" h="149872">
                    <a:moveTo>
                      <a:pt x="277478" y="132940"/>
                    </a:moveTo>
                    <a:cubicBezTo>
                      <a:pt x="277478" y="138694"/>
                      <a:pt x="277089" y="144358"/>
                      <a:pt x="276339" y="149872"/>
                    </a:cubicBezTo>
                    <a:lnTo>
                      <a:pt x="1139" y="149872"/>
                    </a:lnTo>
                    <a:cubicBezTo>
                      <a:pt x="390" y="144328"/>
                      <a:pt x="0" y="138664"/>
                      <a:pt x="0" y="132940"/>
                    </a:cubicBezTo>
                    <a:cubicBezTo>
                      <a:pt x="0" y="130423"/>
                      <a:pt x="30" y="127875"/>
                      <a:pt x="210" y="125418"/>
                    </a:cubicBezTo>
                    <a:cubicBezTo>
                      <a:pt x="210" y="125388"/>
                      <a:pt x="210" y="125388"/>
                      <a:pt x="210" y="125328"/>
                    </a:cubicBezTo>
                    <a:cubicBezTo>
                      <a:pt x="2338" y="89366"/>
                      <a:pt x="6383" y="57210"/>
                      <a:pt x="32516" y="34464"/>
                    </a:cubicBezTo>
                    <a:cubicBezTo>
                      <a:pt x="36352" y="31137"/>
                      <a:pt x="40727" y="27991"/>
                      <a:pt x="45492" y="25084"/>
                    </a:cubicBezTo>
                    <a:cubicBezTo>
                      <a:pt x="71205" y="9350"/>
                      <a:pt x="108486" y="0"/>
                      <a:pt x="138724" y="0"/>
                    </a:cubicBezTo>
                    <a:cubicBezTo>
                      <a:pt x="168243" y="0"/>
                      <a:pt x="204835" y="8871"/>
                      <a:pt x="230158" y="23915"/>
                    </a:cubicBezTo>
                    <a:cubicBezTo>
                      <a:pt x="234923" y="26732"/>
                      <a:pt x="239268" y="29759"/>
                      <a:pt x="243134" y="32995"/>
                    </a:cubicBezTo>
                    <a:cubicBezTo>
                      <a:pt x="270286" y="55771"/>
                      <a:pt x="275081" y="88557"/>
                      <a:pt x="277238" y="125328"/>
                    </a:cubicBezTo>
                    <a:cubicBezTo>
                      <a:pt x="277238" y="125358"/>
                      <a:pt x="277238" y="125358"/>
                      <a:pt x="277238" y="125418"/>
                    </a:cubicBezTo>
                    <a:cubicBezTo>
                      <a:pt x="277448" y="127875"/>
                      <a:pt x="277478" y="130423"/>
                      <a:pt x="277478" y="132940"/>
                    </a:cubicBezTo>
                    <a:close/>
                  </a:path>
                </a:pathLst>
              </a:custGeom>
              <a:solidFill>
                <a:srgbClr val="946846"/>
              </a:solidFill>
              <a:ln w="298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380" name="Freeform: Shape 379">
                <a:extLst>
                  <a:ext uri="{FF2B5EF4-FFF2-40B4-BE49-F238E27FC236}">
                    <a16:creationId xmlns:a16="http://schemas.microsoft.com/office/drawing/2014/main" id="{FBE50360-E91F-4027-81C9-F5F34335D0F2}"/>
                  </a:ext>
                </a:extLst>
              </p:cNvPr>
              <p:cNvSpPr/>
              <p:nvPr/>
            </p:nvSpPr>
            <p:spPr>
              <a:xfrm>
                <a:off x="1288483" y="4671476"/>
                <a:ext cx="184725" cy="80814"/>
              </a:xfrm>
              <a:custGeom>
                <a:avLst/>
                <a:gdLst>
                  <a:gd name="connsiteX0" fmla="*/ 184726 w 184725"/>
                  <a:gd name="connsiteY0" fmla="*/ 26762 h 80814"/>
                  <a:gd name="connsiteX1" fmla="*/ 184606 w 184725"/>
                  <a:gd name="connsiteY1" fmla="*/ 36022 h 80814"/>
                  <a:gd name="connsiteX2" fmla="*/ 92393 w 184725"/>
                  <a:gd name="connsiteY2" fmla="*/ 59158 h 80814"/>
                  <a:gd name="connsiteX3" fmla="*/ 180 w 184725"/>
                  <a:gd name="connsiteY3" fmla="*/ 36022 h 80814"/>
                  <a:gd name="connsiteX4" fmla="*/ 0 w 184725"/>
                  <a:gd name="connsiteY4" fmla="*/ 26762 h 80814"/>
                  <a:gd name="connsiteX5" fmla="*/ 0 w 184725"/>
                  <a:gd name="connsiteY5" fmla="*/ 25084 h 80814"/>
                  <a:gd name="connsiteX6" fmla="*/ 93232 w 184725"/>
                  <a:gd name="connsiteY6" fmla="*/ 0 h 80814"/>
                  <a:gd name="connsiteX7" fmla="*/ 184666 w 184725"/>
                  <a:gd name="connsiteY7" fmla="*/ 23915 h 80814"/>
                  <a:gd name="connsiteX8" fmla="*/ 184726 w 184725"/>
                  <a:gd name="connsiteY8" fmla="*/ 26762 h 80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4725" h="80814">
                    <a:moveTo>
                      <a:pt x="184726" y="26762"/>
                    </a:moveTo>
                    <a:cubicBezTo>
                      <a:pt x="184726" y="29879"/>
                      <a:pt x="184696" y="32935"/>
                      <a:pt x="184606" y="36022"/>
                    </a:cubicBezTo>
                    <a:cubicBezTo>
                      <a:pt x="181849" y="120833"/>
                      <a:pt x="171599" y="59158"/>
                      <a:pt x="92393" y="59158"/>
                    </a:cubicBezTo>
                    <a:cubicBezTo>
                      <a:pt x="17232" y="59158"/>
                      <a:pt x="2967" y="120833"/>
                      <a:pt x="180" y="36022"/>
                    </a:cubicBezTo>
                    <a:cubicBezTo>
                      <a:pt x="60" y="32965"/>
                      <a:pt x="0" y="29879"/>
                      <a:pt x="0" y="26762"/>
                    </a:cubicBezTo>
                    <a:lnTo>
                      <a:pt x="0" y="25084"/>
                    </a:lnTo>
                    <a:cubicBezTo>
                      <a:pt x="25713" y="9350"/>
                      <a:pt x="62994" y="0"/>
                      <a:pt x="93232" y="0"/>
                    </a:cubicBezTo>
                    <a:cubicBezTo>
                      <a:pt x="122751" y="0"/>
                      <a:pt x="159342" y="8871"/>
                      <a:pt x="184666" y="23915"/>
                    </a:cubicBezTo>
                    <a:cubicBezTo>
                      <a:pt x="184726" y="25263"/>
                      <a:pt x="184726" y="26192"/>
                      <a:pt x="184726" y="26762"/>
                    </a:cubicBezTo>
                    <a:close/>
                  </a:path>
                </a:pathLst>
              </a:custGeom>
              <a:solidFill>
                <a:srgbClr val="FFFFFF">
                  <a:alpha val="25000"/>
                </a:srgbClr>
              </a:solidFill>
              <a:ln w="298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381" name="Freeform: Shape 380">
                <a:extLst>
                  <a:ext uri="{FF2B5EF4-FFF2-40B4-BE49-F238E27FC236}">
                    <a16:creationId xmlns:a16="http://schemas.microsoft.com/office/drawing/2014/main" id="{3FB730D9-8345-4604-BE32-AE479A84B51C}"/>
                  </a:ext>
                </a:extLst>
              </p:cNvPr>
              <p:cNvSpPr/>
              <p:nvPr/>
            </p:nvSpPr>
            <p:spPr>
              <a:xfrm>
                <a:off x="1239065" y="4796804"/>
                <a:ext cx="285299" cy="24574"/>
              </a:xfrm>
              <a:custGeom>
                <a:avLst/>
                <a:gdLst>
                  <a:gd name="connsiteX0" fmla="*/ 285300 w 285299"/>
                  <a:gd name="connsiteY0" fmla="*/ 5844 h 24574"/>
                  <a:gd name="connsiteX1" fmla="*/ 285300 w 285299"/>
                  <a:gd name="connsiteY1" fmla="*/ 18731 h 24574"/>
                  <a:gd name="connsiteX2" fmla="*/ 280505 w 285299"/>
                  <a:gd name="connsiteY2" fmla="*/ 24574 h 24574"/>
                  <a:gd name="connsiteX3" fmla="*/ 4795 w 285299"/>
                  <a:gd name="connsiteY3" fmla="*/ 24574 h 24574"/>
                  <a:gd name="connsiteX4" fmla="*/ 0 w 285299"/>
                  <a:gd name="connsiteY4" fmla="*/ 18731 h 24574"/>
                  <a:gd name="connsiteX5" fmla="*/ 0 w 285299"/>
                  <a:gd name="connsiteY5" fmla="*/ 5844 h 24574"/>
                  <a:gd name="connsiteX6" fmla="*/ 4795 w 285299"/>
                  <a:gd name="connsiteY6" fmla="*/ 0 h 24574"/>
                  <a:gd name="connsiteX7" fmla="*/ 280505 w 285299"/>
                  <a:gd name="connsiteY7" fmla="*/ 0 h 24574"/>
                  <a:gd name="connsiteX8" fmla="*/ 285300 w 285299"/>
                  <a:gd name="connsiteY8" fmla="*/ 5844 h 24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5299" h="24574">
                    <a:moveTo>
                      <a:pt x="285300" y="5844"/>
                    </a:moveTo>
                    <a:lnTo>
                      <a:pt x="285300" y="18731"/>
                    </a:lnTo>
                    <a:cubicBezTo>
                      <a:pt x="285300" y="21967"/>
                      <a:pt x="283142" y="24574"/>
                      <a:pt x="280505" y="24574"/>
                    </a:cubicBezTo>
                    <a:lnTo>
                      <a:pt x="4795" y="24574"/>
                    </a:lnTo>
                    <a:cubicBezTo>
                      <a:pt x="2128" y="24574"/>
                      <a:pt x="0" y="21967"/>
                      <a:pt x="0" y="18731"/>
                    </a:cubicBezTo>
                    <a:lnTo>
                      <a:pt x="0" y="5844"/>
                    </a:lnTo>
                    <a:cubicBezTo>
                      <a:pt x="0" y="2607"/>
                      <a:pt x="2158" y="0"/>
                      <a:pt x="4795" y="0"/>
                    </a:cubicBezTo>
                    <a:lnTo>
                      <a:pt x="280505" y="0"/>
                    </a:lnTo>
                    <a:cubicBezTo>
                      <a:pt x="283172" y="-30"/>
                      <a:pt x="285300" y="2607"/>
                      <a:pt x="285300" y="5844"/>
                    </a:cubicBezTo>
                    <a:close/>
                  </a:path>
                </a:pathLst>
              </a:custGeom>
              <a:solidFill>
                <a:srgbClr val="593A25"/>
              </a:solidFill>
              <a:ln w="298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382" name="Freeform: Shape 381">
                <a:extLst>
                  <a:ext uri="{FF2B5EF4-FFF2-40B4-BE49-F238E27FC236}">
                    <a16:creationId xmlns:a16="http://schemas.microsoft.com/office/drawing/2014/main" id="{7EBB5314-CAE6-49CF-8161-2763E9624390}"/>
                  </a:ext>
                </a:extLst>
              </p:cNvPr>
              <p:cNvSpPr/>
              <p:nvPr/>
            </p:nvSpPr>
            <p:spPr>
              <a:xfrm>
                <a:off x="842074" y="3082997"/>
                <a:ext cx="766770" cy="752179"/>
              </a:xfrm>
              <a:custGeom>
                <a:avLst/>
                <a:gdLst>
                  <a:gd name="connsiteX0" fmla="*/ 746005 w 934866"/>
                  <a:gd name="connsiteY0" fmla="*/ 736176 h 752178"/>
                  <a:gd name="connsiteX1" fmla="*/ 734108 w 934866"/>
                  <a:gd name="connsiteY1" fmla="*/ 752179 h 752178"/>
                  <a:gd name="connsiteX2" fmla="*/ 733928 w 934866"/>
                  <a:gd name="connsiteY2" fmla="*/ 752179 h 752178"/>
                  <a:gd name="connsiteX3" fmla="*/ 721162 w 934866"/>
                  <a:gd name="connsiteY3" fmla="*/ 752149 h 752178"/>
                  <a:gd name="connsiteX4" fmla="*/ 218980 w 934866"/>
                  <a:gd name="connsiteY4" fmla="*/ 746785 h 752178"/>
                  <a:gd name="connsiteX5" fmla="*/ 205464 w 934866"/>
                  <a:gd name="connsiteY5" fmla="*/ 747024 h 752178"/>
                  <a:gd name="connsiteX6" fmla="*/ 205134 w 934866"/>
                  <a:gd name="connsiteY6" fmla="*/ 747024 h 752178"/>
                  <a:gd name="connsiteX7" fmla="*/ 195664 w 934866"/>
                  <a:gd name="connsiteY7" fmla="*/ 732610 h 752178"/>
                  <a:gd name="connsiteX8" fmla="*/ 225273 w 934866"/>
                  <a:gd name="connsiteY8" fmla="*/ 627390 h 752178"/>
                  <a:gd name="connsiteX9" fmla="*/ 233305 w 934866"/>
                  <a:gd name="connsiteY9" fmla="*/ 541561 h 752178"/>
                  <a:gd name="connsiteX10" fmla="*/ 236421 w 934866"/>
                  <a:gd name="connsiteY10" fmla="*/ 510273 h 752178"/>
                  <a:gd name="connsiteX11" fmla="*/ 22087 w 934866"/>
                  <a:gd name="connsiteY11" fmla="*/ 490704 h 752178"/>
                  <a:gd name="connsiteX12" fmla="*/ 0 w 934866"/>
                  <a:gd name="connsiteY12" fmla="*/ 488696 h 752178"/>
                  <a:gd name="connsiteX13" fmla="*/ 85350 w 934866"/>
                  <a:gd name="connsiteY13" fmla="*/ 203366 h 752178"/>
                  <a:gd name="connsiteX14" fmla="*/ 207442 w 934866"/>
                  <a:gd name="connsiteY14" fmla="*/ 42945 h 752178"/>
                  <a:gd name="connsiteX15" fmla="*/ 348683 w 934866"/>
                  <a:gd name="connsiteY15" fmla="*/ 0 h 752178"/>
                  <a:gd name="connsiteX16" fmla="*/ 355276 w 934866"/>
                  <a:gd name="connsiteY16" fmla="*/ 17052 h 752178"/>
                  <a:gd name="connsiteX17" fmla="*/ 399660 w 934866"/>
                  <a:gd name="connsiteY17" fmla="*/ 49538 h 752178"/>
                  <a:gd name="connsiteX18" fmla="*/ 479346 w 934866"/>
                  <a:gd name="connsiteY18" fmla="*/ 68298 h 752178"/>
                  <a:gd name="connsiteX19" fmla="*/ 558822 w 934866"/>
                  <a:gd name="connsiteY19" fmla="*/ 49538 h 752178"/>
                  <a:gd name="connsiteX20" fmla="*/ 603206 w 934866"/>
                  <a:gd name="connsiteY20" fmla="*/ 17052 h 752178"/>
                  <a:gd name="connsiteX21" fmla="*/ 609769 w 934866"/>
                  <a:gd name="connsiteY21" fmla="*/ 989 h 752178"/>
                  <a:gd name="connsiteX22" fmla="*/ 617441 w 934866"/>
                  <a:gd name="connsiteY22" fmla="*/ 3386 h 752178"/>
                  <a:gd name="connsiteX23" fmla="*/ 678007 w 934866"/>
                  <a:gd name="connsiteY23" fmla="*/ 17172 h 752178"/>
                  <a:gd name="connsiteX24" fmla="*/ 852094 w 934866"/>
                  <a:gd name="connsiteY24" fmla="*/ 140073 h 752178"/>
                  <a:gd name="connsiteX25" fmla="*/ 895338 w 934866"/>
                  <a:gd name="connsiteY25" fmla="*/ 323809 h 752178"/>
                  <a:gd name="connsiteX26" fmla="*/ 925277 w 934866"/>
                  <a:gd name="connsiteY26" fmla="*/ 537904 h 752178"/>
                  <a:gd name="connsiteX27" fmla="*/ 934867 w 934866"/>
                  <a:gd name="connsiteY27" fmla="*/ 582947 h 752178"/>
                  <a:gd name="connsiteX28" fmla="*/ 691133 w 934866"/>
                  <a:gd name="connsiteY28" fmla="*/ 501523 h 752178"/>
                  <a:gd name="connsiteX29" fmla="*/ 691403 w 934866"/>
                  <a:gd name="connsiteY29" fmla="*/ 501642 h 752178"/>
                  <a:gd name="connsiteX30" fmla="*/ 693381 w 934866"/>
                  <a:gd name="connsiteY30" fmla="*/ 514499 h 752178"/>
                  <a:gd name="connsiteX31" fmla="*/ 694819 w 934866"/>
                  <a:gd name="connsiteY31" fmla="*/ 523280 h 752178"/>
                  <a:gd name="connsiteX32" fmla="*/ 702162 w 934866"/>
                  <a:gd name="connsiteY32" fmla="*/ 560530 h 752178"/>
                  <a:gd name="connsiteX33" fmla="*/ 714868 w 934866"/>
                  <a:gd name="connsiteY33" fmla="*/ 580999 h 752178"/>
                  <a:gd name="connsiteX34" fmla="*/ 728114 w 934866"/>
                  <a:gd name="connsiteY34" fmla="*/ 658018 h 752178"/>
                  <a:gd name="connsiteX35" fmla="*/ 746005 w 934866"/>
                  <a:gd name="connsiteY35" fmla="*/ 736176 h 752178"/>
                  <a:gd name="connsiteX0" fmla="*/ 723918 w 912780"/>
                  <a:gd name="connsiteY0" fmla="*/ 736176 h 752179"/>
                  <a:gd name="connsiteX1" fmla="*/ 712021 w 912780"/>
                  <a:gd name="connsiteY1" fmla="*/ 752179 h 752179"/>
                  <a:gd name="connsiteX2" fmla="*/ 711841 w 912780"/>
                  <a:gd name="connsiteY2" fmla="*/ 752179 h 752179"/>
                  <a:gd name="connsiteX3" fmla="*/ 699075 w 912780"/>
                  <a:gd name="connsiteY3" fmla="*/ 752149 h 752179"/>
                  <a:gd name="connsiteX4" fmla="*/ 196893 w 912780"/>
                  <a:gd name="connsiteY4" fmla="*/ 746785 h 752179"/>
                  <a:gd name="connsiteX5" fmla="*/ 183377 w 912780"/>
                  <a:gd name="connsiteY5" fmla="*/ 747024 h 752179"/>
                  <a:gd name="connsiteX6" fmla="*/ 183047 w 912780"/>
                  <a:gd name="connsiteY6" fmla="*/ 747024 h 752179"/>
                  <a:gd name="connsiteX7" fmla="*/ 173577 w 912780"/>
                  <a:gd name="connsiteY7" fmla="*/ 732610 h 752179"/>
                  <a:gd name="connsiteX8" fmla="*/ 203186 w 912780"/>
                  <a:gd name="connsiteY8" fmla="*/ 627390 h 752179"/>
                  <a:gd name="connsiteX9" fmla="*/ 211218 w 912780"/>
                  <a:gd name="connsiteY9" fmla="*/ 541561 h 752179"/>
                  <a:gd name="connsiteX10" fmla="*/ 214334 w 912780"/>
                  <a:gd name="connsiteY10" fmla="*/ 510273 h 752179"/>
                  <a:gd name="connsiteX11" fmla="*/ 0 w 912780"/>
                  <a:gd name="connsiteY11" fmla="*/ 490704 h 752179"/>
                  <a:gd name="connsiteX12" fmla="*/ 63263 w 912780"/>
                  <a:gd name="connsiteY12" fmla="*/ 203366 h 752179"/>
                  <a:gd name="connsiteX13" fmla="*/ 185355 w 912780"/>
                  <a:gd name="connsiteY13" fmla="*/ 42945 h 752179"/>
                  <a:gd name="connsiteX14" fmla="*/ 326596 w 912780"/>
                  <a:gd name="connsiteY14" fmla="*/ 0 h 752179"/>
                  <a:gd name="connsiteX15" fmla="*/ 333189 w 912780"/>
                  <a:gd name="connsiteY15" fmla="*/ 17052 h 752179"/>
                  <a:gd name="connsiteX16" fmla="*/ 377573 w 912780"/>
                  <a:gd name="connsiteY16" fmla="*/ 49538 h 752179"/>
                  <a:gd name="connsiteX17" fmla="*/ 457259 w 912780"/>
                  <a:gd name="connsiteY17" fmla="*/ 68298 h 752179"/>
                  <a:gd name="connsiteX18" fmla="*/ 536735 w 912780"/>
                  <a:gd name="connsiteY18" fmla="*/ 49538 h 752179"/>
                  <a:gd name="connsiteX19" fmla="*/ 581119 w 912780"/>
                  <a:gd name="connsiteY19" fmla="*/ 17052 h 752179"/>
                  <a:gd name="connsiteX20" fmla="*/ 587682 w 912780"/>
                  <a:gd name="connsiteY20" fmla="*/ 989 h 752179"/>
                  <a:gd name="connsiteX21" fmla="*/ 595354 w 912780"/>
                  <a:gd name="connsiteY21" fmla="*/ 3386 h 752179"/>
                  <a:gd name="connsiteX22" fmla="*/ 655920 w 912780"/>
                  <a:gd name="connsiteY22" fmla="*/ 17172 h 752179"/>
                  <a:gd name="connsiteX23" fmla="*/ 830007 w 912780"/>
                  <a:gd name="connsiteY23" fmla="*/ 140073 h 752179"/>
                  <a:gd name="connsiteX24" fmla="*/ 873251 w 912780"/>
                  <a:gd name="connsiteY24" fmla="*/ 323809 h 752179"/>
                  <a:gd name="connsiteX25" fmla="*/ 903190 w 912780"/>
                  <a:gd name="connsiteY25" fmla="*/ 537904 h 752179"/>
                  <a:gd name="connsiteX26" fmla="*/ 912780 w 912780"/>
                  <a:gd name="connsiteY26" fmla="*/ 582947 h 752179"/>
                  <a:gd name="connsiteX27" fmla="*/ 669046 w 912780"/>
                  <a:gd name="connsiteY27" fmla="*/ 501523 h 752179"/>
                  <a:gd name="connsiteX28" fmla="*/ 669316 w 912780"/>
                  <a:gd name="connsiteY28" fmla="*/ 501642 h 752179"/>
                  <a:gd name="connsiteX29" fmla="*/ 671294 w 912780"/>
                  <a:gd name="connsiteY29" fmla="*/ 514499 h 752179"/>
                  <a:gd name="connsiteX30" fmla="*/ 672732 w 912780"/>
                  <a:gd name="connsiteY30" fmla="*/ 523280 h 752179"/>
                  <a:gd name="connsiteX31" fmla="*/ 680075 w 912780"/>
                  <a:gd name="connsiteY31" fmla="*/ 560530 h 752179"/>
                  <a:gd name="connsiteX32" fmla="*/ 692781 w 912780"/>
                  <a:gd name="connsiteY32" fmla="*/ 580999 h 752179"/>
                  <a:gd name="connsiteX33" fmla="*/ 706027 w 912780"/>
                  <a:gd name="connsiteY33" fmla="*/ 658018 h 752179"/>
                  <a:gd name="connsiteX34" fmla="*/ 723918 w 912780"/>
                  <a:gd name="connsiteY34" fmla="*/ 736176 h 752179"/>
                  <a:gd name="connsiteX0" fmla="*/ 660655 w 849517"/>
                  <a:gd name="connsiteY0" fmla="*/ 736176 h 752179"/>
                  <a:gd name="connsiteX1" fmla="*/ 648758 w 849517"/>
                  <a:gd name="connsiteY1" fmla="*/ 752179 h 752179"/>
                  <a:gd name="connsiteX2" fmla="*/ 648578 w 849517"/>
                  <a:gd name="connsiteY2" fmla="*/ 752179 h 752179"/>
                  <a:gd name="connsiteX3" fmla="*/ 635812 w 849517"/>
                  <a:gd name="connsiteY3" fmla="*/ 752149 h 752179"/>
                  <a:gd name="connsiteX4" fmla="*/ 133630 w 849517"/>
                  <a:gd name="connsiteY4" fmla="*/ 746785 h 752179"/>
                  <a:gd name="connsiteX5" fmla="*/ 120114 w 849517"/>
                  <a:gd name="connsiteY5" fmla="*/ 747024 h 752179"/>
                  <a:gd name="connsiteX6" fmla="*/ 119784 w 849517"/>
                  <a:gd name="connsiteY6" fmla="*/ 747024 h 752179"/>
                  <a:gd name="connsiteX7" fmla="*/ 110314 w 849517"/>
                  <a:gd name="connsiteY7" fmla="*/ 732610 h 752179"/>
                  <a:gd name="connsiteX8" fmla="*/ 139923 w 849517"/>
                  <a:gd name="connsiteY8" fmla="*/ 627390 h 752179"/>
                  <a:gd name="connsiteX9" fmla="*/ 147955 w 849517"/>
                  <a:gd name="connsiteY9" fmla="*/ 541561 h 752179"/>
                  <a:gd name="connsiteX10" fmla="*/ 151071 w 849517"/>
                  <a:gd name="connsiteY10" fmla="*/ 510273 h 752179"/>
                  <a:gd name="connsiteX11" fmla="*/ 0 w 849517"/>
                  <a:gd name="connsiteY11" fmla="*/ 203366 h 752179"/>
                  <a:gd name="connsiteX12" fmla="*/ 122092 w 849517"/>
                  <a:gd name="connsiteY12" fmla="*/ 42945 h 752179"/>
                  <a:gd name="connsiteX13" fmla="*/ 263333 w 849517"/>
                  <a:gd name="connsiteY13" fmla="*/ 0 h 752179"/>
                  <a:gd name="connsiteX14" fmla="*/ 269926 w 849517"/>
                  <a:gd name="connsiteY14" fmla="*/ 17052 h 752179"/>
                  <a:gd name="connsiteX15" fmla="*/ 314310 w 849517"/>
                  <a:gd name="connsiteY15" fmla="*/ 49538 h 752179"/>
                  <a:gd name="connsiteX16" fmla="*/ 393996 w 849517"/>
                  <a:gd name="connsiteY16" fmla="*/ 68298 h 752179"/>
                  <a:gd name="connsiteX17" fmla="*/ 473472 w 849517"/>
                  <a:gd name="connsiteY17" fmla="*/ 49538 h 752179"/>
                  <a:gd name="connsiteX18" fmla="*/ 517856 w 849517"/>
                  <a:gd name="connsiteY18" fmla="*/ 17052 h 752179"/>
                  <a:gd name="connsiteX19" fmla="*/ 524419 w 849517"/>
                  <a:gd name="connsiteY19" fmla="*/ 989 h 752179"/>
                  <a:gd name="connsiteX20" fmla="*/ 532091 w 849517"/>
                  <a:gd name="connsiteY20" fmla="*/ 3386 h 752179"/>
                  <a:gd name="connsiteX21" fmla="*/ 592657 w 849517"/>
                  <a:gd name="connsiteY21" fmla="*/ 17172 h 752179"/>
                  <a:gd name="connsiteX22" fmla="*/ 766744 w 849517"/>
                  <a:gd name="connsiteY22" fmla="*/ 140073 h 752179"/>
                  <a:gd name="connsiteX23" fmla="*/ 809988 w 849517"/>
                  <a:gd name="connsiteY23" fmla="*/ 323809 h 752179"/>
                  <a:gd name="connsiteX24" fmla="*/ 839927 w 849517"/>
                  <a:gd name="connsiteY24" fmla="*/ 537904 h 752179"/>
                  <a:gd name="connsiteX25" fmla="*/ 849517 w 849517"/>
                  <a:gd name="connsiteY25" fmla="*/ 582947 h 752179"/>
                  <a:gd name="connsiteX26" fmla="*/ 605783 w 849517"/>
                  <a:gd name="connsiteY26" fmla="*/ 501523 h 752179"/>
                  <a:gd name="connsiteX27" fmla="*/ 606053 w 849517"/>
                  <a:gd name="connsiteY27" fmla="*/ 501642 h 752179"/>
                  <a:gd name="connsiteX28" fmla="*/ 608031 w 849517"/>
                  <a:gd name="connsiteY28" fmla="*/ 514499 h 752179"/>
                  <a:gd name="connsiteX29" fmla="*/ 609469 w 849517"/>
                  <a:gd name="connsiteY29" fmla="*/ 523280 h 752179"/>
                  <a:gd name="connsiteX30" fmla="*/ 616812 w 849517"/>
                  <a:gd name="connsiteY30" fmla="*/ 560530 h 752179"/>
                  <a:gd name="connsiteX31" fmla="*/ 629518 w 849517"/>
                  <a:gd name="connsiteY31" fmla="*/ 580999 h 752179"/>
                  <a:gd name="connsiteX32" fmla="*/ 642764 w 849517"/>
                  <a:gd name="connsiteY32" fmla="*/ 658018 h 752179"/>
                  <a:gd name="connsiteX33" fmla="*/ 660655 w 849517"/>
                  <a:gd name="connsiteY33" fmla="*/ 736176 h 752179"/>
                  <a:gd name="connsiteX0" fmla="*/ 660655 w 839927"/>
                  <a:gd name="connsiteY0" fmla="*/ 736176 h 752179"/>
                  <a:gd name="connsiteX1" fmla="*/ 648758 w 839927"/>
                  <a:gd name="connsiteY1" fmla="*/ 752179 h 752179"/>
                  <a:gd name="connsiteX2" fmla="*/ 648578 w 839927"/>
                  <a:gd name="connsiteY2" fmla="*/ 752179 h 752179"/>
                  <a:gd name="connsiteX3" fmla="*/ 635812 w 839927"/>
                  <a:gd name="connsiteY3" fmla="*/ 752149 h 752179"/>
                  <a:gd name="connsiteX4" fmla="*/ 133630 w 839927"/>
                  <a:gd name="connsiteY4" fmla="*/ 746785 h 752179"/>
                  <a:gd name="connsiteX5" fmla="*/ 120114 w 839927"/>
                  <a:gd name="connsiteY5" fmla="*/ 747024 h 752179"/>
                  <a:gd name="connsiteX6" fmla="*/ 119784 w 839927"/>
                  <a:gd name="connsiteY6" fmla="*/ 747024 h 752179"/>
                  <a:gd name="connsiteX7" fmla="*/ 110314 w 839927"/>
                  <a:gd name="connsiteY7" fmla="*/ 732610 h 752179"/>
                  <a:gd name="connsiteX8" fmla="*/ 139923 w 839927"/>
                  <a:gd name="connsiteY8" fmla="*/ 627390 h 752179"/>
                  <a:gd name="connsiteX9" fmla="*/ 147955 w 839927"/>
                  <a:gd name="connsiteY9" fmla="*/ 541561 h 752179"/>
                  <a:gd name="connsiteX10" fmla="*/ 151071 w 839927"/>
                  <a:gd name="connsiteY10" fmla="*/ 510273 h 752179"/>
                  <a:gd name="connsiteX11" fmla="*/ 0 w 839927"/>
                  <a:gd name="connsiteY11" fmla="*/ 203366 h 752179"/>
                  <a:gd name="connsiteX12" fmla="*/ 122092 w 839927"/>
                  <a:gd name="connsiteY12" fmla="*/ 42945 h 752179"/>
                  <a:gd name="connsiteX13" fmla="*/ 263333 w 839927"/>
                  <a:gd name="connsiteY13" fmla="*/ 0 h 752179"/>
                  <a:gd name="connsiteX14" fmla="*/ 269926 w 839927"/>
                  <a:gd name="connsiteY14" fmla="*/ 17052 h 752179"/>
                  <a:gd name="connsiteX15" fmla="*/ 314310 w 839927"/>
                  <a:gd name="connsiteY15" fmla="*/ 49538 h 752179"/>
                  <a:gd name="connsiteX16" fmla="*/ 393996 w 839927"/>
                  <a:gd name="connsiteY16" fmla="*/ 68298 h 752179"/>
                  <a:gd name="connsiteX17" fmla="*/ 473472 w 839927"/>
                  <a:gd name="connsiteY17" fmla="*/ 49538 h 752179"/>
                  <a:gd name="connsiteX18" fmla="*/ 517856 w 839927"/>
                  <a:gd name="connsiteY18" fmla="*/ 17052 h 752179"/>
                  <a:gd name="connsiteX19" fmla="*/ 524419 w 839927"/>
                  <a:gd name="connsiteY19" fmla="*/ 989 h 752179"/>
                  <a:gd name="connsiteX20" fmla="*/ 532091 w 839927"/>
                  <a:gd name="connsiteY20" fmla="*/ 3386 h 752179"/>
                  <a:gd name="connsiteX21" fmla="*/ 592657 w 839927"/>
                  <a:gd name="connsiteY21" fmla="*/ 17172 h 752179"/>
                  <a:gd name="connsiteX22" fmla="*/ 766744 w 839927"/>
                  <a:gd name="connsiteY22" fmla="*/ 140073 h 752179"/>
                  <a:gd name="connsiteX23" fmla="*/ 809988 w 839927"/>
                  <a:gd name="connsiteY23" fmla="*/ 323809 h 752179"/>
                  <a:gd name="connsiteX24" fmla="*/ 839927 w 839927"/>
                  <a:gd name="connsiteY24" fmla="*/ 537904 h 752179"/>
                  <a:gd name="connsiteX25" fmla="*/ 605783 w 839927"/>
                  <a:gd name="connsiteY25" fmla="*/ 501523 h 752179"/>
                  <a:gd name="connsiteX26" fmla="*/ 606053 w 839927"/>
                  <a:gd name="connsiteY26" fmla="*/ 501642 h 752179"/>
                  <a:gd name="connsiteX27" fmla="*/ 608031 w 839927"/>
                  <a:gd name="connsiteY27" fmla="*/ 514499 h 752179"/>
                  <a:gd name="connsiteX28" fmla="*/ 609469 w 839927"/>
                  <a:gd name="connsiteY28" fmla="*/ 523280 h 752179"/>
                  <a:gd name="connsiteX29" fmla="*/ 616812 w 839927"/>
                  <a:gd name="connsiteY29" fmla="*/ 560530 h 752179"/>
                  <a:gd name="connsiteX30" fmla="*/ 629518 w 839927"/>
                  <a:gd name="connsiteY30" fmla="*/ 580999 h 752179"/>
                  <a:gd name="connsiteX31" fmla="*/ 642764 w 839927"/>
                  <a:gd name="connsiteY31" fmla="*/ 658018 h 752179"/>
                  <a:gd name="connsiteX32" fmla="*/ 660655 w 839927"/>
                  <a:gd name="connsiteY32" fmla="*/ 736176 h 752179"/>
                  <a:gd name="connsiteX0" fmla="*/ 660655 w 818392"/>
                  <a:gd name="connsiteY0" fmla="*/ 736176 h 752179"/>
                  <a:gd name="connsiteX1" fmla="*/ 648758 w 818392"/>
                  <a:gd name="connsiteY1" fmla="*/ 752179 h 752179"/>
                  <a:gd name="connsiteX2" fmla="*/ 648578 w 818392"/>
                  <a:gd name="connsiteY2" fmla="*/ 752179 h 752179"/>
                  <a:gd name="connsiteX3" fmla="*/ 635812 w 818392"/>
                  <a:gd name="connsiteY3" fmla="*/ 752149 h 752179"/>
                  <a:gd name="connsiteX4" fmla="*/ 133630 w 818392"/>
                  <a:gd name="connsiteY4" fmla="*/ 746785 h 752179"/>
                  <a:gd name="connsiteX5" fmla="*/ 120114 w 818392"/>
                  <a:gd name="connsiteY5" fmla="*/ 747024 h 752179"/>
                  <a:gd name="connsiteX6" fmla="*/ 119784 w 818392"/>
                  <a:gd name="connsiteY6" fmla="*/ 747024 h 752179"/>
                  <a:gd name="connsiteX7" fmla="*/ 110314 w 818392"/>
                  <a:gd name="connsiteY7" fmla="*/ 732610 h 752179"/>
                  <a:gd name="connsiteX8" fmla="*/ 139923 w 818392"/>
                  <a:gd name="connsiteY8" fmla="*/ 627390 h 752179"/>
                  <a:gd name="connsiteX9" fmla="*/ 147955 w 818392"/>
                  <a:gd name="connsiteY9" fmla="*/ 541561 h 752179"/>
                  <a:gd name="connsiteX10" fmla="*/ 151071 w 818392"/>
                  <a:gd name="connsiteY10" fmla="*/ 510273 h 752179"/>
                  <a:gd name="connsiteX11" fmla="*/ 0 w 818392"/>
                  <a:gd name="connsiteY11" fmla="*/ 203366 h 752179"/>
                  <a:gd name="connsiteX12" fmla="*/ 122092 w 818392"/>
                  <a:gd name="connsiteY12" fmla="*/ 42945 h 752179"/>
                  <a:gd name="connsiteX13" fmla="*/ 263333 w 818392"/>
                  <a:gd name="connsiteY13" fmla="*/ 0 h 752179"/>
                  <a:gd name="connsiteX14" fmla="*/ 269926 w 818392"/>
                  <a:gd name="connsiteY14" fmla="*/ 17052 h 752179"/>
                  <a:gd name="connsiteX15" fmla="*/ 314310 w 818392"/>
                  <a:gd name="connsiteY15" fmla="*/ 49538 h 752179"/>
                  <a:gd name="connsiteX16" fmla="*/ 393996 w 818392"/>
                  <a:gd name="connsiteY16" fmla="*/ 68298 h 752179"/>
                  <a:gd name="connsiteX17" fmla="*/ 473472 w 818392"/>
                  <a:gd name="connsiteY17" fmla="*/ 49538 h 752179"/>
                  <a:gd name="connsiteX18" fmla="*/ 517856 w 818392"/>
                  <a:gd name="connsiteY18" fmla="*/ 17052 h 752179"/>
                  <a:gd name="connsiteX19" fmla="*/ 524419 w 818392"/>
                  <a:gd name="connsiteY19" fmla="*/ 989 h 752179"/>
                  <a:gd name="connsiteX20" fmla="*/ 532091 w 818392"/>
                  <a:gd name="connsiteY20" fmla="*/ 3386 h 752179"/>
                  <a:gd name="connsiteX21" fmla="*/ 592657 w 818392"/>
                  <a:gd name="connsiteY21" fmla="*/ 17172 h 752179"/>
                  <a:gd name="connsiteX22" fmla="*/ 766744 w 818392"/>
                  <a:gd name="connsiteY22" fmla="*/ 140073 h 752179"/>
                  <a:gd name="connsiteX23" fmla="*/ 809988 w 818392"/>
                  <a:gd name="connsiteY23" fmla="*/ 323809 h 752179"/>
                  <a:gd name="connsiteX24" fmla="*/ 605783 w 818392"/>
                  <a:gd name="connsiteY24" fmla="*/ 501523 h 752179"/>
                  <a:gd name="connsiteX25" fmla="*/ 606053 w 818392"/>
                  <a:gd name="connsiteY25" fmla="*/ 501642 h 752179"/>
                  <a:gd name="connsiteX26" fmla="*/ 608031 w 818392"/>
                  <a:gd name="connsiteY26" fmla="*/ 514499 h 752179"/>
                  <a:gd name="connsiteX27" fmla="*/ 609469 w 818392"/>
                  <a:gd name="connsiteY27" fmla="*/ 523280 h 752179"/>
                  <a:gd name="connsiteX28" fmla="*/ 616812 w 818392"/>
                  <a:gd name="connsiteY28" fmla="*/ 560530 h 752179"/>
                  <a:gd name="connsiteX29" fmla="*/ 629518 w 818392"/>
                  <a:gd name="connsiteY29" fmla="*/ 580999 h 752179"/>
                  <a:gd name="connsiteX30" fmla="*/ 642764 w 818392"/>
                  <a:gd name="connsiteY30" fmla="*/ 658018 h 752179"/>
                  <a:gd name="connsiteX31" fmla="*/ 660655 w 818392"/>
                  <a:gd name="connsiteY31" fmla="*/ 736176 h 752179"/>
                  <a:gd name="connsiteX0" fmla="*/ 660655 w 766770"/>
                  <a:gd name="connsiteY0" fmla="*/ 736176 h 752179"/>
                  <a:gd name="connsiteX1" fmla="*/ 648758 w 766770"/>
                  <a:gd name="connsiteY1" fmla="*/ 752179 h 752179"/>
                  <a:gd name="connsiteX2" fmla="*/ 648578 w 766770"/>
                  <a:gd name="connsiteY2" fmla="*/ 752179 h 752179"/>
                  <a:gd name="connsiteX3" fmla="*/ 635812 w 766770"/>
                  <a:gd name="connsiteY3" fmla="*/ 752149 h 752179"/>
                  <a:gd name="connsiteX4" fmla="*/ 133630 w 766770"/>
                  <a:gd name="connsiteY4" fmla="*/ 746785 h 752179"/>
                  <a:gd name="connsiteX5" fmla="*/ 120114 w 766770"/>
                  <a:gd name="connsiteY5" fmla="*/ 747024 h 752179"/>
                  <a:gd name="connsiteX6" fmla="*/ 119784 w 766770"/>
                  <a:gd name="connsiteY6" fmla="*/ 747024 h 752179"/>
                  <a:gd name="connsiteX7" fmla="*/ 110314 w 766770"/>
                  <a:gd name="connsiteY7" fmla="*/ 732610 h 752179"/>
                  <a:gd name="connsiteX8" fmla="*/ 139923 w 766770"/>
                  <a:gd name="connsiteY8" fmla="*/ 627390 h 752179"/>
                  <a:gd name="connsiteX9" fmla="*/ 147955 w 766770"/>
                  <a:gd name="connsiteY9" fmla="*/ 541561 h 752179"/>
                  <a:gd name="connsiteX10" fmla="*/ 151071 w 766770"/>
                  <a:gd name="connsiteY10" fmla="*/ 510273 h 752179"/>
                  <a:gd name="connsiteX11" fmla="*/ 0 w 766770"/>
                  <a:gd name="connsiteY11" fmla="*/ 203366 h 752179"/>
                  <a:gd name="connsiteX12" fmla="*/ 122092 w 766770"/>
                  <a:gd name="connsiteY12" fmla="*/ 42945 h 752179"/>
                  <a:gd name="connsiteX13" fmla="*/ 263333 w 766770"/>
                  <a:gd name="connsiteY13" fmla="*/ 0 h 752179"/>
                  <a:gd name="connsiteX14" fmla="*/ 269926 w 766770"/>
                  <a:gd name="connsiteY14" fmla="*/ 17052 h 752179"/>
                  <a:gd name="connsiteX15" fmla="*/ 314310 w 766770"/>
                  <a:gd name="connsiteY15" fmla="*/ 49538 h 752179"/>
                  <a:gd name="connsiteX16" fmla="*/ 393996 w 766770"/>
                  <a:gd name="connsiteY16" fmla="*/ 68298 h 752179"/>
                  <a:gd name="connsiteX17" fmla="*/ 473472 w 766770"/>
                  <a:gd name="connsiteY17" fmla="*/ 49538 h 752179"/>
                  <a:gd name="connsiteX18" fmla="*/ 517856 w 766770"/>
                  <a:gd name="connsiteY18" fmla="*/ 17052 h 752179"/>
                  <a:gd name="connsiteX19" fmla="*/ 524419 w 766770"/>
                  <a:gd name="connsiteY19" fmla="*/ 989 h 752179"/>
                  <a:gd name="connsiteX20" fmla="*/ 532091 w 766770"/>
                  <a:gd name="connsiteY20" fmla="*/ 3386 h 752179"/>
                  <a:gd name="connsiteX21" fmla="*/ 592657 w 766770"/>
                  <a:gd name="connsiteY21" fmla="*/ 17172 h 752179"/>
                  <a:gd name="connsiteX22" fmla="*/ 766744 w 766770"/>
                  <a:gd name="connsiteY22" fmla="*/ 140073 h 752179"/>
                  <a:gd name="connsiteX23" fmla="*/ 605783 w 766770"/>
                  <a:gd name="connsiteY23" fmla="*/ 501523 h 752179"/>
                  <a:gd name="connsiteX24" fmla="*/ 606053 w 766770"/>
                  <a:gd name="connsiteY24" fmla="*/ 501642 h 752179"/>
                  <a:gd name="connsiteX25" fmla="*/ 608031 w 766770"/>
                  <a:gd name="connsiteY25" fmla="*/ 514499 h 752179"/>
                  <a:gd name="connsiteX26" fmla="*/ 609469 w 766770"/>
                  <a:gd name="connsiteY26" fmla="*/ 523280 h 752179"/>
                  <a:gd name="connsiteX27" fmla="*/ 616812 w 766770"/>
                  <a:gd name="connsiteY27" fmla="*/ 560530 h 752179"/>
                  <a:gd name="connsiteX28" fmla="*/ 629518 w 766770"/>
                  <a:gd name="connsiteY28" fmla="*/ 580999 h 752179"/>
                  <a:gd name="connsiteX29" fmla="*/ 642764 w 766770"/>
                  <a:gd name="connsiteY29" fmla="*/ 658018 h 752179"/>
                  <a:gd name="connsiteX30" fmla="*/ 660655 w 766770"/>
                  <a:gd name="connsiteY30" fmla="*/ 736176 h 752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766770" h="752179">
                    <a:moveTo>
                      <a:pt x="660655" y="736176"/>
                    </a:moveTo>
                    <a:cubicBezTo>
                      <a:pt x="663083" y="744117"/>
                      <a:pt x="657119" y="752209"/>
                      <a:pt x="648758" y="752179"/>
                    </a:cubicBezTo>
                    <a:lnTo>
                      <a:pt x="648578" y="752179"/>
                    </a:lnTo>
                    <a:lnTo>
                      <a:pt x="635812" y="752149"/>
                    </a:lnTo>
                    <a:lnTo>
                      <a:pt x="133630" y="746785"/>
                    </a:lnTo>
                    <a:cubicBezTo>
                      <a:pt x="128505" y="746755"/>
                      <a:pt x="124609" y="746964"/>
                      <a:pt x="120114" y="747024"/>
                    </a:cubicBezTo>
                    <a:lnTo>
                      <a:pt x="119784" y="747024"/>
                    </a:lnTo>
                    <a:cubicBezTo>
                      <a:pt x="112292" y="747114"/>
                      <a:pt x="107287" y="739472"/>
                      <a:pt x="110314" y="732610"/>
                    </a:cubicBezTo>
                    <a:cubicBezTo>
                      <a:pt x="123231" y="703001"/>
                      <a:pt x="136776" y="647139"/>
                      <a:pt x="139923" y="627390"/>
                    </a:cubicBezTo>
                    <a:cubicBezTo>
                      <a:pt x="144688" y="597482"/>
                      <a:pt x="145677" y="570390"/>
                      <a:pt x="147955" y="541561"/>
                    </a:cubicBezTo>
                    <a:cubicBezTo>
                      <a:pt x="148764" y="531401"/>
                      <a:pt x="149723" y="521032"/>
                      <a:pt x="151071" y="510273"/>
                    </a:cubicBezTo>
                    <a:lnTo>
                      <a:pt x="0" y="203366"/>
                    </a:lnTo>
                    <a:cubicBezTo>
                      <a:pt x="32396" y="142470"/>
                      <a:pt x="51546" y="68448"/>
                      <a:pt x="122092" y="42945"/>
                    </a:cubicBezTo>
                    <a:cubicBezTo>
                      <a:pt x="168453" y="26163"/>
                      <a:pt x="215144" y="11388"/>
                      <a:pt x="263333" y="0"/>
                    </a:cubicBezTo>
                    <a:cubicBezTo>
                      <a:pt x="263333" y="6024"/>
                      <a:pt x="265311" y="11808"/>
                      <a:pt x="269926" y="17052"/>
                    </a:cubicBezTo>
                    <a:cubicBezTo>
                      <a:pt x="282183" y="30897"/>
                      <a:pt x="297437" y="42016"/>
                      <a:pt x="314310" y="49538"/>
                    </a:cubicBezTo>
                    <a:cubicBezTo>
                      <a:pt x="339483" y="60806"/>
                      <a:pt x="366605" y="68058"/>
                      <a:pt x="393996" y="68298"/>
                    </a:cubicBezTo>
                    <a:cubicBezTo>
                      <a:pt x="423665" y="68568"/>
                      <a:pt x="449947" y="60057"/>
                      <a:pt x="473472" y="49538"/>
                    </a:cubicBezTo>
                    <a:cubicBezTo>
                      <a:pt x="490315" y="42016"/>
                      <a:pt x="505628" y="30897"/>
                      <a:pt x="517856" y="17052"/>
                    </a:cubicBezTo>
                    <a:cubicBezTo>
                      <a:pt x="522231" y="12077"/>
                      <a:pt x="524209" y="6653"/>
                      <a:pt x="524419" y="989"/>
                    </a:cubicBezTo>
                    <a:lnTo>
                      <a:pt x="532091" y="3386"/>
                    </a:lnTo>
                    <a:cubicBezTo>
                      <a:pt x="552499" y="6743"/>
                      <a:pt x="572608" y="11927"/>
                      <a:pt x="592657" y="17172"/>
                    </a:cubicBezTo>
                    <a:cubicBezTo>
                      <a:pt x="672343" y="37970"/>
                      <a:pt x="764556" y="59348"/>
                      <a:pt x="766744" y="140073"/>
                    </a:cubicBezTo>
                    <a:cubicBezTo>
                      <a:pt x="768932" y="220798"/>
                      <a:pt x="632565" y="441262"/>
                      <a:pt x="605783" y="501523"/>
                    </a:cubicBezTo>
                    <a:cubicBezTo>
                      <a:pt x="605873" y="501552"/>
                      <a:pt x="605993" y="501612"/>
                      <a:pt x="606053" y="501642"/>
                    </a:cubicBezTo>
                    <a:cubicBezTo>
                      <a:pt x="606682" y="505958"/>
                      <a:pt x="607342" y="510213"/>
                      <a:pt x="608031" y="514499"/>
                    </a:cubicBezTo>
                    <a:cubicBezTo>
                      <a:pt x="608480" y="517436"/>
                      <a:pt x="608930" y="520373"/>
                      <a:pt x="609469" y="523280"/>
                    </a:cubicBezTo>
                    <a:cubicBezTo>
                      <a:pt x="611627" y="535776"/>
                      <a:pt x="614114" y="548183"/>
                      <a:pt x="616812" y="560530"/>
                    </a:cubicBezTo>
                    <a:cubicBezTo>
                      <a:pt x="619089" y="570960"/>
                      <a:pt x="627570" y="570510"/>
                      <a:pt x="629518" y="580999"/>
                    </a:cubicBezTo>
                    <a:cubicBezTo>
                      <a:pt x="633504" y="602576"/>
                      <a:pt x="636980" y="636680"/>
                      <a:pt x="642764" y="658018"/>
                    </a:cubicBezTo>
                    <a:cubicBezTo>
                      <a:pt x="650107" y="684750"/>
                      <a:pt x="652504" y="709594"/>
                      <a:pt x="660655" y="736176"/>
                    </a:cubicBezTo>
                    <a:close/>
                  </a:path>
                </a:pathLst>
              </a:custGeom>
              <a:solidFill>
                <a:srgbClr val="00B0F0"/>
              </a:solidFill>
              <a:ln w="298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383" name="Freeform: Shape 382">
                <a:extLst>
                  <a:ext uri="{FF2B5EF4-FFF2-40B4-BE49-F238E27FC236}">
                    <a16:creationId xmlns:a16="http://schemas.microsoft.com/office/drawing/2014/main" id="{BF533C8C-5198-43FD-A058-2F8AFD4DF88B}"/>
                  </a:ext>
                </a:extLst>
              </p:cNvPr>
              <p:cNvSpPr/>
              <p:nvPr/>
            </p:nvSpPr>
            <p:spPr>
              <a:xfrm>
                <a:off x="775341" y="3041117"/>
                <a:ext cx="336349" cy="613912"/>
              </a:xfrm>
              <a:custGeom>
                <a:avLst/>
                <a:gdLst>
                  <a:gd name="connsiteX0" fmla="*/ 96737 w 899789"/>
                  <a:gd name="connsiteY0" fmla="*/ 1794943 h 1794943"/>
                  <a:gd name="connsiteX1" fmla="*/ 391821 w 899789"/>
                  <a:gd name="connsiteY1" fmla="*/ 1738936 h 1794943"/>
                  <a:gd name="connsiteX2" fmla="*/ 652902 w 899789"/>
                  <a:gd name="connsiteY2" fmla="*/ 932931 h 1794943"/>
                  <a:gd name="connsiteX3" fmla="*/ 899790 w 899789"/>
                  <a:gd name="connsiteY3" fmla="*/ 8434 h 1794943"/>
                  <a:gd name="connsiteX4" fmla="*/ 495549 w 899789"/>
                  <a:gd name="connsiteY4" fmla="*/ 74538 h 1794943"/>
                  <a:gd name="connsiteX5" fmla="*/ 166746 w 899789"/>
                  <a:gd name="connsiteY5" fmla="*/ 777102 h 1794943"/>
                  <a:gd name="connsiteX6" fmla="*/ 5868 w 899789"/>
                  <a:gd name="connsiteY6" fmla="*/ 1391845 h 1794943"/>
                  <a:gd name="connsiteX7" fmla="*/ 96737 w 899789"/>
                  <a:gd name="connsiteY7" fmla="*/ 1794943 h 1794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9789" h="1794943">
                    <a:moveTo>
                      <a:pt x="96737" y="1794943"/>
                    </a:moveTo>
                    <a:lnTo>
                      <a:pt x="391821" y="1738936"/>
                    </a:lnTo>
                    <a:cubicBezTo>
                      <a:pt x="620421" y="1152863"/>
                      <a:pt x="618993" y="1156006"/>
                      <a:pt x="652902" y="932931"/>
                    </a:cubicBezTo>
                    <a:lnTo>
                      <a:pt x="899790" y="8434"/>
                    </a:lnTo>
                    <a:cubicBezTo>
                      <a:pt x="899790" y="8434"/>
                      <a:pt x="612706" y="-34809"/>
                      <a:pt x="495549" y="74538"/>
                    </a:cubicBezTo>
                    <a:cubicBezTo>
                      <a:pt x="326289" y="232653"/>
                      <a:pt x="286665" y="466968"/>
                      <a:pt x="166746" y="777102"/>
                    </a:cubicBezTo>
                    <a:cubicBezTo>
                      <a:pt x="74448" y="1015608"/>
                      <a:pt x="39968" y="1112001"/>
                      <a:pt x="5868" y="1391845"/>
                    </a:cubicBezTo>
                    <a:cubicBezTo>
                      <a:pt x="-28136" y="1671785"/>
                      <a:pt x="96737" y="1794943"/>
                      <a:pt x="96737" y="1794943"/>
                    </a:cubicBezTo>
                    <a:close/>
                  </a:path>
                </a:pathLst>
              </a:custGeom>
              <a:solidFill>
                <a:srgbClr val="00B0F0"/>
              </a:solidFill>
              <a:ln w="952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384" name="Freeform: Shape 383">
                <a:extLst>
                  <a:ext uri="{FF2B5EF4-FFF2-40B4-BE49-F238E27FC236}">
                    <a16:creationId xmlns:a16="http://schemas.microsoft.com/office/drawing/2014/main" id="{9BAB92B7-9FA8-4363-BAAF-032E35443954}"/>
                  </a:ext>
                </a:extLst>
              </p:cNvPr>
              <p:cNvSpPr/>
              <p:nvPr/>
            </p:nvSpPr>
            <p:spPr>
              <a:xfrm>
                <a:off x="925865" y="3488674"/>
                <a:ext cx="327043" cy="108954"/>
              </a:xfrm>
              <a:custGeom>
                <a:avLst/>
                <a:gdLst>
                  <a:gd name="connsiteX0" fmla="*/ 0 w 874893"/>
                  <a:gd name="connsiteY0" fmla="*/ 87481 h 318558"/>
                  <a:gd name="connsiteX1" fmla="*/ 44005 w 874893"/>
                  <a:gd name="connsiteY1" fmla="*/ 11091 h 318558"/>
                  <a:gd name="connsiteX2" fmla="*/ 208978 w 874893"/>
                  <a:gd name="connsiteY2" fmla="*/ 111484 h 318558"/>
                  <a:gd name="connsiteX3" fmla="*/ 476536 w 874893"/>
                  <a:gd name="connsiteY3" fmla="*/ 184351 h 318558"/>
                  <a:gd name="connsiteX4" fmla="*/ 738664 w 874893"/>
                  <a:gd name="connsiteY4" fmla="*/ 254740 h 318558"/>
                  <a:gd name="connsiteX5" fmla="*/ 874490 w 874893"/>
                  <a:gd name="connsiteY5" fmla="*/ 318558 h 318558"/>
                  <a:gd name="connsiteX6" fmla="*/ 358997 w 874893"/>
                  <a:gd name="connsiteY6" fmla="*/ 232738 h 318558"/>
                  <a:gd name="connsiteX7" fmla="*/ 0 w 874893"/>
                  <a:gd name="connsiteY7" fmla="*/ 87481 h 318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4893" h="318558">
                    <a:moveTo>
                      <a:pt x="0" y="87481"/>
                    </a:moveTo>
                    <a:cubicBezTo>
                      <a:pt x="6096" y="83481"/>
                      <a:pt x="12192" y="-36344"/>
                      <a:pt x="44005" y="11091"/>
                    </a:cubicBezTo>
                    <a:cubicBezTo>
                      <a:pt x="80010" y="64812"/>
                      <a:pt x="131540" y="84529"/>
                      <a:pt x="208978" y="111484"/>
                    </a:cubicBezTo>
                    <a:cubicBezTo>
                      <a:pt x="256794" y="128058"/>
                      <a:pt x="412147" y="154728"/>
                      <a:pt x="476536" y="184351"/>
                    </a:cubicBezTo>
                    <a:cubicBezTo>
                      <a:pt x="604361" y="243120"/>
                      <a:pt x="586073" y="196638"/>
                      <a:pt x="738664" y="254740"/>
                    </a:cubicBezTo>
                    <a:cubicBezTo>
                      <a:pt x="889349" y="312081"/>
                      <a:pt x="874490" y="318558"/>
                      <a:pt x="874490" y="318558"/>
                    </a:cubicBezTo>
                    <a:cubicBezTo>
                      <a:pt x="874490" y="318558"/>
                      <a:pt x="542735" y="267980"/>
                      <a:pt x="358997" y="232738"/>
                    </a:cubicBezTo>
                    <a:cubicBezTo>
                      <a:pt x="104966" y="183970"/>
                      <a:pt x="0" y="87481"/>
                      <a:pt x="0" y="87481"/>
                    </a:cubicBezTo>
                    <a:close/>
                  </a:path>
                </a:pathLst>
              </a:custGeom>
              <a:solidFill>
                <a:srgbClr val="C1D3EA"/>
              </a:solidFill>
              <a:ln w="952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385" name="Freeform: Shape 384">
                <a:extLst>
                  <a:ext uri="{FF2B5EF4-FFF2-40B4-BE49-F238E27FC236}">
                    <a16:creationId xmlns:a16="http://schemas.microsoft.com/office/drawing/2014/main" id="{785BC550-0604-4ACB-A3AC-7A7DB8CBD34D}"/>
                  </a:ext>
                </a:extLst>
              </p:cNvPr>
              <p:cNvSpPr/>
              <p:nvPr/>
            </p:nvSpPr>
            <p:spPr>
              <a:xfrm>
                <a:off x="919516" y="3404767"/>
                <a:ext cx="93262" cy="135653"/>
              </a:xfrm>
              <a:custGeom>
                <a:avLst/>
                <a:gdLst>
                  <a:gd name="connsiteX0" fmla="*/ 69184 w 249492"/>
                  <a:gd name="connsiteY0" fmla="*/ 0 h 396620"/>
                  <a:gd name="connsiteX1" fmla="*/ 61755 w 249492"/>
                  <a:gd name="connsiteY1" fmla="*/ 149447 h 396620"/>
                  <a:gd name="connsiteX2" fmla="*/ 249492 w 249492"/>
                  <a:gd name="connsiteY2" fmla="*/ 396621 h 396620"/>
                  <a:gd name="connsiteX3" fmla="*/ 49563 w 249492"/>
                  <a:gd name="connsiteY3" fmla="*/ 361093 h 396620"/>
                  <a:gd name="connsiteX4" fmla="*/ 2604 w 249492"/>
                  <a:gd name="connsiteY4" fmla="*/ 212312 h 396620"/>
                  <a:gd name="connsiteX5" fmla="*/ 69184 w 249492"/>
                  <a:gd name="connsiteY5" fmla="*/ 0 h 396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9492" h="396620">
                    <a:moveTo>
                      <a:pt x="69184" y="0"/>
                    </a:moveTo>
                    <a:cubicBezTo>
                      <a:pt x="69184" y="0"/>
                      <a:pt x="55754" y="61722"/>
                      <a:pt x="61755" y="149447"/>
                    </a:cubicBezTo>
                    <a:cubicBezTo>
                      <a:pt x="72137" y="302038"/>
                      <a:pt x="249492" y="396621"/>
                      <a:pt x="249492" y="396621"/>
                    </a:cubicBezTo>
                    <a:lnTo>
                      <a:pt x="49563" y="361093"/>
                    </a:lnTo>
                    <a:cubicBezTo>
                      <a:pt x="49563" y="361093"/>
                      <a:pt x="20988" y="303086"/>
                      <a:pt x="2604" y="212312"/>
                    </a:cubicBezTo>
                    <a:cubicBezTo>
                      <a:pt x="-15779" y="121634"/>
                      <a:pt x="69184" y="0"/>
                      <a:pt x="69184" y="0"/>
                    </a:cubicBezTo>
                    <a:close/>
                  </a:path>
                </a:pathLst>
              </a:custGeom>
              <a:solidFill>
                <a:srgbClr val="0070C0"/>
              </a:solidFill>
              <a:ln w="952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386" name="Freeform: Shape 385">
                <a:extLst>
                  <a:ext uri="{FF2B5EF4-FFF2-40B4-BE49-F238E27FC236}">
                    <a16:creationId xmlns:a16="http://schemas.microsoft.com/office/drawing/2014/main" id="{B872A33F-B274-4A31-8479-55102ECEDB5F}"/>
                  </a:ext>
                </a:extLst>
              </p:cNvPr>
              <p:cNvSpPr/>
              <p:nvPr/>
            </p:nvSpPr>
            <p:spPr>
              <a:xfrm>
                <a:off x="766183" y="3038854"/>
                <a:ext cx="370216" cy="627056"/>
              </a:xfrm>
              <a:custGeom>
                <a:avLst/>
                <a:gdLst>
                  <a:gd name="connsiteX0" fmla="*/ 905333 w 990390"/>
                  <a:gd name="connsiteY0" fmla="*/ 73438 h 1833372"/>
                  <a:gd name="connsiteX1" fmla="*/ 593199 w 990390"/>
                  <a:gd name="connsiteY1" fmla="*/ 67818 h 1833372"/>
                  <a:gd name="connsiteX2" fmla="*/ 241440 w 990390"/>
                  <a:gd name="connsiteY2" fmla="*/ 778478 h 1833372"/>
                  <a:gd name="connsiteX3" fmla="*/ 58751 w 990390"/>
                  <a:gd name="connsiteY3" fmla="*/ 1361789 h 1833372"/>
                  <a:gd name="connsiteX4" fmla="*/ 66371 w 990390"/>
                  <a:gd name="connsiteY4" fmla="*/ 1833372 h 1833372"/>
                  <a:gd name="connsiteX5" fmla="*/ 12935 w 990390"/>
                  <a:gd name="connsiteY5" fmla="*/ 1394555 h 1833372"/>
                  <a:gd name="connsiteX6" fmla="*/ 122092 w 990390"/>
                  <a:gd name="connsiteY6" fmla="*/ 946499 h 1833372"/>
                  <a:gd name="connsiteX7" fmla="*/ 451276 w 990390"/>
                  <a:gd name="connsiteY7" fmla="*/ 140494 h 1833372"/>
                  <a:gd name="connsiteX8" fmla="*/ 735026 w 990390"/>
                  <a:gd name="connsiteY8" fmla="*/ 0 h 1833372"/>
                  <a:gd name="connsiteX9" fmla="*/ 990391 w 990390"/>
                  <a:gd name="connsiteY9" fmla="*/ 13430 h 1833372"/>
                  <a:gd name="connsiteX10" fmla="*/ 905333 w 990390"/>
                  <a:gd name="connsiteY10" fmla="*/ 73438 h 1833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0390" h="1833372">
                    <a:moveTo>
                      <a:pt x="905333" y="73438"/>
                    </a:moveTo>
                    <a:cubicBezTo>
                      <a:pt x="905333" y="73438"/>
                      <a:pt x="765315" y="-12287"/>
                      <a:pt x="593199" y="67818"/>
                    </a:cubicBezTo>
                    <a:cubicBezTo>
                      <a:pt x="476041" y="122396"/>
                      <a:pt x="387839" y="309658"/>
                      <a:pt x="241440" y="778478"/>
                    </a:cubicBezTo>
                    <a:cubicBezTo>
                      <a:pt x="131998" y="1128998"/>
                      <a:pt x="94850" y="1183100"/>
                      <a:pt x="58751" y="1361789"/>
                    </a:cubicBezTo>
                    <a:cubicBezTo>
                      <a:pt x="27699" y="1515618"/>
                      <a:pt x="49321" y="1616488"/>
                      <a:pt x="66371" y="1833372"/>
                    </a:cubicBezTo>
                    <a:cubicBezTo>
                      <a:pt x="40939" y="1796796"/>
                      <a:pt x="-28594" y="1706690"/>
                      <a:pt x="12935" y="1394555"/>
                    </a:cubicBezTo>
                    <a:cubicBezTo>
                      <a:pt x="31700" y="1253395"/>
                      <a:pt x="87135" y="1056894"/>
                      <a:pt x="122092" y="946499"/>
                    </a:cubicBezTo>
                    <a:cubicBezTo>
                      <a:pt x="207245" y="677895"/>
                      <a:pt x="388887" y="218599"/>
                      <a:pt x="451276" y="140494"/>
                    </a:cubicBezTo>
                    <a:cubicBezTo>
                      <a:pt x="512426" y="63913"/>
                      <a:pt x="587769" y="-95"/>
                      <a:pt x="735026" y="0"/>
                    </a:cubicBezTo>
                    <a:cubicBezTo>
                      <a:pt x="893045" y="95"/>
                      <a:pt x="990391" y="13430"/>
                      <a:pt x="990391" y="13430"/>
                    </a:cubicBezTo>
                    <a:lnTo>
                      <a:pt x="905333" y="73438"/>
                    </a:lnTo>
                    <a:close/>
                  </a:path>
                </a:pathLst>
              </a:custGeom>
              <a:solidFill>
                <a:srgbClr val="00B0F0"/>
              </a:solidFill>
              <a:ln w="952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387" name="Freeform: Shape 386">
                <a:extLst>
                  <a:ext uri="{FF2B5EF4-FFF2-40B4-BE49-F238E27FC236}">
                    <a16:creationId xmlns:a16="http://schemas.microsoft.com/office/drawing/2014/main" id="{E8A41559-B098-4266-BAFC-58D314C88479}"/>
                  </a:ext>
                </a:extLst>
              </p:cNvPr>
              <p:cNvSpPr/>
              <p:nvPr/>
            </p:nvSpPr>
            <p:spPr>
              <a:xfrm>
                <a:off x="768837" y="3498711"/>
                <a:ext cx="292934" cy="219370"/>
              </a:xfrm>
              <a:custGeom>
                <a:avLst/>
                <a:gdLst>
                  <a:gd name="connsiteX0" fmla="*/ 783648 w 783648"/>
                  <a:gd name="connsiteY0" fmla="*/ 233584 h 641389"/>
                  <a:gd name="connsiteX1" fmla="*/ 704400 w 783648"/>
                  <a:gd name="connsiteY1" fmla="*/ 210724 h 641389"/>
                  <a:gd name="connsiteX2" fmla="*/ 260535 w 783648"/>
                  <a:gd name="connsiteY2" fmla="*/ 6985 h 641389"/>
                  <a:gd name="connsiteX3" fmla="*/ 42794 w 783648"/>
                  <a:gd name="connsiteY3" fmla="*/ 23177 h 641389"/>
                  <a:gd name="connsiteX4" fmla="*/ 4598 w 783648"/>
                  <a:gd name="connsiteY4" fmla="*/ 252825 h 641389"/>
                  <a:gd name="connsiteX5" fmla="*/ 4408 w 783648"/>
                  <a:gd name="connsiteY5" fmla="*/ 378650 h 641389"/>
                  <a:gd name="connsiteX6" fmla="*/ 61939 w 783648"/>
                  <a:gd name="connsiteY6" fmla="*/ 519525 h 641389"/>
                  <a:gd name="connsiteX7" fmla="*/ 726974 w 783648"/>
                  <a:gd name="connsiteY7" fmla="*/ 636111 h 641389"/>
                  <a:gd name="connsiteX8" fmla="*/ 744977 w 783648"/>
                  <a:gd name="connsiteY8" fmla="*/ 635158 h 641389"/>
                  <a:gd name="connsiteX9" fmla="*/ 783648 w 783648"/>
                  <a:gd name="connsiteY9" fmla="*/ 233584 h 641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3648" h="641389">
                    <a:moveTo>
                      <a:pt x="783648" y="233584"/>
                    </a:moveTo>
                    <a:cubicBezTo>
                      <a:pt x="755359" y="226345"/>
                      <a:pt x="728689" y="218725"/>
                      <a:pt x="704400" y="210724"/>
                    </a:cubicBezTo>
                    <a:cubicBezTo>
                      <a:pt x="479324" y="136715"/>
                      <a:pt x="365310" y="32797"/>
                      <a:pt x="260535" y="6985"/>
                    </a:cubicBezTo>
                    <a:cubicBezTo>
                      <a:pt x="169762" y="-15399"/>
                      <a:pt x="42794" y="23177"/>
                      <a:pt x="42794" y="23177"/>
                    </a:cubicBezTo>
                    <a:cubicBezTo>
                      <a:pt x="28411" y="65468"/>
                      <a:pt x="18029" y="170243"/>
                      <a:pt x="4598" y="252825"/>
                    </a:cubicBezTo>
                    <a:cubicBezTo>
                      <a:pt x="-1307" y="289496"/>
                      <a:pt x="-1688" y="337407"/>
                      <a:pt x="4408" y="378650"/>
                    </a:cubicBezTo>
                    <a:cubicBezTo>
                      <a:pt x="11552" y="426561"/>
                      <a:pt x="27935" y="468471"/>
                      <a:pt x="61939" y="519525"/>
                    </a:cubicBezTo>
                    <a:cubicBezTo>
                      <a:pt x="120708" y="607821"/>
                      <a:pt x="329687" y="658495"/>
                      <a:pt x="726974" y="636111"/>
                    </a:cubicBezTo>
                    <a:cubicBezTo>
                      <a:pt x="732880" y="635730"/>
                      <a:pt x="738881" y="635444"/>
                      <a:pt x="744977" y="635158"/>
                    </a:cubicBezTo>
                    <a:cubicBezTo>
                      <a:pt x="736595" y="501522"/>
                      <a:pt x="751073" y="364172"/>
                      <a:pt x="783648" y="233584"/>
                    </a:cubicBezTo>
                    <a:close/>
                  </a:path>
                </a:pathLst>
              </a:custGeom>
              <a:solidFill>
                <a:srgbClr val="00B0F0"/>
              </a:solidFill>
              <a:ln w="952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388" name="Freeform: Shape 387">
                <a:extLst>
                  <a:ext uri="{FF2B5EF4-FFF2-40B4-BE49-F238E27FC236}">
                    <a16:creationId xmlns:a16="http://schemas.microsoft.com/office/drawing/2014/main" id="{DAE62FDA-7288-4ED0-9110-7436CC29784D}"/>
                  </a:ext>
                </a:extLst>
              </p:cNvPr>
              <p:cNvSpPr/>
              <p:nvPr/>
            </p:nvSpPr>
            <p:spPr>
              <a:xfrm>
                <a:off x="813096" y="3525701"/>
                <a:ext cx="250811" cy="139557"/>
              </a:xfrm>
              <a:custGeom>
                <a:avLst/>
                <a:gdLst>
                  <a:gd name="connsiteX0" fmla="*/ 626671 w 670962"/>
                  <a:gd name="connsiteY0" fmla="*/ 82757 h 408035"/>
                  <a:gd name="connsiteX1" fmla="*/ 184045 w 670962"/>
                  <a:gd name="connsiteY1" fmla="*/ 6081 h 408035"/>
                  <a:gd name="connsiteX2" fmla="*/ 13738 w 670962"/>
                  <a:gd name="connsiteY2" fmla="*/ 256302 h 408035"/>
                  <a:gd name="connsiteX3" fmla="*/ 626481 w 670962"/>
                  <a:gd name="connsiteY3" fmla="*/ 408035 h 408035"/>
                  <a:gd name="connsiteX4" fmla="*/ 670963 w 670962"/>
                  <a:gd name="connsiteY4" fmla="*/ 132096 h 408035"/>
                  <a:gd name="connsiteX5" fmla="*/ 626671 w 670962"/>
                  <a:gd name="connsiteY5" fmla="*/ 82757 h 408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0962" h="408035">
                    <a:moveTo>
                      <a:pt x="626671" y="82757"/>
                    </a:moveTo>
                    <a:cubicBezTo>
                      <a:pt x="456365" y="65993"/>
                      <a:pt x="288534" y="-23923"/>
                      <a:pt x="184045" y="6081"/>
                    </a:cubicBezTo>
                    <a:cubicBezTo>
                      <a:pt x="87937" y="33608"/>
                      <a:pt x="-42936" y="144574"/>
                      <a:pt x="13738" y="256302"/>
                    </a:cubicBezTo>
                    <a:cubicBezTo>
                      <a:pt x="75364" y="377936"/>
                      <a:pt x="414645" y="386223"/>
                      <a:pt x="626481" y="408035"/>
                    </a:cubicBezTo>
                    <a:cubicBezTo>
                      <a:pt x="631720" y="314786"/>
                      <a:pt x="646960" y="221726"/>
                      <a:pt x="670963" y="132096"/>
                    </a:cubicBezTo>
                    <a:cubicBezTo>
                      <a:pt x="655437" y="130477"/>
                      <a:pt x="640578" y="84185"/>
                      <a:pt x="626671" y="82757"/>
                    </a:cubicBezTo>
                    <a:close/>
                  </a:path>
                </a:pathLst>
              </a:custGeom>
              <a:solidFill>
                <a:srgbClr val="00B0F0"/>
              </a:solidFill>
              <a:ln w="952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389" name="Freeform: Shape 388">
                <a:extLst>
                  <a:ext uri="{FF2B5EF4-FFF2-40B4-BE49-F238E27FC236}">
                    <a16:creationId xmlns:a16="http://schemas.microsoft.com/office/drawing/2014/main" id="{A6034D95-FA15-4CDA-9620-169CDDAA3E4D}"/>
                  </a:ext>
                </a:extLst>
              </p:cNvPr>
              <p:cNvSpPr/>
              <p:nvPr/>
            </p:nvSpPr>
            <p:spPr>
              <a:xfrm>
                <a:off x="775861" y="3646950"/>
                <a:ext cx="272309" cy="78219"/>
              </a:xfrm>
              <a:custGeom>
                <a:avLst/>
                <a:gdLst>
                  <a:gd name="connsiteX0" fmla="*/ 504920 w 728472"/>
                  <a:gd name="connsiteY0" fmla="*/ 153638 h 228695"/>
                  <a:gd name="connsiteX1" fmla="*/ 84963 w 728472"/>
                  <a:gd name="connsiteY1" fmla="*/ 86487 h 228695"/>
                  <a:gd name="connsiteX2" fmla="*/ 0 w 728472"/>
                  <a:gd name="connsiteY2" fmla="*/ 0 h 228695"/>
                  <a:gd name="connsiteX3" fmla="*/ 98108 w 728472"/>
                  <a:gd name="connsiteY3" fmla="*/ 154781 h 228695"/>
                  <a:gd name="connsiteX4" fmla="*/ 448247 w 728472"/>
                  <a:gd name="connsiteY4" fmla="*/ 226504 h 228695"/>
                  <a:gd name="connsiteX5" fmla="*/ 728472 w 728472"/>
                  <a:gd name="connsiteY5" fmla="*/ 228695 h 228695"/>
                  <a:gd name="connsiteX6" fmla="*/ 724376 w 728472"/>
                  <a:gd name="connsiteY6" fmla="*/ 168973 h 228695"/>
                  <a:gd name="connsiteX7" fmla="*/ 504920 w 728472"/>
                  <a:gd name="connsiteY7" fmla="*/ 153638 h 228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8472" h="228695">
                    <a:moveTo>
                      <a:pt x="504920" y="153638"/>
                    </a:moveTo>
                    <a:cubicBezTo>
                      <a:pt x="319088" y="130493"/>
                      <a:pt x="201930" y="178784"/>
                      <a:pt x="84963" y="86487"/>
                    </a:cubicBezTo>
                    <a:cubicBezTo>
                      <a:pt x="16002" y="32099"/>
                      <a:pt x="0" y="0"/>
                      <a:pt x="0" y="0"/>
                    </a:cubicBezTo>
                    <a:cubicBezTo>
                      <a:pt x="0" y="0"/>
                      <a:pt x="18479" y="94964"/>
                      <a:pt x="98108" y="154781"/>
                    </a:cubicBezTo>
                    <a:cubicBezTo>
                      <a:pt x="170783" y="209360"/>
                      <a:pt x="234601" y="236315"/>
                      <a:pt x="448247" y="226504"/>
                    </a:cubicBezTo>
                    <a:cubicBezTo>
                      <a:pt x="561404" y="221266"/>
                      <a:pt x="650558" y="224695"/>
                      <a:pt x="728472" y="228695"/>
                    </a:cubicBezTo>
                    <a:cubicBezTo>
                      <a:pt x="726472" y="205169"/>
                      <a:pt x="724948" y="192691"/>
                      <a:pt x="724376" y="168973"/>
                    </a:cubicBezTo>
                    <a:cubicBezTo>
                      <a:pt x="636556" y="165259"/>
                      <a:pt x="558641" y="160401"/>
                      <a:pt x="504920" y="153638"/>
                    </a:cubicBezTo>
                    <a:close/>
                  </a:path>
                </a:pathLst>
              </a:custGeom>
              <a:solidFill>
                <a:srgbClr val="0070C0"/>
              </a:solidFill>
              <a:ln w="952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390" name="Freeform: Shape 389">
                <a:extLst>
                  <a:ext uri="{FF2B5EF4-FFF2-40B4-BE49-F238E27FC236}">
                    <a16:creationId xmlns:a16="http://schemas.microsoft.com/office/drawing/2014/main" id="{380F96C5-1E5E-49AB-AE2F-774C3DF714B5}"/>
                  </a:ext>
                </a:extLst>
              </p:cNvPr>
              <p:cNvSpPr/>
              <p:nvPr/>
            </p:nvSpPr>
            <p:spPr>
              <a:xfrm>
                <a:off x="1063872" y="3559348"/>
                <a:ext cx="252548" cy="137804"/>
              </a:xfrm>
              <a:custGeom>
                <a:avLst/>
                <a:gdLst>
                  <a:gd name="connsiteX0" fmla="*/ 85344 w 675608"/>
                  <a:gd name="connsiteY0" fmla="*/ 402907 h 402907"/>
                  <a:gd name="connsiteX1" fmla="*/ 369094 w 675608"/>
                  <a:gd name="connsiteY1" fmla="*/ 391668 h 402907"/>
                  <a:gd name="connsiteX2" fmla="*/ 675608 w 675608"/>
                  <a:gd name="connsiteY2" fmla="*/ 358045 h 402907"/>
                  <a:gd name="connsiteX3" fmla="*/ 562070 w 675608"/>
                  <a:gd name="connsiteY3" fmla="*/ 44577 h 402907"/>
                  <a:gd name="connsiteX4" fmla="*/ 483489 w 675608"/>
                  <a:gd name="connsiteY4" fmla="*/ 27051 h 402907"/>
                  <a:gd name="connsiteX5" fmla="*/ 244221 w 675608"/>
                  <a:gd name="connsiteY5" fmla="*/ 10954 h 402907"/>
                  <a:gd name="connsiteX6" fmla="*/ 0 w 675608"/>
                  <a:gd name="connsiteY6" fmla="*/ 0 h 402907"/>
                  <a:gd name="connsiteX7" fmla="*/ 85344 w 675608"/>
                  <a:gd name="connsiteY7" fmla="*/ 402907 h 402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5608" h="402907">
                    <a:moveTo>
                      <a:pt x="85344" y="402907"/>
                    </a:moveTo>
                    <a:cubicBezTo>
                      <a:pt x="85344" y="402907"/>
                      <a:pt x="244221" y="402907"/>
                      <a:pt x="369094" y="391668"/>
                    </a:cubicBezTo>
                    <a:cubicBezTo>
                      <a:pt x="493967" y="380524"/>
                      <a:pt x="675608" y="358045"/>
                      <a:pt x="675608" y="358045"/>
                    </a:cubicBezTo>
                    <a:lnTo>
                      <a:pt x="562070" y="44577"/>
                    </a:lnTo>
                    <a:cubicBezTo>
                      <a:pt x="562070" y="44577"/>
                      <a:pt x="562547" y="39909"/>
                      <a:pt x="483489" y="27051"/>
                    </a:cubicBezTo>
                    <a:cubicBezTo>
                      <a:pt x="429673" y="18288"/>
                      <a:pt x="308610" y="10954"/>
                      <a:pt x="244221" y="10954"/>
                    </a:cubicBezTo>
                    <a:cubicBezTo>
                      <a:pt x="85344" y="10954"/>
                      <a:pt x="0" y="0"/>
                      <a:pt x="0" y="0"/>
                    </a:cubicBezTo>
                    <a:lnTo>
                      <a:pt x="85344" y="402907"/>
                    </a:lnTo>
                    <a:close/>
                  </a:path>
                </a:pathLst>
              </a:custGeom>
              <a:solidFill>
                <a:srgbClr val="D38D4D"/>
              </a:solidFill>
              <a:ln w="952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391" name="Freeform: Shape 390">
                <a:extLst>
                  <a:ext uri="{FF2B5EF4-FFF2-40B4-BE49-F238E27FC236}">
                    <a16:creationId xmlns:a16="http://schemas.microsoft.com/office/drawing/2014/main" id="{27B15581-DD1A-4264-93BC-B50074DE175E}"/>
                  </a:ext>
                </a:extLst>
              </p:cNvPr>
              <p:cNvSpPr/>
              <p:nvPr/>
            </p:nvSpPr>
            <p:spPr>
              <a:xfrm>
                <a:off x="1087300" y="3674185"/>
                <a:ext cx="229120" cy="38279"/>
              </a:xfrm>
              <a:custGeom>
                <a:avLst/>
                <a:gdLst>
                  <a:gd name="connsiteX0" fmla="*/ 22669 w 612933"/>
                  <a:gd name="connsiteY0" fmla="*/ 111919 h 111918"/>
                  <a:gd name="connsiteX1" fmla="*/ 612934 w 612933"/>
                  <a:gd name="connsiteY1" fmla="*/ 55912 h 111918"/>
                  <a:gd name="connsiteX2" fmla="*/ 567595 w 612933"/>
                  <a:gd name="connsiteY2" fmla="*/ 0 h 111918"/>
                  <a:gd name="connsiteX3" fmla="*/ 0 w 612933"/>
                  <a:gd name="connsiteY3" fmla="*/ 33528 h 111918"/>
                </a:gdLst>
                <a:ahLst/>
                <a:cxnLst>
                  <a:cxn ang="0">
                    <a:pos x="connsiteX0" y="connsiteY0"/>
                  </a:cxn>
                  <a:cxn ang="0">
                    <a:pos x="connsiteX1" y="connsiteY1"/>
                  </a:cxn>
                  <a:cxn ang="0">
                    <a:pos x="connsiteX2" y="connsiteY2"/>
                  </a:cxn>
                  <a:cxn ang="0">
                    <a:pos x="connsiteX3" y="connsiteY3"/>
                  </a:cxn>
                </a:cxnLst>
                <a:rect l="l" t="t" r="r" b="b"/>
                <a:pathLst>
                  <a:path w="612933" h="111918">
                    <a:moveTo>
                      <a:pt x="22669" y="111919"/>
                    </a:moveTo>
                    <a:lnTo>
                      <a:pt x="612934" y="55912"/>
                    </a:lnTo>
                    <a:lnTo>
                      <a:pt x="567595" y="0"/>
                    </a:lnTo>
                    <a:lnTo>
                      <a:pt x="0" y="33528"/>
                    </a:lnTo>
                    <a:close/>
                  </a:path>
                </a:pathLst>
              </a:custGeom>
              <a:solidFill>
                <a:srgbClr val="CC6600"/>
              </a:solidFill>
              <a:ln w="952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392" name="Freeform: Shape 391">
                <a:extLst>
                  <a:ext uri="{FF2B5EF4-FFF2-40B4-BE49-F238E27FC236}">
                    <a16:creationId xmlns:a16="http://schemas.microsoft.com/office/drawing/2014/main" id="{77E9D88A-D35E-45BE-BDAF-9AFF47AF5B0D}"/>
                  </a:ext>
                </a:extLst>
              </p:cNvPr>
              <p:cNvSpPr/>
              <p:nvPr/>
            </p:nvSpPr>
            <p:spPr>
              <a:xfrm>
                <a:off x="871995" y="3369096"/>
                <a:ext cx="52487" cy="18079"/>
              </a:xfrm>
              <a:custGeom>
                <a:avLst/>
                <a:gdLst>
                  <a:gd name="connsiteX0" fmla="*/ 0 w 140411"/>
                  <a:gd name="connsiteY0" fmla="*/ 30000 h 52859"/>
                  <a:gd name="connsiteX1" fmla="*/ 107823 w 140411"/>
                  <a:gd name="connsiteY1" fmla="*/ 1996 h 52859"/>
                  <a:gd name="connsiteX2" fmla="*/ 134684 w 140411"/>
                  <a:gd name="connsiteY2" fmla="*/ 52860 h 52859"/>
                  <a:gd name="connsiteX3" fmla="*/ 83534 w 140411"/>
                  <a:gd name="connsiteY3" fmla="*/ 33429 h 52859"/>
                  <a:gd name="connsiteX4" fmla="*/ 0 w 140411"/>
                  <a:gd name="connsiteY4" fmla="*/ 30000 h 52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411" h="52859">
                    <a:moveTo>
                      <a:pt x="0" y="30000"/>
                    </a:moveTo>
                    <a:cubicBezTo>
                      <a:pt x="0" y="30000"/>
                      <a:pt x="56769" y="-9148"/>
                      <a:pt x="107823" y="1996"/>
                    </a:cubicBezTo>
                    <a:cubicBezTo>
                      <a:pt x="158877" y="13140"/>
                      <a:pt x="134684" y="52860"/>
                      <a:pt x="134684" y="52860"/>
                    </a:cubicBezTo>
                    <a:cubicBezTo>
                      <a:pt x="134684" y="52860"/>
                      <a:pt x="111919" y="39048"/>
                      <a:pt x="83534" y="33429"/>
                    </a:cubicBezTo>
                    <a:cubicBezTo>
                      <a:pt x="55245" y="27904"/>
                      <a:pt x="0" y="30000"/>
                      <a:pt x="0" y="30000"/>
                    </a:cubicBezTo>
                    <a:close/>
                  </a:path>
                </a:pathLst>
              </a:custGeom>
              <a:solidFill>
                <a:srgbClr val="0962AB"/>
              </a:solidFill>
              <a:ln w="952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393" name="Freeform: Shape 392">
                <a:extLst>
                  <a:ext uri="{FF2B5EF4-FFF2-40B4-BE49-F238E27FC236}">
                    <a16:creationId xmlns:a16="http://schemas.microsoft.com/office/drawing/2014/main" id="{E556E7C2-1BCE-4947-BBC6-04AE134860B6}"/>
                  </a:ext>
                </a:extLst>
              </p:cNvPr>
              <p:cNvSpPr/>
              <p:nvPr/>
            </p:nvSpPr>
            <p:spPr>
              <a:xfrm>
                <a:off x="1616430" y="3595673"/>
                <a:ext cx="50961" cy="55219"/>
              </a:xfrm>
              <a:custGeom>
                <a:avLst/>
                <a:gdLst>
                  <a:gd name="connsiteX0" fmla="*/ 53340 w 136329"/>
                  <a:gd name="connsiteY0" fmla="*/ 1905 h 161448"/>
                  <a:gd name="connsiteX1" fmla="*/ 127445 w 136329"/>
                  <a:gd name="connsiteY1" fmla="*/ 79534 h 161448"/>
                  <a:gd name="connsiteX2" fmla="*/ 0 w 136329"/>
                  <a:gd name="connsiteY2" fmla="*/ 161449 h 161448"/>
                  <a:gd name="connsiteX3" fmla="*/ 36100 w 136329"/>
                  <a:gd name="connsiteY3" fmla="*/ 0 h 161448"/>
                  <a:gd name="connsiteX4" fmla="*/ 53340 w 136329"/>
                  <a:gd name="connsiteY4" fmla="*/ 1905 h 161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329" h="161448">
                    <a:moveTo>
                      <a:pt x="53340" y="1905"/>
                    </a:moveTo>
                    <a:cubicBezTo>
                      <a:pt x="72200" y="-4191"/>
                      <a:pt x="165068" y="24955"/>
                      <a:pt x="127445" y="79534"/>
                    </a:cubicBezTo>
                    <a:cubicBezTo>
                      <a:pt x="89821" y="134112"/>
                      <a:pt x="0" y="161449"/>
                      <a:pt x="0" y="161449"/>
                    </a:cubicBezTo>
                    <a:lnTo>
                      <a:pt x="36100" y="0"/>
                    </a:lnTo>
                    <a:lnTo>
                      <a:pt x="53340" y="1905"/>
                    </a:lnTo>
                    <a:close/>
                  </a:path>
                </a:pathLst>
              </a:custGeom>
              <a:solidFill>
                <a:srgbClr val="F9B992"/>
              </a:solidFill>
              <a:ln w="952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394" name="Freeform: Shape 393">
                <a:extLst>
                  <a:ext uri="{FF2B5EF4-FFF2-40B4-BE49-F238E27FC236}">
                    <a16:creationId xmlns:a16="http://schemas.microsoft.com/office/drawing/2014/main" id="{5CB3907C-E9CD-40B6-81E3-BC0DBBCE1AD1}"/>
                  </a:ext>
                </a:extLst>
              </p:cNvPr>
              <p:cNvSpPr/>
              <p:nvPr/>
            </p:nvSpPr>
            <p:spPr>
              <a:xfrm>
                <a:off x="1320443" y="3552231"/>
                <a:ext cx="308348" cy="167349"/>
              </a:xfrm>
              <a:custGeom>
                <a:avLst/>
                <a:gdLst>
                  <a:gd name="connsiteX0" fmla="*/ 684181 w 824881"/>
                  <a:gd name="connsiteY0" fmla="*/ 433054 h 489289"/>
                  <a:gd name="connsiteX1" fmla="*/ 725805 w 824881"/>
                  <a:gd name="connsiteY1" fmla="*/ 392953 h 489289"/>
                  <a:gd name="connsiteX2" fmla="*/ 759523 w 824881"/>
                  <a:gd name="connsiteY2" fmla="*/ 361616 h 489289"/>
                  <a:gd name="connsiteX3" fmla="*/ 790004 w 824881"/>
                  <a:gd name="connsiteY3" fmla="*/ 309800 h 489289"/>
                  <a:gd name="connsiteX4" fmla="*/ 804291 w 824881"/>
                  <a:gd name="connsiteY4" fmla="*/ 225885 h 489289"/>
                  <a:gd name="connsiteX5" fmla="*/ 818007 w 824881"/>
                  <a:gd name="connsiteY5" fmla="*/ 85010 h 489289"/>
                  <a:gd name="connsiteX6" fmla="*/ 637604 w 824881"/>
                  <a:gd name="connsiteY6" fmla="*/ 1762 h 489289"/>
                  <a:gd name="connsiteX7" fmla="*/ 167830 w 824881"/>
                  <a:gd name="connsiteY7" fmla="*/ 83486 h 489289"/>
                  <a:gd name="connsiteX8" fmla="*/ 58007 w 824881"/>
                  <a:gd name="connsiteY8" fmla="*/ 83105 h 489289"/>
                  <a:gd name="connsiteX9" fmla="*/ 0 w 824881"/>
                  <a:gd name="connsiteY9" fmla="*/ 358283 h 489289"/>
                  <a:gd name="connsiteX10" fmla="*/ 167830 w 824881"/>
                  <a:gd name="connsiteY10" fmla="*/ 385048 h 489289"/>
                  <a:gd name="connsiteX11" fmla="*/ 395383 w 824881"/>
                  <a:gd name="connsiteY11" fmla="*/ 397621 h 489289"/>
                  <a:gd name="connsiteX12" fmla="*/ 480346 w 824881"/>
                  <a:gd name="connsiteY12" fmla="*/ 401621 h 489289"/>
                  <a:gd name="connsiteX13" fmla="*/ 627507 w 824881"/>
                  <a:gd name="connsiteY13" fmla="*/ 483250 h 489289"/>
                  <a:gd name="connsiteX14" fmla="*/ 684181 w 824881"/>
                  <a:gd name="connsiteY14" fmla="*/ 433054 h 489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24881" h="489289">
                    <a:moveTo>
                      <a:pt x="684181" y="433054"/>
                    </a:moveTo>
                    <a:cubicBezTo>
                      <a:pt x="698849" y="421052"/>
                      <a:pt x="710660" y="407146"/>
                      <a:pt x="725805" y="392953"/>
                    </a:cubicBezTo>
                    <a:cubicBezTo>
                      <a:pt x="736663" y="382762"/>
                      <a:pt x="750570" y="372665"/>
                      <a:pt x="759523" y="361616"/>
                    </a:cubicBezTo>
                    <a:cubicBezTo>
                      <a:pt x="769715" y="349043"/>
                      <a:pt x="781240" y="323040"/>
                      <a:pt x="790004" y="309800"/>
                    </a:cubicBezTo>
                    <a:cubicBezTo>
                      <a:pt x="806672" y="284368"/>
                      <a:pt x="806863" y="251507"/>
                      <a:pt x="804291" y="225885"/>
                    </a:cubicBezTo>
                    <a:cubicBezTo>
                      <a:pt x="801624" y="199786"/>
                      <a:pt x="840105" y="159686"/>
                      <a:pt x="818007" y="85010"/>
                    </a:cubicBezTo>
                    <a:cubicBezTo>
                      <a:pt x="803434" y="35957"/>
                      <a:pt x="718661" y="16430"/>
                      <a:pt x="637604" y="1762"/>
                    </a:cubicBezTo>
                    <a:cubicBezTo>
                      <a:pt x="554355" y="-13288"/>
                      <a:pt x="268129" y="72723"/>
                      <a:pt x="167830" y="83486"/>
                    </a:cubicBezTo>
                    <a:cubicBezTo>
                      <a:pt x="146113" y="85867"/>
                      <a:pt x="107442" y="85582"/>
                      <a:pt x="58007" y="83105"/>
                    </a:cubicBezTo>
                    <a:cubicBezTo>
                      <a:pt x="12383" y="169402"/>
                      <a:pt x="16383" y="262366"/>
                      <a:pt x="0" y="358283"/>
                    </a:cubicBezTo>
                    <a:cubicBezTo>
                      <a:pt x="92678" y="359997"/>
                      <a:pt x="127825" y="359140"/>
                      <a:pt x="167830" y="385048"/>
                    </a:cubicBezTo>
                    <a:cubicBezTo>
                      <a:pt x="228314" y="424100"/>
                      <a:pt x="311467" y="409622"/>
                      <a:pt x="395383" y="397621"/>
                    </a:cubicBezTo>
                    <a:cubicBezTo>
                      <a:pt x="450628" y="389715"/>
                      <a:pt x="462629" y="375904"/>
                      <a:pt x="480346" y="401621"/>
                    </a:cubicBezTo>
                    <a:cubicBezTo>
                      <a:pt x="524923" y="466296"/>
                      <a:pt x="582930" y="504872"/>
                      <a:pt x="627507" y="483250"/>
                    </a:cubicBezTo>
                    <a:cubicBezTo>
                      <a:pt x="644366" y="475154"/>
                      <a:pt x="646843" y="463534"/>
                      <a:pt x="684181" y="433054"/>
                    </a:cubicBezTo>
                    <a:close/>
                  </a:path>
                </a:pathLst>
              </a:custGeom>
              <a:solidFill>
                <a:srgbClr val="D38D4D"/>
              </a:solidFill>
              <a:ln w="952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395" name="Freeform: Shape 394">
                <a:extLst>
                  <a:ext uri="{FF2B5EF4-FFF2-40B4-BE49-F238E27FC236}">
                    <a16:creationId xmlns:a16="http://schemas.microsoft.com/office/drawing/2014/main" id="{60380484-2074-41AD-A617-7A74F6A73691}"/>
                  </a:ext>
                </a:extLst>
              </p:cNvPr>
              <p:cNvSpPr/>
              <p:nvPr/>
            </p:nvSpPr>
            <p:spPr>
              <a:xfrm>
                <a:off x="1485759" y="3616164"/>
                <a:ext cx="88063" cy="101349"/>
              </a:xfrm>
              <a:custGeom>
                <a:avLst/>
                <a:gdLst>
                  <a:gd name="connsiteX0" fmla="*/ 57341 w 235582"/>
                  <a:gd name="connsiteY0" fmla="*/ 50673 h 296322"/>
                  <a:gd name="connsiteX1" fmla="*/ 217456 w 235582"/>
                  <a:gd name="connsiteY1" fmla="*/ 176594 h 296322"/>
                  <a:gd name="connsiteX2" fmla="*/ 227933 w 235582"/>
                  <a:gd name="connsiteY2" fmla="*/ 263938 h 296322"/>
                  <a:gd name="connsiteX3" fmla="*/ 185166 w 235582"/>
                  <a:gd name="connsiteY3" fmla="*/ 296323 h 296322"/>
                  <a:gd name="connsiteX4" fmla="*/ 195263 w 235582"/>
                  <a:gd name="connsiteY4" fmla="*/ 202406 h 296322"/>
                  <a:gd name="connsiteX5" fmla="*/ 0 w 235582"/>
                  <a:gd name="connsiteY5" fmla="*/ 48959 h 296322"/>
                  <a:gd name="connsiteX6" fmla="*/ 19336 w 235582"/>
                  <a:gd name="connsiteY6" fmla="*/ 0 h 296322"/>
                  <a:gd name="connsiteX7" fmla="*/ 57341 w 235582"/>
                  <a:gd name="connsiteY7" fmla="*/ 50673 h 296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5582" h="296322">
                    <a:moveTo>
                      <a:pt x="57341" y="50673"/>
                    </a:moveTo>
                    <a:cubicBezTo>
                      <a:pt x="92488" y="84106"/>
                      <a:pt x="193834" y="138303"/>
                      <a:pt x="217456" y="176594"/>
                    </a:cubicBezTo>
                    <a:cubicBezTo>
                      <a:pt x="240983" y="214884"/>
                      <a:pt x="238316" y="245269"/>
                      <a:pt x="227933" y="263938"/>
                    </a:cubicBezTo>
                    <a:cubicBezTo>
                      <a:pt x="217551" y="282607"/>
                      <a:pt x="185166" y="296323"/>
                      <a:pt x="185166" y="296323"/>
                    </a:cubicBezTo>
                    <a:cubicBezTo>
                      <a:pt x="185166" y="296323"/>
                      <a:pt x="227171" y="257366"/>
                      <a:pt x="195263" y="202406"/>
                    </a:cubicBezTo>
                    <a:cubicBezTo>
                      <a:pt x="163354" y="147542"/>
                      <a:pt x="0" y="48959"/>
                      <a:pt x="0" y="48959"/>
                    </a:cubicBezTo>
                    <a:lnTo>
                      <a:pt x="19336" y="0"/>
                    </a:lnTo>
                    <a:cubicBezTo>
                      <a:pt x="19336" y="95"/>
                      <a:pt x="43625" y="37719"/>
                      <a:pt x="57341" y="50673"/>
                    </a:cubicBezTo>
                    <a:close/>
                  </a:path>
                </a:pathLst>
              </a:custGeom>
              <a:solidFill>
                <a:srgbClr val="CC6600"/>
              </a:solidFill>
              <a:ln w="952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396" name="Freeform: Shape 395">
                <a:extLst>
                  <a:ext uri="{FF2B5EF4-FFF2-40B4-BE49-F238E27FC236}">
                    <a16:creationId xmlns:a16="http://schemas.microsoft.com/office/drawing/2014/main" id="{71ADA6A5-C7FD-4ACC-9914-129EF3622D16}"/>
                  </a:ext>
                </a:extLst>
              </p:cNvPr>
              <p:cNvSpPr/>
              <p:nvPr/>
            </p:nvSpPr>
            <p:spPr>
              <a:xfrm>
                <a:off x="1505092" y="3587007"/>
                <a:ext cx="91180" cy="110667"/>
              </a:xfrm>
              <a:custGeom>
                <a:avLst/>
                <a:gdLst>
                  <a:gd name="connsiteX0" fmla="*/ 55817 w 243920"/>
                  <a:gd name="connsiteY0" fmla="*/ 43624 h 323564"/>
                  <a:gd name="connsiteX1" fmla="*/ 222409 w 243920"/>
                  <a:gd name="connsiteY1" fmla="*/ 179261 h 323564"/>
                  <a:gd name="connsiteX2" fmla="*/ 238030 w 243920"/>
                  <a:gd name="connsiteY2" fmla="*/ 281273 h 323564"/>
                  <a:gd name="connsiteX3" fmla="*/ 200120 w 243920"/>
                  <a:gd name="connsiteY3" fmla="*/ 323564 h 323564"/>
                  <a:gd name="connsiteX4" fmla="*/ 201263 w 243920"/>
                  <a:gd name="connsiteY4" fmla="*/ 206788 h 323564"/>
                  <a:gd name="connsiteX5" fmla="*/ 0 w 243920"/>
                  <a:gd name="connsiteY5" fmla="*/ 51625 h 323564"/>
                  <a:gd name="connsiteX6" fmla="*/ 17431 w 243920"/>
                  <a:gd name="connsiteY6" fmla="*/ 0 h 323564"/>
                  <a:gd name="connsiteX7" fmla="*/ 55817 w 243920"/>
                  <a:gd name="connsiteY7" fmla="*/ 43624 h 323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920" h="323564">
                    <a:moveTo>
                      <a:pt x="55817" y="43624"/>
                    </a:moveTo>
                    <a:cubicBezTo>
                      <a:pt x="55817" y="43624"/>
                      <a:pt x="197358" y="139922"/>
                      <a:pt x="222409" y="179261"/>
                    </a:cubicBezTo>
                    <a:cubicBezTo>
                      <a:pt x="247459" y="218599"/>
                      <a:pt x="247650" y="261556"/>
                      <a:pt x="238030" y="281273"/>
                    </a:cubicBezTo>
                    <a:cubicBezTo>
                      <a:pt x="228409" y="301085"/>
                      <a:pt x="200120" y="323564"/>
                      <a:pt x="200120" y="323564"/>
                    </a:cubicBezTo>
                    <a:cubicBezTo>
                      <a:pt x="200120" y="323564"/>
                      <a:pt x="235267" y="263271"/>
                      <a:pt x="201263" y="206788"/>
                    </a:cubicBezTo>
                    <a:cubicBezTo>
                      <a:pt x="167259" y="150304"/>
                      <a:pt x="0" y="51625"/>
                      <a:pt x="0" y="51625"/>
                    </a:cubicBezTo>
                    <a:lnTo>
                      <a:pt x="17431" y="0"/>
                    </a:lnTo>
                    <a:lnTo>
                      <a:pt x="55817" y="43624"/>
                    </a:lnTo>
                    <a:close/>
                  </a:path>
                </a:pathLst>
              </a:custGeom>
              <a:solidFill>
                <a:srgbClr val="CC6600"/>
              </a:solidFill>
              <a:ln w="952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397" name="Freeform: Shape 396">
                <a:extLst>
                  <a:ext uri="{FF2B5EF4-FFF2-40B4-BE49-F238E27FC236}">
                    <a16:creationId xmlns:a16="http://schemas.microsoft.com/office/drawing/2014/main" id="{B65BA5D3-8460-41D8-8A5D-D626B3AE8454}"/>
                  </a:ext>
                </a:extLst>
              </p:cNvPr>
              <p:cNvSpPr/>
              <p:nvPr/>
            </p:nvSpPr>
            <p:spPr>
              <a:xfrm>
                <a:off x="1530016" y="3557394"/>
                <a:ext cx="91204" cy="112458"/>
              </a:xfrm>
              <a:custGeom>
                <a:avLst/>
                <a:gdLst>
                  <a:gd name="connsiteX0" fmla="*/ 55817 w 243985"/>
                  <a:gd name="connsiteY0" fmla="*/ 43624 h 328802"/>
                  <a:gd name="connsiteX1" fmla="*/ 222409 w 243985"/>
                  <a:gd name="connsiteY1" fmla="*/ 156781 h 328802"/>
                  <a:gd name="connsiteX2" fmla="*/ 238125 w 243985"/>
                  <a:gd name="connsiteY2" fmla="*/ 281273 h 328802"/>
                  <a:gd name="connsiteX3" fmla="*/ 210312 w 243985"/>
                  <a:gd name="connsiteY3" fmla="*/ 328803 h 328802"/>
                  <a:gd name="connsiteX4" fmla="*/ 201359 w 243985"/>
                  <a:gd name="connsiteY4" fmla="*/ 206788 h 328802"/>
                  <a:gd name="connsiteX5" fmla="*/ 0 w 243985"/>
                  <a:gd name="connsiteY5" fmla="*/ 51625 h 328802"/>
                  <a:gd name="connsiteX6" fmla="*/ 17431 w 243985"/>
                  <a:gd name="connsiteY6" fmla="*/ 0 h 328802"/>
                  <a:gd name="connsiteX7" fmla="*/ 55817 w 243985"/>
                  <a:gd name="connsiteY7" fmla="*/ 43624 h 328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985" h="328802">
                    <a:moveTo>
                      <a:pt x="55817" y="43624"/>
                    </a:moveTo>
                    <a:cubicBezTo>
                      <a:pt x="3524" y="8191"/>
                      <a:pt x="219932" y="152876"/>
                      <a:pt x="222409" y="156781"/>
                    </a:cubicBezTo>
                    <a:cubicBezTo>
                      <a:pt x="247459" y="196120"/>
                      <a:pt x="247745" y="261461"/>
                      <a:pt x="238125" y="281273"/>
                    </a:cubicBezTo>
                    <a:cubicBezTo>
                      <a:pt x="228505" y="301085"/>
                      <a:pt x="210312" y="328803"/>
                      <a:pt x="210312" y="328803"/>
                    </a:cubicBezTo>
                    <a:cubicBezTo>
                      <a:pt x="210312" y="328803"/>
                      <a:pt x="235363" y="263271"/>
                      <a:pt x="201359" y="206788"/>
                    </a:cubicBezTo>
                    <a:cubicBezTo>
                      <a:pt x="167354" y="150304"/>
                      <a:pt x="0" y="51625"/>
                      <a:pt x="0" y="51625"/>
                    </a:cubicBezTo>
                    <a:lnTo>
                      <a:pt x="17431" y="0"/>
                    </a:lnTo>
                    <a:lnTo>
                      <a:pt x="55817" y="43624"/>
                    </a:lnTo>
                    <a:close/>
                  </a:path>
                </a:pathLst>
              </a:custGeom>
              <a:solidFill>
                <a:srgbClr val="CC6600"/>
              </a:solidFill>
              <a:ln w="952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398" name="Freeform: Shape 397">
                <a:extLst>
                  <a:ext uri="{FF2B5EF4-FFF2-40B4-BE49-F238E27FC236}">
                    <a16:creationId xmlns:a16="http://schemas.microsoft.com/office/drawing/2014/main" id="{324EB3E3-55D4-416D-9BF2-DFABF61A9210}"/>
                  </a:ext>
                </a:extLst>
              </p:cNvPr>
              <p:cNvSpPr/>
              <p:nvPr/>
            </p:nvSpPr>
            <p:spPr>
              <a:xfrm>
                <a:off x="1461903" y="3676562"/>
                <a:ext cx="77228" cy="25959"/>
              </a:xfrm>
              <a:custGeom>
                <a:avLst/>
                <a:gdLst>
                  <a:gd name="connsiteX0" fmla="*/ 79058 w 206597"/>
                  <a:gd name="connsiteY0" fmla="*/ 4 h 75899"/>
                  <a:gd name="connsiteX1" fmla="*/ 122492 w 206597"/>
                  <a:gd name="connsiteY1" fmla="*/ 23626 h 75899"/>
                  <a:gd name="connsiteX2" fmla="*/ 206597 w 206597"/>
                  <a:gd name="connsiteY2" fmla="*/ 73346 h 75899"/>
                  <a:gd name="connsiteX3" fmla="*/ 129254 w 206597"/>
                  <a:gd name="connsiteY3" fmla="*/ 71441 h 75899"/>
                  <a:gd name="connsiteX4" fmla="*/ 88011 w 206597"/>
                  <a:gd name="connsiteY4" fmla="*/ 42199 h 75899"/>
                  <a:gd name="connsiteX5" fmla="*/ 0 w 206597"/>
                  <a:gd name="connsiteY5" fmla="*/ 36580 h 75899"/>
                  <a:gd name="connsiteX6" fmla="*/ 79058 w 206597"/>
                  <a:gd name="connsiteY6" fmla="*/ 4 h 75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6597" h="75899">
                    <a:moveTo>
                      <a:pt x="79058" y="4"/>
                    </a:moveTo>
                    <a:cubicBezTo>
                      <a:pt x="91535" y="-282"/>
                      <a:pt x="112681" y="16101"/>
                      <a:pt x="122492" y="23626"/>
                    </a:cubicBezTo>
                    <a:cubicBezTo>
                      <a:pt x="153257" y="47153"/>
                      <a:pt x="206597" y="73346"/>
                      <a:pt x="206597" y="73346"/>
                    </a:cubicBezTo>
                    <a:cubicBezTo>
                      <a:pt x="206597" y="73346"/>
                      <a:pt x="147923" y="80204"/>
                      <a:pt x="129254" y="71441"/>
                    </a:cubicBezTo>
                    <a:cubicBezTo>
                      <a:pt x="118777" y="66488"/>
                      <a:pt x="102299" y="46867"/>
                      <a:pt x="88011" y="42199"/>
                    </a:cubicBezTo>
                    <a:cubicBezTo>
                      <a:pt x="70104" y="36294"/>
                      <a:pt x="0" y="36580"/>
                      <a:pt x="0" y="36580"/>
                    </a:cubicBezTo>
                    <a:cubicBezTo>
                      <a:pt x="0" y="36580"/>
                      <a:pt x="57245" y="575"/>
                      <a:pt x="79058" y="4"/>
                    </a:cubicBezTo>
                    <a:close/>
                  </a:path>
                </a:pathLst>
              </a:custGeom>
              <a:solidFill>
                <a:srgbClr val="CC6600"/>
              </a:solidFill>
              <a:ln w="952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399" name="Freeform: Shape 398">
                <a:extLst>
                  <a:ext uri="{FF2B5EF4-FFF2-40B4-BE49-F238E27FC236}">
                    <a16:creationId xmlns:a16="http://schemas.microsoft.com/office/drawing/2014/main" id="{A1173A10-8FBF-41BC-8BB6-3E94D1BE6CD8}"/>
                  </a:ext>
                </a:extLst>
              </p:cNvPr>
              <p:cNvSpPr/>
              <p:nvPr/>
            </p:nvSpPr>
            <p:spPr>
              <a:xfrm>
                <a:off x="1525992" y="3542180"/>
                <a:ext cx="111128" cy="76590"/>
              </a:xfrm>
              <a:custGeom>
                <a:avLst/>
                <a:gdLst>
                  <a:gd name="connsiteX0" fmla="*/ 53340 w 297286"/>
                  <a:gd name="connsiteY0" fmla="*/ 24765 h 223932"/>
                  <a:gd name="connsiteX1" fmla="*/ 228791 w 297286"/>
                  <a:gd name="connsiteY1" fmla="*/ 50102 h 223932"/>
                  <a:gd name="connsiteX2" fmla="*/ 297275 w 297286"/>
                  <a:gd name="connsiteY2" fmla="*/ 192786 h 223932"/>
                  <a:gd name="connsiteX3" fmla="*/ 269272 w 297286"/>
                  <a:gd name="connsiteY3" fmla="*/ 223933 h 223932"/>
                  <a:gd name="connsiteX4" fmla="*/ 221361 w 297286"/>
                  <a:gd name="connsiteY4" fmla="*/ 73247 h 223932"/>
                  <a:gd name="connsiteX5" fmla="*/ 5715 w 297286"/>
                  <a:gd name="connsiteY5" fmla="*/ 54007 h 223932"/>
                  <a:gd name="connsiteX6" fmla="*/ 0 w 297286"/>
                  <a:gd name="connsiteY6" fmla="*/ 0 h 223932"/>
                  <a:gd name="connsiteX7" fmla="*/ 53340 w 297286"/>
                  <a:gd name="connsiteY7" fmla="*/ 24765 h 223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286" h="223932">
                    <a:moveTo>
                      <a:pt x="53340" y="24765"/>
                    </a:moveTo>
                    <a:cubicBezTo>
                      <a:pt x="53340" y="24765"/>
                      <a:pt x="188500" y="25432"/>
                      <a:pt x="228791" y="50102"/>
                    </a:cubicBezTo>
                    <a:cubicBezTo>
                      <a:pt x="283655" y="83629"/>
                      <a:pt x="297751" y="170879"/>
                      <a:pt x="297275" y="192786"/>
                    </a:cubicBezTo>
                    <a:cubicBezTo>
                      <a:pt x="296799" y="214694"/>
                      <a:pt x="269272" y="223933"/>
                      <a:pt x="269272" y="223933"/>
                    </a:cubicBezTo>
                    <a:cubicBezTo>
                      <a:pt x="269272" y="223933"/>
                      <a:pt x="276130" y="111538"/>
                      <a:pt x="221361" y="73247"/>
                    </a:cubicBezTo>
                    <a:cubicBezTo>
                      <a:pt x="166592" y="34957"/>
                      <a:pt x="5715" y="54007"/>
                      <a:pt x="5715" y="54007"/>
                    </a:cubicBezTo>
                    <a:lnTo>
                      <a:pt x="0" y="0"/>
                    </a:lnTo>
                    <a:lnTo>
                      <a:pt x="53340" y="24765"/>
                    </a:lnTo>
                    <a:close/>
                  </a:path>
                </a:pathLst>
              </a:custGeom>
              <a:solidFill>
                <a:srgbClr val="CC6600"/>
              </a:solidFill>
              <a:ln w="952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400" name="Freeform: Shape 399">
                <a:extLst>
                  <a:ext uri="{FF2B5EF4-FFF2-40B4-BE49-F238E27FC236}">
                    <a16:creationId xmlns:a16="http://schemas.microsoft.com/office/drawing/2014/main" id="{FB14DF95-652D-4FAD-A466-56F6F58A09A3}"/>
                  </a:ext>
                </a:extLst>
              </p:cNvPr>
              <p:cNvSpPr/>
              <p:nvPr/>
            </p:nvSpPr>
            <p:spPr>
              <a:xfrm>
                <a:off x="1595530" y="3596324"/>
                <a:ext cx="41393" cy="47694"/>
              </a:xfrm>
              <a:custGeom>
                <a:avLst/>
                <a:gdLst>
                  <a:gd name="connsiteX0" fmla="*/ 0 w 110732"/>
                  <a:gd name="connsiteY0" fmla="*/ 8573 h 139446"/>
                  <a:gd name="connsiteX1" fmla="*/ 52769 w 110732"/>
                  <a:gd name="connsiteY1" fmla="*/ 43053 h 139446"/>
                  <a:gd name="connsiteX2" fmla="*/ 109252 w 110732"/>
                  <a:gd name="connsiteY2" fmla="*/ 0 h 139446"/>
                  <a:gd name="connsiteX3" fmla="*/ 106680 w 110732"/>
                  <a:gd name="connsiteY3" fmla="*/ 48578 h 139446"/>
                  <a:gd name="connsiteX4" fmla="*/ 73152 w 110732"/>
                  <a:gd name="connsiteY4" fmla="*/ 96965 h 139446"/>
                  <a:gd name="connsiteX5" fmla="*/ 63532 w 110732"/>
                  <a:gd name="connsiteY5" fmla="*/ 139446 h 139446"/>
                  <a:gd name="connsiteX6" fmla="*/ 0 w 110732"/>
                  <a:gd name="connsiteY6" fmla="*/ 8573 h 139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0732" h="139446">
                    <a:moveTo>
                      <a:pt x="0" y="8573"/>
                    </a:moveTo>
                    <a:cubicBezTo>
                      <a:pt x="0" y="8573"/>
                      <a:pt x="42100" y="41815"/>
                      <a:pt x="52769" y="43053"/>
                    </a:cubicBezTo>
                    <a:cubicBezTo>
                      <a:pt x="87725" y="47244"/>
                      <a:pt x="109252" y="0"/>
                      <a:pt x="109252" y="0"/>
                    </a:cubicBezTo>
                    <a:cubicBezTo>
                      <a:pt x="109252" y="0"/>
                      <a:pt x="113919" y="34671"/>
                      <a:pt x="106680" y="48578"/>
                    </a:cubicBezTo>
                    <a:cubicBezTo>
                      <a:pt x="99346" y="62579"/>
                      <a:pt x="76105" y="88583"/>
                      <a:pt x="73152" y="96965"/>
                    </a:cubicBezTo>
                    <a:cubicBezTo>
                      <a:pt x="69437" y="107728"/>
                      <a:pt x="63532" y="139446"/>
                      <a:pt x="63532" y="139446"/>
                    </a:cubicBezTo>
                    <a:lnTo>
                      <a:pt x="0" y="8573"/>
                    </a:lnTo>
                    <a:close/>
                  </a:path>
                </a:pathLst>
              </a:custGeom>
              <a:solidFill>
                <a:srgbClr val="CC6600"/>
              </a:solidFill>
              <a:ln w="952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401" name="Freeform: Shape 400">
                <a:extLst>
                  <a:ext uri="{FF2B5EF4-FFF2-40B4-BE49-F238E27FC236}">
                    <a16:creationId xmlns:a16="http://schemas.microsoft.com/office/drawing/2014/main" id="{E576D141-3800-4B9C-A275-5F29737037D6}"/>
                  </a:ext>
                </a:extLst>
              </p:cNvPr>
              <p:cNvSpPr/>
              <p:nvPr/>
            </p:nvSpPr>
            <p:spPr>
              <a:xfrm>
                <a:off x="1274976" y="2681564"/>
                <a:ext cx="340392" cy="360988"/>
              </a:xfrm>
              <a:custGeom>
                <a:avLst/>
                <a:gdLst>
                  <a:gd name="connsiteX0" fmla="*/ 306610 w 910604"/>
                  <a:gd name="connsiteY0" fmla="*/ 1042351 h 1055449"/>
                  <a:gd name="connsiteX1" fmla="*/ 247269 w 910604"/>
                  <a:gd name="connsiteY1" fmla="*/ 1039684 h 1055449"/>
                  <a:gd name="connsiteX2" fmla="*/ 19526 w 910604"/>
                  <a:gd name="connsiteY2" fmla="*/ 764888 h 1055449"/>
                  <a:gd name="connsiteX3" fmla="*/ 8001 w 910604"/>
                  <a:gd name="connsiteY3" fmla="*/ 684211 h 1055449"/>
                  <a:gd name="connsiteX4" fmla="*/ 604075 w 910604"/>
                  <a:gd name="connsiteY4" fmla="*/ 10793 h 1055449"/>
                  <a:gd name="connsiteX5" fmla="*/ 699611 w 910604"/>
                  <a:gd name="connsiteY5" fmla="*/ 18985 h 1055449"/>
                  <a:gd name="connsiteX6" fmla="*/ 890587 w 910604"/>
                  <a:gd name="connsiteY6" fmla="*/ 282637 h 1055449"/>
                  <a:gd name="connsiteX7" fmla="*/ 902779 w 910604"/>
                  <a:gd name="connsiteY7" fmla="*/ 368933 h 1055449"/>
                  <a:gd name="connsiteX8" fmla="*/ 306610 w 910604"/>
                  <a:gd name="connsiteY8" fmla="*/ 1042351 h 1055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0604" h="1055449">
                    <a:moveTo>
                      <a:pt x="306610" y="1042351"/>
                    </a:moveTo>
                    <a:cubicBezTo>
                      <a:pt x="290036" y="1060830"/>
                      <a:pt x="263461" y="1059591"/>
                      <a:pt x="247269" y="1039684"/>
                    </a:cubicBezTo>
                    <a:lnTo>
                      <a:pt x="19526" y="764888"/>
                    </a:lnTo>
                    <a:cubicBezTo>
                      <a:pt x="3238" y="744980"/>
                      <a:pt x="-8573" y="702689"/>
                      <a:pt x="8001" y="684211"/>
                    </a:cubicBezTo>
                    <a:lnTo>
                      <a:pt x="604075" y="10793"/>
                    </a:lnTo>
                    <a:cubicBezTo>
                      <a:pt x="620554" y="-7590"/>
                      <a:pt x="683324" y="-922"/>
                      <a:pt x="699611" y="18985"/>
                    </a:cubicBezTo>
                    <a:lnTo>
                      <a:pt x="890587" y="282637"/>
                    </a:lnTo>
                    <a:cubicBezTo>
                      <a:pt x="906875" y="302544"/>
                      <a:pt x="919353" y="350455"/>
                      <a:pt x="902779" y="368933"/>
                    </a:cubicBezTo>
                    <a:lnTo>
                      <a:pt x="306610" y="1042351"/>
                    </a:lnTo>
                    <a:close/>
                  </a:path>
                </a:pathLst>
              </a:custGeom>
              <a:solidFill>
                <a:srgbClr val="A4A3A3"/>
              </a:solidFill>
              <a:ln w="952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402" name="Freeform: Shape 401">
                <a:extLst>
                  <a:ext uri="{FF2B5EF4-FFF2-40B4-BE49-F238E27FC236}">
                    <a16:creationId xmlns:a16="http://schemas.microsoft.com/office/drawing/2014/main" id="{F31F55F8-17B4-447C-A7CD-E977D7C0EFFC}"/>
                  </a:ext>
                </a:extLst>
              </p:cNvPr>
              <p:cNvSpPr/>
              <p:nvPr/>
            </p:nvSpPr>
            <p:spPr>
              <a:xfrm>
                <a:off x="1290090" y="2706236"/>
                <a:ext cx="237684" cy="337216"/>
              </a:xfrm>
              <a:custGeom>
                <a:avLst/>
                <a:gdLst>
                  <a:gd name="connsiteX0" fmla="*/ 12527 w 635843"/>
                  <a:gd name="connsiteY0" fmla="*/ 626078 h 985944"/>
                  <a:gd name="connsiteX1" fmla="*/ 12051 w 635843"/>
                  <a:gd name="connsiteY1" fmla="*/ 695420 h 985944"/>
                  <a:gd name="connsiteX2" fmla="*/ 239794 w 635843"/>
                  <a:gd name="connsiteY2" fmla="*/ 970217 h 985944"/>
                  <a:gd name="connsiteX3" fmla="*/ 299134 w 635843"/>
                  <a:gd name="connsiteY3" fmla="*/ 972884 h 985944"/>
                  <a:gd name="connsiteX4" fmla="*/ 635843 w 635843"/>
                  <a:gd name="connsiteY4" fmla="*/ 592455 h 985944"/>
                  <a:gd name="connsiteX5" fmla="*/ 566692 w 635843"/>
                  <a:gd name="connsiteY5" fmla="*/ 0 h 985944"/>
                  <a:gd name="connsiteX6" fmla="*/ 12527 w 635843"/>
                  <a:gd name="connsiteY6" fmla="*/ 626078 h 985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843" h="985944">
                    <a:moveTo>
                      <a:pt x="12527" y="626078"/>
                    </a:moveTo>
                    <a:cubicBezTo>
                      <a:pt x="-3951" y="644461"/>
                      <a:pt x="-4237" y="675608"/>
                      <a:pt x="12051" y="695420"/>
                    </a:cubicBezTo>
                    <a:lnTo>
                      <a:pt x="239794" y="970217"/>
                    </a:lnTo>
                    <a:cubicBezTo>
                      <a:pt x="256081" y="990124"/>
                      <a:pt x="282656" y="991267"/>
                      <a:pt x="299134" y="972884"/>
                    </a:cubicBezTo>
                    <a:lnTo>
                      <a:pt x="635843" y="592455"/>
                    </a:lnTo>
                    <a:lnTo>
                      <a:pt x="566692" y="0"/>
                    </a:lnTo>
                    <a:lnTo>
                      <a:pt x="12527" y="626078"/>
                    </a:lnTo>
                    <a:close/>
                  </a:path>
                </a:pathLst>
              </a:custGeom>
              <a:solidFill>
                <a:srgbClr val="030303"/>
              </a:solidFill>
              <a:ln w="952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403" name="Freeform: Shape 402">
                <a:extLst>
                  <a:ext uri="{FF2B5EF4-FFF2-40B4-BE49-F238E27FC236}">
                    <a16:creationId xmlns:a16="http://schemas.microsoft.com/office/drawing/2014/main" id="{B7F5A7A0-465D-4AFE-8767-371F2C722FF3}"/>
                  </a:ext>
                </a:extLst>
              </p:cNvPr>
              <p:cNvSpPr/>
              <p:nvPr/>
            </p:nvSpPr>
            <p:spPr>
              <a:xfrm>
                <a:off x="1501960" y="2685610"/>
                <a:ext cx="127467" cy="237104"/>
              </a:xfrm>
              <a:custGeom>
                <a:avLst/>
                <a:gdLst>
                  <a:gd name="connsiteX0" fmla="*/ 328898 w 340995"/>
                  <a:gd name="connsiteY0" fmla="*/ 290429 h 693241"/>
                  <a:gd name="connsiteX1" fmla="*/ 101155 w 340995"/>
                  <a:gd name="connsiteY1" fmla="*/ 15728 h 693241"/>
                  <a:gd name="connsiteX2" fmla="*/ 41815 w 340995"/>
                  <a:gd name="connsiteY2" fmla="*/ 13061 h 693241"/>
                  <a:gd name="connsiteX3" fmla="*/ 0 w 340995"/>
                  <a:gd name="connsiteY3" fmla="*/ 60305 h 693241"/>
                  <a:gd name="connsiteX4" fmla="*/ 33338 w 340995"/>
                  <a:gd name="connsiteY4" fmla="*/ 693241 h 693241"/>
                  <a:gd name="connsiteX5" fmla="*/ 328517 w 340995"/>
                  <a:gd name="connsiteY5" fmla="*/ 359771 h 693241"/>
                  <a:gd name="connsiteX6" fmla="*/ 328898 w 340995"/>
                  <a:gd name="connsiteY6" fmla="*/ 290429 h 693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0995" h="693241">
                    <a:moveTo>
                      <a:pt x="328898" y="290429"/>
                    </a:moveTo>
                    <a:lnTo>
                      <a:pt x="101155" y="15728"/>
                    </a:lnTo>
                    <a:cubicBezTo>
                      <a:pt x="84963" y="-4179"/>
                      <a:pt x="58388" y="-5322"/>
                      <a:pt x="41815" y="13061"/>
                    </a:cubicBezTo>
                    <a:lnTo>
                      <a:pt x="0" y="60305"/>
                    </a:lnTo>
                    <a:lnTo>
                      <a:pt x="33338" y="693241"/>
                    </a:lnTo>
                    <a:lnTo>
                      <a:pt x="328517" y="359771"/>
                    </a:lnTo>
                    <a:cubicBezTo>
                      <a:pt x="344996" y="341388"/>
                      <a:pt x="345186" y="310336"/>
                      <a:pt x="328898" y="290429"/>
                    </a:cubicBezTo>
                    <a:close/>
                  </a:path>
                </a:pathLst>
              </a:custGeom>
              <a:solidFill>
                <a:srgbClr val="030303"/>
              </a:solidFill>
              <a:ln w="952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404" name="Freeform: Shape 403">
                <a:extLst>
                  <a:ext uri="{FF2B5EF4-FFF2-40B4-BE49-F238E27FC236}">
                    <a16:creationId xmlns:a16="http://schemas.microsoft.com/office/drawing/2014/main" id="{EEB6F97C-6F38-4C04-9A22-5043C502AF8D}"/>
                  </a:ext>
                </a:extLst>
              </p:cNvPr>
              <p:cNvSpPr/>
              <p:nvPr/>
            </p:nvSpPr>
            <p:spPr>
              <a:xfrm>
                <a:off x="1521602" y="2768323"/>
                <a:ext cx="34098" cy="30883"/>
              </a:xfrm>
              <a:custGeom>
                <a:avLst/>
                <a:gdLst>
                  <a:gd name="connsiteX0" fmla="*/ 76423 w 91218"/>
                  <a:gd name="connsiteY0" fmla="*/ 12781 h 90295"/>
                  <a:gd name="connsiteX1" fmla="*/ 79280 w 91218"/>
                  <a:gd name="connsiteY1" fmla="*/ 76598 h 90295"/>
                  <a:gd name="connsiteX2" fmla="*/ 14796 w 91218"/>
                  <a:gd name="connsiteY2" fmla="*/ 77551 h 90295"/>
                  <a:gd name="connsiteX3" fmla="*/ 11939 w 91218"/>
                  <a:gd name="connsiteY3" fmla="*/ 13733 h 90295"/>
                  <a:gd name="connsiteX4" fmla="*/ 76423 w 91218"/>
                  <a:gd name="connsiteY4" fmla="*/ 12781 h 90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218" h="90295">
                    <a:moveTo>
                      <a:pt x="76423" y="12781"/>
                    </a:moveTo>
                    <a:cubicBezTo>
                      <a:pt x="94997" y="30116"/>
                      <a:pt x="96235" y="58691"/>
                      <a:pt x="79280" y="76598"/>
                    </a:cubicBezTo>
                    <a:cubicBezTo>
                      <a:pt x="62231" y="94505"/>
                      <a:pt x="33370" y="94886"/>
                      <a:pt x="14796" y="77551"/>
                    </a:cubicBezTo>
                    <a:cubicBezTo>
                      <a:pt x="-3778" y="60215"/>
                      <a:pt x="-5016" y="31640"/>
                      <a:pt x="11939" y="13733"/>
                    </a:cubicBezTo>
                    <a:cubicBezTo>
                      <a:pt x="28988" y="-4174"/>
                      <a:pt x="57849" y="-4650"/>
                      <a:pt x="76423" y="12781"/>
                    </a:cubicBezTo>
                    <a:close/>
                  </a:path>
                </a:pathLst>
              </a:custGeom>
              <a:solidFill>
                <a:srgbClr val="A4A3A3"/>
              </a:solidFill>
              <a:ln w="952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405" name="Freeform: Shape 404">
                <a:extLst>
                  <a:ext uri="{FF2B5EF4-FFF2-40B4-BE49-F238E27FC236}">
                    <a16:creationId xmlns:a16="http://schemas.microsoft.com/office/drawing/2014/main" id="{B0A6882E-348C-4F02-B432-F0944E544F26}"/>
                  </a:ext>
                </a:extLst>
              </p:cNvPr>
              <p:cNvSpPr/>
              <p:nvPr/>
            </p:nvSpPr>
            <p:spPr>
              <a:xfrm>
                <a:off x="1525248" y="2770905"/>
                <a:ext cx="31719" cy="28761"/>
              </a:xfrm>
              <a:custGeom>
                <a:avLst/>
                <a:gdLst>
                  <a:gd name="connsiteX0" fmla="*/ 71050 w 84854"/>
                  <a:gd name="connsiteY0" fmla="*/ 11899 h 84090"/>
                  <a:gd name="connsiteX1" fmla="*/ 73717 w 84854"/>
                  <a:gd name="connsiteY1" fmla="*/ 71335 h 84090"/>
                  <a:gd name="connsiteX2" fmla="*/ 13805 w 84854"/>
                  <a:gd name="connsiteY2" fmla="*/ 72192 h 84090"/>
                  <a:gd name="connsiteX3" fmla="*/ 11138 w 84854"/>
                  <a:gd name="connsiteY3" fmla="*/ 12756 h 84090"/>
                  <a:gd name="connsiteX4" fmla="*/ 71050 w 84854"/>
                  <a:gd name="connsiteY4" fmla="*/ 11899 h 84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854" h="84090">
                    <a:moveTo>
                      <a:pt x="71050" y="11899"/>
                    </a:moveTo>
                    <a:cubicBezTo>
                      <a:pt x="88385" y="28091"/>
                      <a:pt x="89528" y="54666"/>
                      <a:pt x="73717" y="71335"/>
                    </a:cubicBezTo>
                    <a:cubicBezTo>
                      <a:pt x="57905" y="88003"/>
                      <a:pt x="31045" y="88384"/>
                      <a:pt x="13805" y="72192"/>
                    </a:cubicBezTo>
                    <a:cubicBezTo>
                      <a:pt x="-3531" y="55999"/>
                      <a:pt x="-4674" y="29425"/>
                      <a:pt x="11138" y="12756"/>
                    </a:cubicBezTo>
                    <a:cubicBezTo>
                      <a:pt x="26854" y="-3913"/>
                      <a:pt x="53714" y="-4294"/>
                      <a:pt x="71050" y="11899"/>
                    </a:cubicBezTo>
                    <a:close/>
                  </a:path>
                </a:pathLst>
              </a:custGeom>
              <a:solidFill>
                <a:srgbClr val="6E6D6D"/>
              </a:solidFill>
              <a:ln w="952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406" name="Freeform: Shape 405">
                <a:extLst>
                  <a:ext uri="{FF2B5EF4-FFF2-40B4-BE49-F238E27FC236}">
                    <a16:creationId xmlns:a16="http://schemas.microsoft.com/office/drawing/2014/main" id="{668689D8-7E16-440A-AA6C-1D208141A01D}"/>
                  </a:ext>
                </a:extLst>
              </p:cNvPr>
              <p:cNvSpPr/>
              <p:nvPr/>
            </p:nvSpPr>
            <p:spPr>
              <a:xfrm>
                <a:off x="1337677" y="2688220"/>
                <a:ext cx="177777" cy="185856"/>
              </a:xfrm>
              <a:custGeom>
                <a:avLst/>
                <a:gdLst>
                  <a:gd name="connsiteX0" fmla="*/ 475583 w 475583"/>
                  <a:gd name="connsiteY0" fmla="*/ 11811 h 543401"/>
                  <a:gd name="connsiteX1" fmla="*/ 82105 w 475583"/>
                  <a:gd name="connsiteY1" fmla="*/ 485203 h 543401"/>
                  <a:gd name="connsiteX2" fmla="*/ 0 w 475583"/>
                  <a:gd name="connsiteY2" fmla="*/ 543401 h 543401"/>
                  <a:gd name="connsiteX3" fmla="*/ 467296 w 475583"/>
                  <a:gd name="connsiteY3" fmla="*/ 0 h 543401"/>
                </a:gdLst>
                <a:ahLst/>
                <a:cxnLst>
                  <a:cxn ang="0">
                    <a:pos x="connsiteX0" y="connsiteY0"/>
                  </a:cxn>
                  <a:cxn ang="0">
                    <a:pos x="connsiteX1" y="connsiteY1"/>
                  </a:cxn>
                  <a:cxn ang="0">
                    <a:pos x="connsiteX2" y="connsiteY2"/>
                  </a:cxn>
                  <a:cxn ang="0">
                    <a:pos x="connsiteX3" y="connsiteY3"/>
                  </a:cxn>
                </a:cxnLst>
                <a:rect l="l" t="t" r="r" b="b"/>
                <a:pathLst>
                  <a:path w="475583" h="543401">
                    <a:moveTo>
                      <a:pt x="475583" y="11811"/>
                    </a:moveTo>
                    <a:lnTo>
                      <a:pt x="82105" y="485203"/>
                    </a:lnTo>
                    <a:lnTo>
                      <a:pt x="0" y="543401"/>
                    </a:lnTo>
                    <a:lnTo>
                      <a:pt x="467296" y="0"/>
                    </a:lnTo>
                    <a:close/>
                  </a:path>
                </a:pathLst>
              </a:custGeom>
              <a:solidFill>
                <a:srgbClr val="A4A3A3"/>
              </a:solidFill>
              <a:ln w="952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407" name="Freeform: Shape 406">
                <a:extLst>
                  <a:ext uri="{FF2B5EF4-FFF2-40B4-BE49-F238E27FC236}">
                    <a16:creationId xmlns:a16="http://schemas.microsoft.com/office/drawing/2014/main" id="{1B99D92A-59A1-47A8-95AF-3F29A2D2C02A}"/>
                  </a:ext>
                </a:extLst>
              </p:cNvPr>
              <p:cNvSpPr/>
              <p:nvPr/>
            </p:nvSpPr>
            <p:spPr>
              <a:xfrm>
                <a:off x="1417575" y="3428484"/>
                <a:ext cx="25478" cy="126955"/>
              </a:xfrm>
              <a:custGeom>
                <a:avLst/>
                <a:gdLst>
                  <a:gd name="connsiteX0" fmla="*/ 0 w 68158"/>
                  <a:gd name="connsiteY0" fmla="*/ 0 h 371189"/>
                  <a:gd name="connsiteX1" fmla="*/ 65627 w 68158"/>
                  <a:gd name="connsiteY1" fmla="*/ 276892 h 371189"/>
                  <a:gd name="connsiteX2" fmla="*/ 49339 w 68158"/>
                  <a:gd name="connsiteY2" fmla="*/ 371189 h 371189"/>
                  <a:gd name="connsiteX3" fmla="*/ 28289 w 68158"/>
                  <a:gd name="connsiteY3" fmla="*/ 204216 h 371189"/>
                  <a:gd name="connsiteX4" fmla="*/ 0 w 68158"/>
                  <a:gd name="connsiteY4" fmla="*/ 0 h 371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158" h="371189">
                    <a:moveTo>
                      <a:pt x="0" y="0"/>
                    </a:moveTo>
                    <a:cubicBezTo>
                      <a:pt x="0" y="0"/>
                      <a:pt x="54864" y="221932"/>
                      <a:pt x="65627" y="276892"/>
                    </a:cubicBezTo>
                    <a:cubicBezTo>
                      <a:pt x="76391" y="331851"/>
                      <a:pt x="49339" y="371189"/>
                      <a:pt x="49339" y="371189"/>
                    </a:cubicBezTo>
                    <a:cubicBezTo>
                      <a:pt x="49339" y="371189"/>
                      <a:pt x="23622" y="239268"/>
                      <a:pt x="28289" y="204216"/>
                    </a:cubicBezTo>
                    <a:cubicBezTo>
                      <a:pt x="32956" y="168973"/>
                      <a:pt x="0" y="0"/>
                      <a:pt x="0" y="0"/>
                    </a:cubicBezTo>
                    <a:close/>
                  </a:path>
                </a:pathLst>
              </a:custGeom>
              <a:solidFill>
                <a:srgbClr val="8CB369"/>
              </a:solidFill>
              <a:ln w="952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408" name="Freeform: Shape 407">
                <a:extLst>
                  <a:ext uri="{FF2B5EF4-FFF2-40B4-BE49-F238E27FC236}">
                    <a16:creationId xmlns:a16="http://schemas.microsoft.com/office/drawing/2014/main" id="{41080ABB-BAC7-43A2-97AD-C9F3F5725271}"/>
                  </a:ext>
                </a:extLst>
              </p:cNvPr>
              <p:cNvSpPr/>
              <p:nvPr/>
            </p:nvSpPr>
            <p:spPr>
              <a:xfrm>
                <a:off x="1277634" y="2715730"/>
                <a:ext cx="221795" cy="462233"/>
              </a:xfrm>
              <a:custGeom>
                <a:avLst/>
                <a:gdLst>
                  <a:gd name="connsiteX0" fmla="*/ 63277 w 593338"/>
                  <a:gd name="connsiteY0" fmla="*/ 569171 h 1351465"/>
                  <a:gd name="connsiteX1" fmla="*/ 100615 w 593338"/>
                  <a:gd name="connsiteY1" fmla="*/ 577077 h 1351465"/>
                  <a:gd name="connsiteX2" fmla="*/ 158337 w 593338"/>
                  <a:gd name="connsiteY2" fmla="*/ 597460 h 1351465"/>
                  <a:gd name="connsiteX3" fmla="*/ 195294 w 593338"/>
                  <a:gd name="connsiteY3" fmla="*/ 709379 h 1351465"/>
                  <a:gd name="connsiteX4" fmla="*/ 215391 w 593338"/>
                  <a:gd name="connsiteY4" fmla="*/ 773387 h 1351465"/>
                  <a:gd name="connsiteX5" fmla="*/ 131095 w 593338"/>
                  <a:gd name="connsiteY5" fmla="*/ 907785 h 1351465"/>
                  <a:gd name="connsiteX6" fmla="*/ 109569 w 593338"/>
                  <a:gd name="connsiteY6" fmla="*/ 1320122 h 1351465"/>
                  <a:gd name="connsiteX7" fmla="*/ 353790 w 593338"/>
                  <a:gd name="connsiteY7" fmla="*/ 1254685 h 1351465"/>
                  <a:gd name="connsiteX8" fmla="*/ 453135 w 593338"/>
                  <a:gd name="connsiteY8" fmla="*/ 911404 h 1351465"/>
                  <a:gd name="connsiteX9" fmla="*/ 563911 w 593338"/>
                  <a:gd name="connsiteY9" fmla="*/ 672708 h 1351465"/>
                  <a:gd name="connsiteX10" fmla="*/ 590295 w 593338"/>
                  <a:gd name="connsiteY10" fmla="*/ 576219 h 1351465"/>
                  <a:gd name="connsiteX11" fmla="*/ 543623 w 593338"/>
                  <a:gd name="connsiteY11" fmla="*/ 425439 h 1351465"/>
                  <a:gd name="connsiteX12" fmla="*/ 504570 w 593338"/>
                  <a:gd name="connsiteY12" fmla="*/ 307805 h 1351465"/>
                  <a:gd name="connsiteX13" fmla="*/ 434085 w 593338"/>
                  <a:gd name="connsiteY13" fmla="*/ 78919 h 1351465"/>
                  <a:gd name="connsiteX14" fmla="*/ 396176 w 593338"/>
                  <a:gd name="connsiteY14" fmla="*/ 10625 h 1351465"/>
                  <a:gd name="connsiteX15" fmla="*/ 377316 w 593338"/>
                  <a:gd name="connsiteY15" fmla="*/ 163501 h 1351465"/>
                  <a:gd name="connsiteX16" fmla="*/ 407892 w 593338"/>
                  <a:gd name="connsiteY16" fmla="*/ 334761 h 1351465"/>
                  <a:gd name="connsiteX17" fmla="*/ 160337 w 593338"/>
                  <a:gd name="connsiteY17" fmla="*/ 362669 h 1351465"/>
                  <a:gd name="connsiteX18" fmla="*/ 146240 w 593338"/>
                  <a:gd name="connsiteY18" fmla="*/ 412389 h 1351465"/>
                  <a:gd name="connsiteX19" fmla="*/ 78517 w 593338"/>
                  <a:gd name="connsiteY19" fmla="*/ 451918 h 1351465"/>
                  <a:gd name="connsiteX20" fmla="*/ 81660 w 593338"/>
                  <a:gd name="connsiteY20" fmla="*/ 489351 h 1351465"/>
                  <a:gd name="connsiteX21" fmla="*/ 26606 w 593338"/>
                  <a:gd name="connsiteY21" fmla="*/ 513735 h 1351465"/>
                  <a:gd name="connsiteX22" fmla="*/ 8699 w 593338"/>
                  <a:gd name="connsiteY22" fmla="*/ 561742 h 1351465"/>
                  <a:gd name="connsiteX23" fmla="*/ 63277 w 593338"/>
                  <a:gd name="connsiteY23" fmla="*/ 569171 h 1351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93338" h="1351465">
                    <a:moveTo>
                      <a:pt x="63277" y="569171"/>
                    </a:moveTo>
                    <a:cubicBezTo>
                      <a:pt x="81756" y="564885"/>
                      <a:pt x="88804" y="573552"/>
                      <a:pt x="100615" y="577077"/>
                    </a:cubicBezTo>
                    <a:cubicBezTo>
                      <a:pt x="128714" y="585459"/>
                      <a:pt x="158337" y="597460"/>
                      <a:pt x="158337" y="597460"/>
                    </a:cubicBezTo>
                    <a:cubicBezTo>
                      <a:pt x="158337" y="597460"/>
                      <a:pt x="189769" y="683757"/>
                      <a:pt x="195294" y="709379"/>
                    </a:cubicBezTo>
                    <a:cubicBezTo>
                      <a:pt x="201866" y="740050"/>
                      <a:pt x="216915" y="741955"/>
                      <a:pt x="215391" y="773387"/>
                    </a:cubicBezTo>
                    <a:cubicBezTo>
                      <a:pt x="212534" y="831109"/>
                      <a:pt x="153765" y="855397"/>
                      <a:pt x="131095" y="907785"/>
                    </a:cubicBezTo>
                    <a:cubicBezTo>
                      <a:pt x="85661" y="1012655"/>
                      <a:pt x="78517" y="1195630"/>
                      <a:pt x="109569" y="1320122"/>
                    </a:cubicBezTo>
                    <a:cubicBezTo>
                      <a:pt x="134048" y="1418229"/>
                      <a:pt x="353790" y="1254685"/>
                      <a:pt x="353790" y="1254685"/>
                    </a:cubicBezTo>
                    <a:cubicBezTo>
                      <a:pt x="353790" y="1254685"/>
                      <a:pt x="363029" y="1120097"/>
                      <a:pt x="453135" y="911404"/>
                    </a:cubicBezTo>
                    <a:cubicBezTo>
                      <a:pt x="523525" y="748241"/>
                      <a:pt x="551052" y="714999"/>
                      <a:pt x="563911" y="672708"/>
                    </a:cubicBezTo>
                    <a:cubicBezTo>
                      <a:pt x="584485" y="604985"/>
                      <a:pt x="600201" y="612510"/>
                      <a:pt x="590295" y="576219"/>
                    </a:cubicBezTo>
                    <a:cubicBezTo>
                      <a:pt x="583628" y="552026"/>
                      <a:pt x="559625" y="490685"/>
                      <a:pt x="543623" y="425439"/>
                    </a:cubicBezTo>
                    <a:cubicBezTo>
                      <a:pt x="535717" y="393149"/>
                      <a:pt x="517905" y="355716"/>
                      <a:pt x="504570" y="307805"/>
                    </a:cubicBezTo>
                    <a:cubicBezTo>
                      <a:pt x="481710" y="226176"/>
                      <a:pt x="444277" y="150166"/>
                      <a:pt x="434085" y="78919"/>
                    </a:cubicBezTo>
                    <a:cubicBezTo>
                      <a:pt x="417131" y="-39762"/>
                      <a:pt x="396176" y="10625"/>
                      <a:pt x="396176" y="10625"/>
                    </a:cubicBezTo>
                    <a:cubicBezTo>
                      <a:pt x="373506" y="42058"/>
                      <a:pt x="365982" y="90063"/>
                      <a:pt x="377316" y="163501"/>
                    </a:cubicBezTo>
                    <a:cubicBezTo>
                      <a:pt x="388651" y="236939"/>
                      <a:pt x="407892" y="334761"/>
                      <a:pt x="407892" y="334761"/>
                    </a:cubicBezTo>
                    <a:cubicBezTo>
                      <a:pt x="407892" y="334761"/>
                      <a:pt x="217011" y="310281"/>
                      <a:pt x="160337" y="362669"/>
                    </a:cubicBezTo>
                    <a:cubicBezTo>
                      <a:pt x="103568" y="415152"/>
                      <a:pt x="146240" y="412389"/>
                      <a:pt x="146240" y="412389"/>
                    </a:cubicBezTo>
                    <a:cubicBezTo>
                      <a:pt x="146240" y="412389"/>
                      <a:pt x="102330" y="415628"/>
                      <a:pt x="78517" y="451918"/>
                    </a:cubicBezTo>
                    <a:cubicBezTo>
                      <a:pt x="70897" y="463539"/>
                      <a:pt x="78422" y="483255"/>
                      <a:pt x="81660" y="489351"/>
                    </a:cubicBezTo>
                    <a:cubicBezTo>
                      <a:pt x="60229" y="493542"/>
                      <a:pt x="34035" y="506973"/>
                      <a:pt x="26606" y="513735"/>
                    </a:cubicBezTo>
                    <a:cubicBezTo>
                      <a:pt x="9937" y="528975"/>
                      <a:pt x="-12637" y="539167"/>
                      <a:pt x="8699" y="561742"/>
                    </a:cubicBezTo>
                    <a:cubicBezTo>
                      <a:pt x="19367" y="573267"/>
                      <a:pt x="53085" y="571552"/>
                      <a:pt x="63277" y="569171"/>
                    </a:cubicBezTo>
                    <a:close/>
                  </a:path>
                </a:pathLst>
              </a:custGeom>
              <a:solidFill>
                <a:srgbClr val="D38D4D"/>
              </a:solidFill>
              <a:ln w="952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409" name="Freeform: Shape 408">
                <a:extLst>
                  <a:ext uri="{FF2B5EF4-FFF2-40B4-BE49-F238E27FC236}">
                    <a16:creationId xmlns:a16="http://schemas.microsoft.com/office/drawing/2014/main" id="{5B2476D1-FD03-4367-A60D-D03696A3B4B9}"/>
                  </a:ext>
                </a:extLst>
              </p:cNvPr>
              <p:cNvSpPr/>
              <p:nvPr/>
            </p:nvSpPr>
            <p:spPr>
              <a:xfrm>
                <a:off x="1315744" y="2849793"/>
                <a:ext cx="140882" cy="96785"/>
              </a:xfrm>
              <a:custGeom>
                <a:avLst/>
                <a:gdLst>
                  <a:gd name="connsiteX0" fmla="*/ 66104 w 376883"/>
                  <a:gd name="connsiteY0" fmla="*/ 19184 h 282978"/>
                  <a:gd name="connsiteX1" fmla="*/ 0 w 376883"/>
                  <a:gd name="connsiteY1" fmla="*/ 36900 h 282978"/>
                  <a:gd name="connsiteX2" fmla="*/ 64770 w 376883"/>
                  <a:gd name="connsiteY2" fmla="*/ 11278 h 282978"/>
                  <a:gd name="connsiteX3" fmla="*/ 193834 w 376883"/>
                  <a:gd name="connsiteY3" fmla="*/ 5087 h 282978"/>
                  <a:gd name="connsiteX4" fmla="*/ 295942 w 376883"/>
                  <a:gd name="connsiteY4" fmla="*/ 170822 h 282978"/>
                  <a:gd name="connsiteX5" fmla="*/ 375857 w 376883"/>
                  <a:gd name="connsiteY5" fmla="*/ 279216 h 282978"/>
                  <a:gd name="connsiteX6" fmla="*/ 337566 w 376883"/>
                  <a:gd name="connsiteY6" fmla="*/ 272930 h 282978"/>
                  <a:gd name="connsiteX7" fmla="*/ 281178 w 376883"/>
                  <a:gd name="connsiteY7" fmla="*/ 195206 h 282978"/>
                  <a:gd name="connsiteX8" fmla="*/ 202883 w 376883"/>
                  <a:gd name="connsiteY8" fmla="*/ 46235 h 282978"/>
                  <a:gd name="connsiteX9" fmla="*/ 66104 w 376883"/>
                  <a:gd name="connsiteY9" fmla="*/ 19184 h 282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6883" h="282978">
                    <a:moveTo>
                      <a:pt x="66104" y="19184"/>
                    </a:moveTo>
                    <a:cubicBezTo>
                      <a:pt x="30099" y="21089"/>
                      <a:pt x="0" y="36900"/>
                      <a:pt x="0" y="36900"/>
                    </a:cubicBezTo>
                    <a:cubicBezTo>
                      <a:pt x="0" y="36900"/>
                      <a:pt x="29623" y="18231"/>
                      <a:pt x="64770" y="11278"/>
                    </a:cubicBezTo>
                    <a:cubicBezTo>
                      <a:pt x="109728" y="2325"/>
                      <a:pt x="166783" y="-5486"/>
                      <a:pt x="193834" y="5087"/>
                    </a:cubicBezTo>
                    <a:cubicBezTo>
                      <a:pt x="240792" y="23565"/>
                      <a:pt x="266986" y="71571"/>
                      <a:pt x="295942" y="170822"/>
                    </a:cubicBezTo>
                    <a:cubicBezTo>
                      <a:pt x="309944" y="218828"/>
                      <a:pt x="360140" y="258357"/>
                      <a:pt x="375857" y="279216"/>
                    </a:cubicBezTo>
                    <a:cubicBezTo>
                      <a:pt x="384334" y="290456"/>
                      <a:pt x="337566" y="272930"/>
                      <a:pt x="337566" y="272930"/>
                    </a:cubicBezTo>
                    <a:cubicBezTo>
                      <a:pt x="337566" y="272930"/>
                      <a:pt x="311753" y="253022"/>
                      <a:pt x="281178" y="195206"/>
                    </a:cubicBezTo>
                    <a:cubicBezTo>
                      <a:pt x="247936" y="132436"/>
                      <a:pt x="247364" y="93003"/>
                      <a:pt x="202883" y="46235"/>
                    </a:cubicBezTo>
                    <a:cubicBezTo>
                      <a:pt x="177260" y="19279"/>
                      <a:pt x="114681" y="16612"/>
                      <a:pt x="66104" y="19184"/>
                    </a:cubicBezTo>
                    <a:close/>
                  </a:path>
                </a:pathLst>
              </a:custGeom>
              <a:solidFill>
                <a:srgbClr val="CC6600"/>
              </a:solidFill>
              <a:ln w="952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410" name="Freeform: Shape 409">
                <a:extLst>
                  <a:ext uri="{FF2B5EF4-FFF2-40B4-BE49-F238E27FC236}">
                    <a16:creationId xmlns:a16="http://schemas.microsoft.com/office/drawing/2014/main" id="{ACB9F48E-FDDE-4014-8D56-6828D9B0B8EC}"/>
                  </a:ext>
                </a:extLst>
              </p:cNvPr>
              <p:cNvSpPr/>
              <p:nvPr/>
            </p:nvSpPr>
            <p:spPr>
              <a:xfrm>
                <a:off x="1308195" y="2878288"/>
                <a:ext cx="105178" cy="79642"/>
              </a:xfrm>
              <a:custGeom>
                <a:avLst/>
                <a:gdLst>
                  <a:gd name="connsiteX0" fmla="*/ 0 w 281368"/>
                  <a:gd name="connsiteY0" fmla="*/ 14355 h 232856"/>
                  <a:gd name="connsiteX1" fmla="*/ 144018 w 281368"/>
                  <a:gd name="connsiteY1" fmla="*/ 6640 h 232856"/>
                  <a:gd name="connsiteX2" fmla="*/ 228124 w 281368"/>
                  <a:gd name="connsiteY2" fmla="*/ 145610 h 232856"/>
                  <a:gd name="connsiteX3" fmla="*/ 281368 w 281368"/>
                  <a:gd name="connsiteY3" fmla="*/ 227144 h 232856"/>
                  <a:gd name="connsiteX4" fmla="*/ 273463 w 281368"/>
                  <a:gd name="connsiteY4" fmla="*/ 232192 h 232856"/>
                  <a:gd name="connsiteX5" fmla="*/ 182785 w 281368"/>
                  <a:gd name="connsiteY5" fmla="*/ 123226 h 232856"/>
                  <a:gd name="connsiteX6" fmla="*/ 132683 w 281368"/>
                  <a:gd name="connsiteY6" fmla="*/ 40263 h 232856"/>
                  <a:gd name="connsiteX7" fmla="*/ 0 w 281368"/>
                  <a:gd name="connsiteY7" fmla="*/ 14355 h 232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1368" h="232856">
                    <a:moveTo>
                      <a:pt x="0" y="14355"/>
                    </a:moveTo>
                    <a:cubicBezTo>
                      <a:pt x="0" y="14355"/>
                      <a:pt x="107728" y="-11934"/>
                      <a:pt x="144018" y="6640"/>
                    </a:cubicBezTo>
                    <a:cubicBezTo>
                      <a:pt x="178022" y="24071"/>
                      <a:pt x="196120" y="61028"/>
                      <a:pt x="228124" y="145610"/>
                    </a:cubicBezTo>
                    <a:cubicBezTo>
                      <a:pt x="249460" y="201903"/>
                      <a:pt x="281368" y="227144"/>
                      <a:pt x="281368" y="227144"/>
                    </a:cubicBezTo>
                    <a:cubicBezTo>
                      <a:pt x="281368" y="227144"/>
                      <a:pt x="279845" y="230859"/>
                      <a:pt x="273463" y="232192"/>
                    </a:cubicBezTo>
                    <a:cubicBezTo>
                      <a:pt x="234696" y="240288"/>
                      <a:pt x="200120" y="172661"/>
                      <a:pt x="182785" y="123226"/>
                    </a:cubicBezTo>
                    <a:cubicBezTo>
                      <a:pt x="167926" y="80935"/>
                      <a:pt x="166783" y="62647"/>
                      <a:pt x="132683" y="40263"/>
                    </a:cubicBezTo>
                    <a:cubicBezTo>
                      <a:pt x="98584" y="17784"/>
                      <a:pt x="0" y="14355"/>
                      <a:pt x="0" y="14355"/>
                    </a:cubicBezTo>
                    <a:close/>
                  </a:path>
                </a:pathLst>
              </a:custGeom>
              <a:solidFill>
                <a:srgbClr val="CC6600"/>
              </a:solidFill>
              <a:ln w="952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411" name="Freeform: Shape 410">
                <a:extLst>
                  <a:ext uri="{FF2B5EF4-FFF2-40B4-BE49-F238E27FC236}">
                    <a16:creationId xmlns:a16="http://schemas.microsoft.com/office/drawing/2014/main" id="{62957887-8BE9-4D07-BFB4-9FAAC3C836D8}"/>
                  </a:ext>
                </a:extLst>
              </p:cNvPr>
              <p:cNvSpPr/>
              <p:nvPr/>
            </p:nvSpPr>
            <p:spPr>
              <a:xfrm>
                <a:off x="1408784" y="2716333"/>
                <a:ext cx="27982" cy="116272"/>
              </a:xfrm>
              <a:custGeom>
                <a:avLst/>
                <a:gdLst>
                  <a:gd name="connsiteX0" fmla="*/ 52188 w 74857"/>
                  <a:gd name="connsiteY0" fmla="*/ 5 h 339952"/>
                  <a:gd name="connsiteX1" fmla="*/ 25327 w 74857"/>
                  <a:gd name="connsiteY1" fmla="*/ 152786 h 339952"/>
                  <a:gd name="connsiteX2" fmla="*/ 74857 w 74857"/>
                  <a:gd name="connsiteY2" fmla="*/ 339953 h 339952"/>
                  <a:gd name="connsiteX3" fmla="*/ 30852 w 74857"/>
                  <a:gd name="connsiteY3" fmla="*/ 310806 h 339952"/>
                  <a:gd name="connsiteX4" fmla="*/ 6182 w 74857"/>
                  <a:gd name="connsiteY4" fmla="*/ 61727 h 339952"/>
                  <a:gd name="connsiteX5" fmla="*/ 52188 w 74857"/>
                  <a:gd name="connsiteY5" fmla="*/ 5 h 339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857" h="339952">
                    <a:moveTo>
                      <a:pt x="52188" y="5"/>
                    </a:moveTo>
                    <a:cubicBezTo>
                      <a:pt x="52188" y="5"/>
                      <a:pt x="13897" y="78015"/>
                      <a:pt x="25327" y="152786"/>
                    </a:cubicBezTo>
                    <a:cubicBezTo>
                      <a:pt x="36757" y="227558"/>
                      <a:pt x="74857" y="339953"/>
                      <a:pt x="74857" y="339953"/>
                    </a:cubicBezTo>
                    <a:lnTo>
                      <a:pt x="30852" y="310806"/>
                    </a:lnTo>
                    <a:cubicBezTo>
                      <a:pt x="30852" y="310806"/>
                      <a:pt x="-16583" y="125259"/>
                      <a:pt x="6182" y="61727"/>
                    </a:cubicBezTo>
                    <a:cubicBezTo>
                      <a:pt x="28851" y="-1805"/>
                      <a:pt x="52188" y="5"/>
                      <a:pt x="52188" y="5"/>
                    </a:cubicBezTo>
                    <a:close/>
                  </a:path>
                </a:pathLst>
              </a:custGeom>
              <a:solidFill>
                <a:srgbClr val="F9B992"/>
              </a:solidFill>
              <a:ln w="952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412" name="Freeform: Shape 411">
                <a:extLst>
                  <a:ext uri="{FF2B5EF4-FFF2-40B4-BE49-F238E27FC236}">
                    <a16:creationId xmlns:a16="http://schemas.microsoft.com/office/drawing/2014/main" id="{BC11F390-9F84-46E3-BBA7-390B3BE5DC70}"/>
                  </a:ext>
                </a:extLst>
              </p:cNvPr>
              <p:cNvSpPr/>
              <p:nvPr/>
            </p:nvSpPr>
            <p:spPr>
              <a:xfrm>
                <a:off x="1404822" y="2917470"/>
                <a:ext cx="94675" cy="235993"/>
              </a:xfrm>
              <a:custGeom>
                <a:avLst/>
                <a:gdLst>
                  <a:gd name="connsiteX0" fmla="*/ 239090 w 253270"/>
                  <a:gd name="connsiteY0" fmla="*/ 21241 h 689991"/>
                  <a:gd name="connsiteX1" fmla="*/ 252901 w 253270"/>
                  <a:gd name="connsiteY1" fmla="*/ 0 h 689991"/>
                  <a:gd name="connsiteX2" fmla="*/ 251282 w 253270"/>
                  <a:gd name="connsiteY2" fmla="*/ 22003 h 689991"/>
                  <a:gd name="connsiteX3" fmla="*/ 163080 w 253270"/>
                  <a:gd name="connsiteY3" fmla="*/ 232505 h 689991"/>
                  <a:gd name="connsiteX4" fmla="*/ 44875 w 253270"/>
                  <a:gd name="connsiteY4" fmla="*/ 512921 h 689991"/>
                  <a:gd name="connsiteX5" fmla="*/ 13347 w 253270"/>
                  <a:gd name="connsiteY5" fmla="*/ 689991 h 689991"/>
                  <a:gd name="connsiteX6" fmla="*/ 20301 w 253270"/>
                  <a:gd name="connsiteY6" fmla="*/ 478917 h 689991"/>
                  <a:gd name="connsiteX7" fmla="*/ 96120 w 253270"/>
                  <a:gd name="connsiteY7" fmla="*/ 304991 h 689991"/>
                  <a:gd name="connsiteX8" fmla="*/ 239090 w 253270"/>
                  <a:gd name="connsiteY8" fmla="*/ 21241 h 689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3270" h="689991">
                    <a:moveTo>
                      <a:pt x="239090" y="21241"/>
                    </a:moveTo>
                    <a:cubicBezTo>
                      <a:pt x="247758" y="7620"/>
                      <a:pt x="252901" y="0"/>
                      <a:pt x="252901" y="0"/>
                    </a:cubicBezTo>
                    <a:cubicBezTo>
                      <a:pt x="252901" y="0"/>
                      <a:pt x="254425" y="5810"/>
                      <a:pt x="251282" y="22003"/>
                    </a:cubicBezTo>
                    <a:cubicBezTo>
                      <a:pt x="245091" y="53721"/>
                      <a:pt x="224421" y="121158"/>
                      <a:pt x="163080" y="232505"/>
                    </a:cubicBezTo>
                    <a:cubicBezTo>
                      <a:pt x="86880" y="370808"/>
                      <a:pt x="67545" y="457009"/>
                      <a:pt x="44875" y="512921"/>
                    </a:cubicBezTo>
                    <a:cubicBezTo>
                      <a:pt x="22206" y="568928"/>
                      <a:pt x="13347" y="689991"/>
                      <a:pt x="13347" y="689991"/>
                    </a:cubicBezTo>
                    <a:cubicBezTo>
                      <a:pt x="-2369" y="690372"/>
                      <a:pt x="-8846" y="591312"/>
                      <a:pt x="20301" y="478917"/>
                    </a:cubicBezTo>
                    <a:cubicBezTo>
                      <a:pt x="35445" y="420529"/>
                      <a:pt x="76689" y="358521"/>
                      <a:pt x="96120" y="304991"/>
                    </a:cubicBezTo>
                    <a:cubicBezTo>
                      <a:pt x="139839" y="183737"/>
                      <a:pt x="209658" y="67723"/>
                      <a:pt x="239090" y="21241"/>
                    </a:cubicBezTo>
                    <a:close/>
                  </a:path>
                </a:pathLst>
              </a:custGeom>
              <a:solidFill>
                <a:srgbClr val="CC6600"/>
              </a:solidFill>
              <a:ln w="952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413" name="Freeform: Shape 412">
                <a:extLst>
                  <a:ext uri="{FF2B5EF4-FFF2-40B4-BE49-F238E27FC236}">
                    <a16:creationId xmlns:a16="http://schemas.microsoft.com/office/drawing/2014/main" id="{B7BDDB36-1139-49EB-992D-80C4290ADB12}"/>
                  </a:ext>
                </a:extLst>
              </p:cNvPr>
              <p:cNvSpPr/>
              <p:nvPr/>
            </p:nvSpPr>
            <p:spPr>
              <a:xfrm>
                <a:off x="1277716" y="2902093"/>
                <a:ext cx="89262" cy="81966"/>
              </a:xfrm>
              <a:custGeom>
                <a:avLst/>
                <a:gdLst>
                  <a:gd name="connsiteX0" fmla="*/ 170688 w 238791"/>
                  <a:gd name="connsiteY0" fmla="*/ 59150 h 239649"/>
                  <a:gd name="connsiteX1" fmla="*/ 214884 w 238791"/>
                  <a:gd name="connsiteY1" fmla="*/ 165830 h 239649"/>
                  <a:gd name="connsiteX2" fmla="*/ 238792 w 238791"/>
                  <a:gd name="connsiteY2" fmla="*/ 239649 h 239649"/>
                  <a:gd name="connsiteX3" fmla="*/ 212884 w 238791"/>
                  <a:gd name="connsiteY3" fmla="*/ 237554 h 239649"/>
                  <a:gd name="connsiteX4" fmla="*/ 169450 w 238791"/>
                  <a:gd name="connsiteY4" fmla="*/ 118586 h 239649"/>
                  <a:gd name="connsiteX5" fmla="*/ 151733 w 238791"/>
                  <a:gd name="connsiteY5" fmla="*/ 54864 h 239649"/>
                  <a:gd name="connsiteX6" fmla="*/ 90678 w 238791"/>
                  <a:gd name="connsiteY6" fmla="*/ 34100 h 239649"/>
                  <a:gd name="connsiteX7" fmla="*/ 46292 w 238791"/>
                  <a:gd name="connsiteY7" fmla="*/ 40481 h 239649"/>
                  <a:gd name="connsiteX8" fmla="*/ 10858 w 238791"/>
                  <a:gd name="connsiteY8" fmla="*/ 23241 h 239649"/>
                  <a:gd name="connsiteX9" fmla="*/ 0 w 238791"/>
                  <a:gd name="connsiteY9" fmla="*/ 0 h 239649"/>
                  <a:gd name="connsiteX10" fmla="*/ 47625 w 238791"/>
                  <a:gd name="connsiteY10" fmla="*/ 20193 h 239649"/>
                  <a:gd name="connsiteX11" fmla="*/ 134588 w 238791"/>
                  <a:gd name="connsiteY11" fmla="*/ 21431 h 239649"/>
                  <a:gd name="connsiteX12" fmla="*/ 170688 w 238791"/>
                  <a:gd name="connsiteY12" fmla="*/ 59150 h 239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8791" h="239649">
                    <a:moveTo>
                      <a:pt x="170688" y="59150"/>
                    </a:moveTo>
                    <a:cubicBezTo>
                      <a:pt x="170688" y="59150"/>
                      <a:pt x="198120" y="111728"/>
                      <a:pt x="214884" y="165830"/>
                    </a:cubicBezTo>
                    <a:cubicBezTo>
                      <a:pt x="229838" y="214027"/>
                      <a:pt x="238792" y="239649"/>
                      <a:pt x="238792" y="239649"/>
                    </a:cubicBezTo>
                    <a:lnTo>
                      <a:pt x="212884" y="237554"/>
                    </a:lnTo>
                    <a:cubicBezTo>
                      <a:pt x="212884" y="237554"/>
                      <a:pt x="180975" y="146304"/>
                      <a:pt x="169450" y="118586"/>
                    </a:cubicBezTo>
                    <a:cubicBezTo>
                      <a:pt x="157829" y="90868"/>
                      <a:pt x="161068" y="67628"/>
                      <a:pt x="151733" y="54864"/>
                    </a:cubicBezTo>
                    <a:cubicBezTo>
                      <a:pt x="142399" y="42196"/>
                      <a:pt x="90678" y="34100"/>
                      <a:pt x="90678" y="34100"/>
                    </a:cubicBezTo>
                    <a:cubicBezTo>
                      <a:pt x="90678" y="34100"/>
                      <a:pt x="56293" y="41148"/>
                      <a:pt x="46292" y="40481"/>
                    </a:cubicBezTo>
                    <a:cubicBezTo>
                      <a:pt x="24289" y="39053"/>
                      <a:pt x="18764" y="29623"/>
                      <a:pt x="10858" y="23241"/>
                    </a:cubicBezTo>
                    <a:cubicBezTo>
                      <a:pt x="3048" y="17050"/>
                      <a:pt x="0" y="0"/>
                      <a:pt x="0" y="0"/>
                    </a:cubicBezTo>
                    <a:cubicBezTo>
                      <a:pt x="0" y="0"/>
                      <a:pt x="24289" y="19526"/>
                      <a:pt x="47625" y="20193"/>
                    </a:cubicBezTo>
                    <a:cubicBezTo>
                      <a:pt x="75819" y="20955"/>
                      <a:pt x="111442" y="8382"/>
                      <a:pt x="134588" y="21431"/>
                    </a:cubicBezTo>
                    <a:cubicBezTo>
                      <a:pt x="157639" y="34671"/>
                      <a:pt x="170688" y="59150"/>
                      <a:pt x="170688" y="59150"/>
                    </a:cubicBezTo>
                    <a:close/>
                  </a:path>
                </a:pathLst>
              </a:custGeom>
              <a:solidFill>
                <a:srgbClr val="F9B992"/>
              </a:solidFill>
              <a:ln w="952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414" name="Freeform: Shape 413">
                <a:extLst>
                  <a:ext uri="{FF2B5EF4-FFF2-40B4-BE49-F238E27FC236}">
                    <a16:creationId xmlns:a16="http://schemas.microsoft.com/office/drawing/2014/main" id="{EB7C29ED-150C-4856-A2C2-C835AAC88EA4}"/>
                  </a:ext>
                </a:extLst>
              </p:cNvPr>
              <p:cNvSpPr/>
              <p:nvPr/>
            </p:nvSpPr>
            <p:spPr>
              <a:xfrm>
                <a:off x="1396986" y="2964381"/>
                <a:ext cx="14302" cy="40715"/>
              </a:xfrm>
              <a:custGeom>
                <a:avLst/>
                <a:gdLst>
                  <a:gd name="connsiteX0" fmla="*/ 35549 w 38260"/>
                  <a:gd name="connsiteY0" fmla="*/ 0 h 119041"/>
                  <a:gd name="connsiteX1" fmla="*/ 33263 w 38260"/>
                  <a:gd name="connsiteY1" fmla="*/ 79629 h 119041"/>
                  <a:gd name="connsiteX2" fmla="*/ 16690 w 38260"/>
                  <a:gd name="connsiteY2" fmla="*/ 117158 h 119041"/>
                  <a:gd name="connsiteX3" fmla="*/ 116 w 38260"/>
                  <a:gd name="connsiteY3" fmla="*/ 71438 h 119041"/>
                  <a:gd name="connsiteX4" fmla="*/ 35549 w 38260"/>
                  <a:gd name="connsiteY4" fmla="*/ 0 h 119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260" h="119041">
                    <a:moveTo>
                      <a:pt x="35549" y="0"/>
                    </a:moveTo>
                    <a:cubicBezTo>
                      <a:pt x="42122" y="3239"/>
                      <a:pt x="34883" y="53531"/>
                      <a:pt x="33263" y="79629"/>
                    </a:cubicBezTo>
                    <a:cubicBezTo>
                      <a:pt x="31644" y="105728"/>
                      <a:pt x="26691" y="125349"/>
                      <a:pt x="16690" y="117158"/>
                    </a:cubicBezTo>
                    <a:cubicBezTo>
                      <a:pt x="6784" y="108966"/>
                      <a:pt x="3926" y="96298"/>
                      <a:pt x="116" y="71438"/>
                    </a:cubicBezTo>
                    <a:cubicBezTo>
                      <a:pt x="-2360" y="54864"/>
                      <a:pt x="35549" y="0"/>
                      <a:pt x="35549" y="0"/>
                    </a:cubicBezTo>
                    <a:close/>
                  </a:path>
                </a:pathLst>
              </a:custGeom>
              <a:solidFill>
                <a:srgbClr val="CC6600"/>
              </a:solidFill>
              <a:ln w="952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415" name="Freeform: Shape 414">
                <a:extLst>
                  <a:ext uri="{FF2B5EF4-FFF2-40B4-BE49-F238E27FC236}">
                    <a16:creationId xmlns:a16="http://schemas.microsoft.com/office/drawing/2014/main" id="{2C1A40DE-7B1C-4907-98D2-75F468A021CA}"/>
                  </a:ext>
                </a:extLst>
              </p:cNvPr>
              <p:cNvSpPr/>
              <p:nvPr/>
            </p:nvSpPr>
            <p:spPr>
              <a:xfrm>
                <a:off x="1428212" y="2948549"/>
                <a:ext cx="11484" cy="31796"/>
              </a:xfrm>
              <a:custGeom>
                <a:avLst/>
                <a:gdLst>
                  <a:gd name="connsiteX0" fmla="*/ 3641 w 30721"/>
                  <a:gd name="connsiteY0" fmla="*/ 0 h 92964"/>
                  <a:gd name="connsiteX1" fmla="*/ 30120 w 30721"/>
                  <a:gd name="connsiteY1" fmla="*/ 50578 h 92964"/>
                  <a:gd name="connsiteX2" fmla="*/ 21833 w 30721"/>
                  <a:gd name="connsiteY2" fmla="*/ 92964 h 92964"/>
                  <a:gd name="connsiteX3" fmla="*/ 3641 w 30721"/>
                  <a:gd name="connsiteY3" fmla="*/ 63627 h 92964"/>
                  <a:gd name="connsiteX4" fmla="*/ 3641 w 30721"/>
                  <a:gd name="connsiteY4" fmla="*/ 0 h 929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21" h="92964">
                    <a:moveTo>
                      <a:pt x="3641" y="0"/>
                    </a:moveTo>
                    <a:cubicBezTo>
                      <a:pt x="3641" y="0"/>
                      <a:pt x="26786" y="29337"/>
                      <a:pt x="30120" y="50578"/>
                    </a:cubicBezTo>
                    <a:cubicBezTo>
                      <a:pt x="33454" y="71819"/>
                      <a:pt x="21833" y="92964"/>
                      <a:pt x="21833" y="92964"/>
                    </a:cubicBezTo>
                    <a:cubicBezTo>
                      <a:pt x="21833" y="92964"/>
                      <a:pt x="11927" y="86487"/>
                      <a:pt x="3641" y="63627"/>
                    </a:cubicBezTo>
                    <a:cubicBezTo>
                      <a:pt x="-4551" y="40767"/>
                      <a:pt x="3641" y="0"/>
                      <a:pt x="3641" y="0"/>
                    </a:cubicBezTo>
                    <a:close/>
                  </a:path>
                </a:pathLst>
              </a:custGeom>
              <a:solidFill>
                <a:srgbClr val="CC6600"/>
              </a:solidFill>
              <a:ln w="952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416" name="Freeform: Shape 415">
                <a:extLst>
                  <a:ext uri="{FF2B5EF4-FFF2-40B4-BE49-F238E27FC236}">
                    <a16:creationId xmlns:a16="http://schemas.microsoft.com/office/drawing/2014/main" id="{781EF104-1175-4F6B-B2C7-8241DA04925A}"/>
                  </a:ext>
                </a:extLst>
              </p:cNvPr>
              <p:cNvSpPr/>
              <p:nvPr/>
            </p:nvSpPr>
            <p:spPr>
              <a:xfrm>
                <a:off x="1456989" y="2917372"/>
                <a:ext cx="13636" cy="32382"/>
              </a:xfrm>
              <a:custGeom>
                <a:avLst/>
                <a:gdLst>
                  <a:gd name="connsiteX0" fmla="*/ 0 w 36478"/>
                  <a:gd name="connsiteY0" fmla="*/ 0 h 94678"/>
                  <a:gd name="connsiteX1" fmla="*/ 34766 w 36478"/>
                  <a:gd name="connsiteY1" fmla="*/ 47339 h 94678"/>
                  <a:gd name="connsiteX2" fmla="*/ 26479 w 36478"/>
                  <a:gd name="connsiteY2" fmla="*/ 94679 h 94678"/>
                  <a:gd name="connsiteX3" fmla="*/ 11621 w 36478"/>
                  <a:gd name="connsiteY3" fmla="*/ 75057 h 94678"/>
                  <a:gd name="connsiteX4" fmla="*/ 0 w 36478"/>
                  <a:gd name="connsiteY4" fmla="*/ 0 h 946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78" h="94678">
                    <a:moveTo>
                      <a:pt x="0" y="0"/>
                    </a:moveTo>
                    <a:cubicBezTo>
                      <a:pt x="4953" y="1619"/>
                      <a:pt x="28099" y="21241"/>
                      <a:pt x="34766" y="47339"/>
                    </a:cubicBezTo>
                    <a:cubicBezTo>
                      <a:pt x="41434" y="73438"/>
                      <a:pt x="26479" y="94679"/>
                      <a:pt x="26479" y="94679"/>
                    </a:cubicBezTo>
                    <a:cubicBezTo>
                      <a:pt x="26479" y="94679"/>
                      <a:pt x="13240" y="89821"/>
                      <a:pt x="11621" y="75057"/>
                    </a:cubicBezTo>
                    <a:cubicBezTo>
                      <a:pt x="9906" y="60388"/>
                      <a:pt x="0" y="0"/>
                      <a:pt x="0" y="0"/>
                    </a:cubicBezTo>
                    <a:close/>
                  </a:path>
                </a:pathLst>
              </a:custGeom>
              <a:solidFill>
                <a:srgbClr val="CC6600"/>
              </a:solidFill>
              <a:ln w="952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417" name="Freeform: Shape 416">
                <a:extLst>
                  <a:ext uri="{FF2B5EF4-FFF2-40B4-BE49-F238E27FC236}">
                    <a16:creationId xmlns:a16="http://schemas.microsoft.com/office/drawing/2014/main" id="{3BAED332-B555-44F1-9EBD-9378DC0A0E06}"/>
                  </a:ext>
                </a:extLst>
              </p:cNvPr>
              <p:cNvSpPr/>
              <p:nvPr/>
            </p:nvSpPr>
            <p:spPr>
              <a:xfrm>
                <a:off x="1366373" y="2914440"/>
                <a:ext cx="24711" cy="42673"/>
              </a:xfrm>
              <a:custGeom>
                <a:avLst/>
                <a:gdLst>
                  <a:gd name="connsiteX0" fmla="*/ 0 w 66106"/>
                  <a:gd name="connsiteY0" fmla="*/ 0 h 124767"/>
                  <a:gd name="connsiteX1" fmla="*/ 28289 w 66106"/>
                  <a:gd name="connsiteY1" fmla="*/ 108109 h 124767"/>
                  <a:gd name="connsiteX2" fmla="*/ 60103 w 66106"/>
                  <a:gd name="connsiteY2" fmla="*/ 94202 h 124767"/>
                  <a:gd name="connsiteX3" fmla="*/ 0 w 66106"/>
                  <a:gd name="connsiteY3" fmla="*/ 0 h 124767"/>
                </a:gdLst>
                <a:ahLst/>
                <a:cxnLst>
                  <a:cxn ang="0">
                    <a:pos x="connsiteX0" y="connsiteY0"/>
                  </a:cxn>
                  <a:cxn ang="0">
                    <a:pos x="connsiteX1" y="connsiteY1"/>
                  </a:cxn>
                  <a:cxn ang="0">
                    <a:pos x="connsiteX2" y="connsiteY2"/>
                  </a:cxn>
                  <a:cxn ang="0">
                    <a:pos x="connsiteX3" y="connsiteY3"/>
                  </a:cxn>
                </a:cxnLst>
                <a:rect l="l" t="t" r="r" b="b"/>
                <a:pathLst>
                  <a:path w="66106" h="124767">
                    <a:moveTo>
                      <a:pt x="0" y="0"/>
                    </a:moveTo>
                    <a:cubicBezTo>
                      <a:pt x="0" y="0"/>
                      <a:pt x="3524" y="87249"/>
                      <a:pt x="28289" y="108109"/>
                    </a:cubicBezTo>
                    <a:cubicBezTo>
                      <a:pt x="53054" y="129064"/>
                      <a:pt x="77819" y="136017"/>
                      <a:pt x="60103" y="94202"/>
                    </a:cubicBezTo>
                    <a:cubicBezTo>
                      <a:pt x="42482" y="52292"/>
                      <a:pt x="0" y="0"/>
                      <a:pt x="0" y="0"/>
                    </a:cubicBezTo>
                    <a:close/>
                  </a:path>
                </a:pathLst>
              </a:custGeom>
              <a:solidFill>
                <a:srgbClr val="CC6600"/>
              </a:solidFill>
              <a:ln w="952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418" name="Freeform: Shape 417">
                <a:extLst>
                  <a:ext uri="{FF2B5EF4-FFF2-40B4-BE49-F238E27FC236}">
                    <a16:creationId xmlns:a16="http://schemas.microsoft.com/office/drawing/2014/main" id="{99C84238-01B1-48D0-94D5-68D997A13C14}"/>
                  </a:ext>
                </a:extLst>
              </p:cNvPr>
              <p:cNvSpPr/>
              <p:nvPr/>
            </p:nvSpPr>
            <p:spPr>
              <a:xfrm>
                <a:off x="1386864" y="2885804"/>
                <a:ext cx="31103" cy="51524"/>
              </a:xfrm>
              <a:custGeom>
                <a:avLst/>
                <a:gdLst>
                  <a:gd name="connsiteX0" fmla="*/ 1762 w 83205"/>
                  <a:gd name="connsiteY0" fmla="*/ 0 h 150644"/>
                  <a:gd name="connsiteX1" fmla="*/ 83106 w 83205"/>
                  <a:gd name="connsiteY1" fmla="*/ 115157 h 150644"/>
                  <a:gd name="connsiteX2" fmla="*/ 58341 w 83205"/>
                  <a:gd name="connsiteY2" fmla="*/ 139541 h 150644"/>
                  <a:gd name="connsiteX3" fmla="*/ 8811 w 83205"/>
                  <a:gd name="connsiteY3" fmla="*/ 66294 h 150644"/>
                  <a:gd name="connsiteX4" fmla="*/ 1762 w 83205"/>
                  <a:gd name="connsiteY4" fmla="*/ 0 h 1506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205" h="150644">
                    <a:moveTo>
                      <a:pt x="1762" y="0"/>
                    </a:moveTo>
                    <a:cubicBezTo>
                      <a:pt x="1762" y="0"/>
                      <a:pt x="82248" y="85820"/>
                      <a:pt x="83106" y="115157"/>
                    </a:cubicBezTo>
                    <a:cubicBezTo>
                      <a:pt x="83963" y="144494"/>
                      <a:pt x="79581" y="164021"/>
                      <a:pt x="58341" y="139541"/>
                    </a:cubicBezTo>
                    <a:cubicBezTo>
                      <a:pt x="37100" y="115157"/>
                      <a:pt x="23003" y="94202"/>
                      <a:pt x="8811" y="66294"/>
                    </a:cubicBezTo>
                    <a:cubicBezTo>
                      <a:pt x="-5286" y="38386"/>
                      <a:pt x="1762" y="0"/>
                      <a:pt x="1762" y="0"/>
                    </a:cubicBezTo>
                    <a:close/>
                  </a:path>
                </a:pathLst>
              </a:custGeom>
              <a:solidFill>
                <a:srgbClr val="CC6600"/>
              </a:solidFill>
              <a:ln w="952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419" name="Freeform: Shape 418">
                <a:extLst>
                  <a:ext uri="{FF2B5EF4-FFF2-40B4-BE49-F238E27FC236}">
                    <a16:creationId xmlns:a16="http://schemas.microsoft.com/office/drawing/2014/main" id="{82678684-5E88-490B-B04A-06401C53EA04}"/>
                  </a:ext>
                </a:extLst>
              </p:cNvPr>
              <p:cNvSpPr/>
              <p:nvPr/>
            </p:nvSpPr>
            <p:spPr>
              <a:xfrm>
                <a:off x="1417929" y="2859318"/>
                <a:ext cx="27310" cy="52075"/>
              </a:xfrm>
              <a:custGeom>
                <a:avLst/>
                <a:gdLst>
                  <a:gd name="connsiteX0" fmla="*/ 0 w 73058"/>
                  <a:gd name="connsiteY0" fmla="*/ 0 h 152256"/>
                  <a:gd name="connsiteX1" fmla="*/ 55912 w 73058"/>
                  <a:gd name="connsiteY1" fmla="*/ 74009 h 152256"/>
                  <a:gd name="connsiteX2" fmla="*/ 67247 w 73058"/>
                  <a:gd name="connsiteY2" fmla="*/ 147257 h 152256"/>
                  <a:gd name="connsiteX3" fmla="*/ 18479 w 73058"/>
                  <a:gd name="connsiteY3" fmla="*/ 66961 h 152256"/>
                  <a:gd name="connsiteX4" fmla="*/ 0 w 73058"/>
                  <a:gd name="connsiteY4" fmla="*/ 0 h 1522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058" h="152256">
                    <a:moveTo>
                      <a:pt x="0" y="0"/>
                    </a:moveTo>
                    <a:cubicBezTo>
                      <a:pt x="0" y="0"/>
                      <a:pt x="45244" y="28670"/>
                      <a:pt x="55912" y="74009"/>
                    </a:cubicBezTo>
                    <a:cubicBezTo>
                      <a:pt x="66485" y="119348"/>
                      <a:pt x="81439" y="168212"/>
                      <a:pt x="67247" y="147257"/>
                    </a:cubicBezTo>
                    <a:cubicBezTo>
                      <a:pt x="53054" y="126302"/>
                      <a:pt x="29051" y="98393"/>
                      <a:pt x="18479" y="66961"/>
                    </a:cubicBezTo>
                    <a:cubicBezTo>
                      <a:pt x="7811" y="35528"/>
                      <a:pt x="0" y="0"/>
                      <a:pt x="0" y="0"/>
                    </a:cubicBezTo>
                    <a:close/>
                  </a:path>
                </a:pathLst>
              </a:custGeom>
              <a:solidFill>
                <a:srgbClr val="F9B992"/>
              </a:solidFill>
              <a:ln w="952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420" name="Freeform: Shape 419">
                <a:extLst>
                  <a:ext uri="{FF2B5EF4-FFF2-40B4-BE49-F238E27FC236}">
                    <a16:creationId xmlns:a16="http://schemas.microsoft.com/office/drawing/2014/main" id="{28B02899-296F-4BA8-966B-491AC1D9FCE5}"/>
                  </a:ext>
                </a:extLst>
              </p:cNvPr>
              <p:cNvSpPr/>
              <p:nvPr/>
            </p:nvSpPr>
            <p:spPr>
              <a:xfrm>
                <a:off x="1449234" y="2801069"/>
                <a:ext cx="27729" cy="71726"/>
              </a:xfrm>
              <a:custGeom>
                <a:avLst/>
                <a:gdLst>
                  <a:gd name="connsiteX0" fmla="*/ 4741 w 74180"/>
                  <a:gd name="connsiteY0" fmla="*/ 0 h 209710"/>
                  <a:gd name="connsiteX1" fmla="*/ 64844 w 74180"/>
                  <a:gd name="connsiteY1" fmla="*/ 146494 h 209710"/>
                  <a:gd name="connsiteX2" fmla="*/ 64844 w 74180"/>
                  <a:gd name="connsiteY2" fmla="*/ 205835 h 209710"/>
                  <a:gd name="connsiteX3" fmla="*/ 4741 w 74180"/>
                  <a:gd name="connsiteY3" fmla="*/ 83725 h 209710"/>
                  <a:gd name="connsiteX4" fmla="*/ 4741 w 74180"/>
                  <a:gd name="connsiteY4" fmla="*/ 0 h 2097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180" h="209710">
                    <a:moveTo>
                      <a:pt x="4741" y="0"/>
                    </a:moveTo>
                    <a:cubicBezTo>
                      <a:pt x="4741" y="0"/>
                      <a:pt x="54271" y="97726"/>
                      <a:pt x="64844" y="146494"/>
                    </a:cubicBezTo>
                    <a:cubicBezTo>
                      <a:pt x="75417" y="195358"/>
                      <a:pt x="79036" y="219742"/>
                      <a:pt x="64844" y="205835"/>
                    </a:cubicBezTo>
                    <a:cubicBezTo>
                      <a:pt x="50652" y="191929"/>
                      <a:pt x="15314" y="118586"/>
                      <a:pt x="4741" y="83725"/>
                    </a:cubicBezTo>
                    <a:cubicBezTo>
                      <a:pt x="-5927" y="48863"/>
                      <a:pt x="4741" y="0"/>
                      <a:pt x="4741" y="0"/>
                    </a:cubicBezTo>
                    <a:close/>
                  </a:path>
                </a:pathLst>
              </a:custGeom>
              <a:solidFill>
                <a:srgbClr val="CC6600"/>
              </a:solidFill>
              <a:ln w="952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421" name="Freeform: Shape 420">
                <a:extLst>
                  <a:ext uri="{FF2B5EF4-FFF2-40B4-BE49-F238E27FC236}">
                    <a16:creationId xmlns:a16="http://schemas.microsoft.com/office/drawing/2014/main" id="{647468AC-BC5B-48A1-B985-BD09486CE24F}"/>
                  </a:ext>
                </a:extLst>
              </p:cNvPr>
              <p:cNvSpPr/>
              <p:nvPr/>
            </p:nvSpPr>
            <p:spPr>
              <a:xfrm>
                <a:off x="1231358" y="3438452"/>
                <a:ext cx="205231" cy="284664"/>
              </a:xfrm>
              <a:custGeom>
                <a:avLst/>
                <a:gdLst>
                  <a:gd name="connsiteX0" fmla="*/ 43815 w 549027"/>
                  <a:gd name="connsiteY0" fmla="*/ 24860 h 832295"/>
                  <a:gd name="connsiteX1" fmla="*/ 0 w 549027"/>
                  <a:gd name="connsiteY1" fmla="*/ 347377 h 832295"/>
                  <a:gd name="connsiteX2" fmla="*/ 282797 w 549027"/>
                  <a:gd name="connsiteY2" fmla="*/ 831532 h 832295"/>
                  <a:gd name="connsiteX3" fmla="*/ 539401 w 549027"/>
                  <a:gd name="connsiteY3" fmla="*/ 635889 h 832295"/>
                  <a:gd name="connsiteX4" fmla="*/ 512540 w 549027"/>
                  <a:gd name="connsiteY4" fmla="*/ 0 h 832295"/>
                  <a:gd name="connsiteX5" fmla="*/ 43815 w 549027"/>
                  <a:gd name="connsiteY5" fmla="*/ 24860 h 832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9027" h="832295">
                    <a:moveTo>
                      <a:pt x="43815" y="24860"/>
                    </a:moveTo>
                    <a:cubicBezTo>
                      <a:pt x="18002" y="171164"/>
                      <a:pt x="0" y="292608"/>
                      <a:pt x="0" y="347377"/>
                    </a:cubicBezTo>
                    <a:cubicBezTo>
                      <a:pt x="0" y="542449"/>
                      <a:pt x="144113" y="811149"/>
                      <a:pt x="282797" y="831532"/>
                    </a:cubicBezTo>
                    <a:cubicBezTo>
                      <a:pt x="357664" y="842486"/>
                      <a:pt x="516731" y="733425"/>
                      <a:pt x="539401" y="635889"/>
                    </a:cubicBezTo>
                    <a:cubicBezTo>
                      <a:pt x="561022" y="543020"/>
                      <a:pt x="543687" y="277844"/>
                      <a:pt x="512540" y="0"/>
                    </a:cubicBezTo>
                    <a:lnTo>
                      <a:pt x="43815" y="24860"/>
                    </a:lnTo>
                    <a:close/>
                  </a:path>
                </a:pathLst>
              </a:custGeom>
              <a:solidFill>
                <a:srgbClr val="8CB369"/>
              </a:solidFill>
              <a:ln w="952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422" name="Freeform: Shape 421">
                <a:extLst>
                  <a:ext uri="{FF2B5EF4-FFF2-40B4-BE49-F238E27FC236}">
                    <a16:creationId xmlns:a16="http://schemas.microsoft.com/office/drawing/2014/main" id="{ACC07DE8-7E72-46E2-81FC-875CE2E4CEDC}"/>
                  </a:ext>
                </a:extLst>
              </p:cNvPr>
              <p:cNvSpPr/>
              <p:nvPr/>
            </p:nvSpPr>
            <p:spPr>
              <a:xfrm>
                <a:off x="1227363" y="3435749"/>
                <a:ext cx="74066" cy="269678"/>
              </a:xfrm>
              <a:custGeom>
                <a:avLst/>
                <a:gdLst>
                  <a:gd name="connsiteX0" fmla="*/ 95270 w 198139"/>
                  <a:gd name="connsiteY0" fmla="*/ 0 h 788479"/>
                  <a:gd name="connsiteX1" fmla="*/ 28214 w 198139"/>
                  <a:gd name="connsiteY1" fmla="*/ 762 h 788479"/>
                  <a:gd name="connsiteX2" fmla="*/ 14879 w 198139"/>
                  <a:gd name="connsiteY2" fmla="*/ 462058 h 788479"/>
                  <a:gd name="connsiteX3" fmla="*/ 75839 w 198139"/>
                  <a:gd name="connsiteY3" fmla="*/ 675989 h 788479"/>
                  <a:gd name="connsiteX4" fmla="*/ 198140 w 198139"/>
                  <a:gd name="connsiteY4" fmla="*/ 788480 h 788479"/>
                  <a:gd name="connsiteX5" fmla="*/ 78315 w 198139"/>
                  <a:gd name="connsiteY5" fmla="*/ 545687 h 788479"/>
                  <a:gd name="connsiteX6" fmla="*/ 95270 w 198139"/>
                  <a:gd name="connsiteY6" fmla="*/ 0 h 788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8139" h="788479">
                    <a:moveTo>
                      <a:pt x="95270" y="0"/>
                    </a:moveTo>
                    <a:lnTo>
                      <a:pt x="28214" y="762"/>
                    </a:lnTo>
                    <a:cubicBezTo>
                      <a:pt x="-12744" y="224218"/>
                      <a:pt x="-1599" y="324326"/>
                      <a:pt x="14879" y="462058"/>
                    </a:cubicBezTo>
                    <a:cubicBezTo>
                      <a:pt x="22689" y="527113"/>
                      <a:pt x="47454" y="623030"/>
                      <a:pt x="75839" y="675989"/>
                    </a:cubicBezTo>
                    <a:cubicBezTo>
                      <a:pt x="125750" y="768953"/>
                      <a:pt x="198140" y="788480"/>
                      <a:pt x="198140" y="788480"/>
                    </a:cubicBezTo>
                    <a:cubicBezTo>
                      <a:pt x="198140" y="788480"/>
                      <a:pt x="99270" y="642175"/>
                      <a:pt x="78315" y="545687"/>
                    </a:cubicBezTo>
                    <a:cubicBezTo>
                      <a:pt x="60789" y="464725"/>
                      <a:pt x="46692" y="294513"/>
                      <a:pt x="95270" y="0"/>
                    </a:cubicBezTo>
                    <a:close/>
                  </a:path>
                </a:pathLst>
              </a:custGeom>
              <a:solidFill>
                <a:srgbClr val="0070C0"/>
              </a:solidFill>
              <a:ln w="952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423" name="Freeform: Shape 422">
                <a:extLst>
                  <a:ext uri="{FF2B5EF4-FFF2-40B4-BE49-F238E27FC236}">
                    <a16:creationId xmlns:a16="http://schemas.microsoft.com/office/drawing/2014/main" id="{8756F2A1-ED4E-47AF-8D85-173AF7E43022}"/>
                  </a:ext>
                </a:extLst>
              </p:cNvPr>
              <p:cNvSpPr/>
              <p:nvPr/>
            </p:nvSpPr>
            <p:spPr>
              <a:xfrm>
                <a:off x="1259878" y="3123100"/>
                <a:ext cx="160224" cy="312583"/>
              </a:xfrm>
              <a:custGeom>
                <a:avLst/>
                <a:gdLst>
                  <a:gd name="connsiteX0" fmla="*/ 388239 w 428625"/>
                  <a:gd name="connsiteY0" fmla="*/ 436626 h 913923"/>
                  <a:gd name="connsiteX1" fmla="*/ 389858 w 428625"/>
                  <a:gd name="connsiteY1" fmla="*/ 0 h 913923"/>
                  <a:gd name="connsiteX2" fmla="*/ 292989 w 428625"/>
                  <a:gd name="connsiteY2" fmla="*/ 57626 h 913923"/>
                  <a:gd name="connsiteX3" fmla="*/ 132683 w 428625"/>
                  <a:gd name="connsiteY3" fmla="*/ 1238 h 913923"/>
                  <a:gd name="connsiteX4" fmla="*/ 61341 w 428625"/>
                  <a:gd name="connsiteY4" fmla="*/ 412242 h 913923"/>
                  <a:gd name="connsiteX5" fmla="*/ 0 w 428625"/>
                  <a:gd name="connsiteY5" fmla="*/ 913924 h 913923"/>
                  <a:gd name="connsiteX6" fmla="*/ 428625 w 428625"/>
                  <a:gd name="connsiteY6" fmla="*/ 909447 h 913923"/>
                  <a:gd name="connsiteX7" fmla="*/ 388239 w 428625"/>
                  <a:gd name="connsiteY7" fmla="*/ 436626 h 913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8625" h="913923">
                    <a:moveTo>
                      <a:pt x="388239" y="436626"/>
                    </a:moveTo>
                    <a:cubicBezTo>
                      <a:pt x="381857" y="330517"/>
                      <a:pt x="389858" y="0"/>
                      <a:pt x="389858" y="0"/>
                    </a:cubicBezTo>
                    <a:cubicBezTo>
                      <a:pt x="389858" y="0"/>
                      <a:pt x="346329" y="44958"/>
                      <a:pt x="292989" y="57626"/>
                    </a:cubicBezTo>
                    <a:cubicBezTo>
                      <a:pt x="207931" y="77819"/>
                      <a:pt x="132683" y="1238"/>
                      <a:pt x="132683" y="1238"/>
                    </a:cubicBezTo>
                    <a:cubicBezTo>
                      <a:pt x="132683" y="1238"/>
                      <a:pt x="87725" y="204216"/>
                      <a:pt x="61341" y="412242"/>
                    </a:cubicBezTo>
                    <a:cubicBezTo>
                      <a:pt x="41529" y="568357"/>
                      <a:pt x="18860" y="751427"/>
                      <a:pt x="0" y="913924"/>
                    </a:cubicBezTo>
                    <a:lnTo>
                      <a:pt x="428625" y="909447"/>
                    </a:lnTo>
                    <a:cubicBezTo>
                      <a:pt x="428625" y="909352"/>
                      <a:pt x="395383" y="555022"/>
                      <a:pt x="388239" y="436626"/>
                    </a:cubicBezTo>
                    <a:close/>
                  </a:path>
                </a:pathLst>
              </a:custGeom>
              <a:solidFill>
                <a:srgbClr val="D38D4D"/>
              </a:solidFill>
              <a:ln w="952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424" name="Freeform: Shape 423">
                <a:extLst>
                  <a:ext uri="{FF2B5EF4-FFF2-40B4-BE49-F238E27FC236}">
                    <a16:creationId xmlns:a16="http://schemas.microsoft.com/office/drawing/2014/main" id="{F1E8414D-6DD1-4CA3-AD2C-13F1B34E2192}"/>
                  </a:ext>
                </a:extLst>
              </p:cNvPr>
              <p:cNvSpPr/>
              <p:nvPr/>
            </p:nvSpPr>
            <p:spPr>
              <a:xfrm>
                <a:off x="1249295" y="3434120"/>
                <a:ext cx="208592" cy="291102"/>
              </a:xfrm>
              <a:custGeom>
                <a:avLst/>
                <a:gdLst>
                  <a:gd name="connsiteX0" fmla="*/ 483416 w 558018"/>
                  <a:gd name="connsiteY0" fmla="*/ 87630 h 851118"/>
                  <a:gd name="connsiteX1" fmla="*/ 471320 w 558018"/>
                  <a:gd name="connsiteY1" fmla="*/ 48292 h 851118"/>
                  <a:gd name="connsiteX2" fmla="*/ 468367 w 558018"/>
                  <a:gd name="connsiteY2" fmla="*/ 0 h 851118"/>
                  <a:gd name="connsiteX3" fmla="*/ 16596 w 558018"/>
                  <a:gd name="connsiteY3" fmla="*/ 15621 h 851118"/>
                  <a:gd name="connsiteX4" fmla="*/ 880 w 558018"/>
                  <a:gd name="connsiteY4" fmla="*/ 416242 h 851118"/>
                  <a:gd name="connsiteX5" fmla="*/ 83843 w 558018"/>
                  <a:gd name="connsiteY5" fmla="*/ 727615 h 851118"/>
                  <a:gd name="connsiteX6" fmla="*/ 241291 w 558018"/>
                  <a:gd name="connsiteY6" fmla="*/ 849725 h 851118"/>
                  <a:gd name="connsiteX7" fmla="*/ 555711 w 558018"/>
                  <a:gd name="connsiteY7" fmla="*/ 655796 h 851118"/>
                  <a:gd name="connsiteX8" fmla="*/ 483416 w 558018"/>
                  <a:gd name="connsiteY8" fmla="*/ 87630 h 851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8018" h="851118">
                    <a:moveTo>
                      <a:pt x="483416" y="87630"/>
                    </a:moveTo>
                    <a:cubicBezTo>
                      <a:pt x="478940" y="100584"/>
                      <a:pt x="471320" y="48292"/>
                      <a:pt x="471320" y="48292"/>
                    </a:cubicBezTo>
                    <a:lnTo>
                      <a:pt x="468367" y="0"/>
                    </a:lnTo>
                    <a:lnTo>
                      <a:pt x="16596" y="15621"/>
                    </a:lnTo>
                    <a:cubicBezTo>
                      <a:pt x="-5597" y="207550"/>
                      <a:pt x="880" y="359759"/>
                      <a:pt x="880" y="416242"/>
                    </a:cubicBezTo>
                    <a:cubicBezTo>
                      <a:pt x="880" y="509968"/>
                      <a:pt x="30312" y="637413"/>
                      <a:pt x="83843" y="727615"/>
                    </a:cubicBezTo>
                    <a:cubicBezTo>
                      <a:pt x="124419" y="795814"/>
                      <a:pt x="218621" y="847534"/>
                      <a:pt x="241291" y="849725"/>
                    </a:cubicBezTo>
                    <a:cubicBezTo>
                      <a:pt x="381975" y="863536"/>
                      <a:pt x="539233" y="772954"/>
                      <a:pt x="555711" y="655796"/>
                    </a:cubicBezTo>
                    <a:cubicBezTo>
                      <a:pt x="574285" y="523780"/>
                      <a:pt x="474368" y="223075"/>
                      <a:pt x="483416" y="87630"/>
                    </a:cubicBezTo>
                    <a:close/>
                  </a:path>
                </a:pathLst>
              </a:custGeom>
              <a:solidFill>
                <a:srgbClr val="00B0F0"/>
              </a:solidFill>
              <a:ln w="952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425" name="Freeform: Shape 424">
                <a:extLst>
                  <a:ext uri="{FF2B5EF4-FFF2-40B4-BE49-F238E27FC236}">
                    <a16:creationId xmlns:a16="http://schemas.microsoft.com/office/drawing/2014/main" id="{B49D7858-50D2-4B7D-A8E5-DA72F4FD35B3}"/>
                  </a:ext>
                </a:extLst>
              </p:cNvPr>
              <p:cNvSpPr/>
              <p:nvPr/>
            </p:nvSpPr>
            <p:spPr>
              <a:xfrm>
                <a:off x="1329629" y="2821468"/>
                <a:ext cx="160437" cy="104276"/>
              </a:xfrm>
              <a:custGeom>
                <a:avLst/>
                <a:gdLst>
                  <a:gd name="connsiteX0" fmla="*/ 0 w 429196"/>
                  <a:gd name="connsiteY0" fmla="*/ 76377 h 304881"/>
                  <a:gd name="connsiteX1" fmla="*/ 143732 w 429196"/>
                  <a:gd name="connsiteY1" fmla="*/ 3225 h 304881"/>
                  <a:gd name="connsiteX2" fmla="*/ 260128 w 429196"/>
                  <a:gd name="connsiteY2" fmla="*/ 8845 h 304881"/>
                  <a:gd name="connsiteX3" fmla="*/ 335375 w 429196"/>
                  <a:gd name="connsiteY3" fmla="*/ 140099 h 304881"/>
                  <a:gd name="connsiteX4" fmla="*/ 359283 w 429196"/>
                  <a:gd name="connsiteY4" fmla="*/ 224871 h 304881"/>
                  <a:gd name="connsiteX5" fmla="*/ 429196 w 429196"/>
                  <a:gd name="connsiteY5" fmla="*/ 304881 h 304881"/>
                  <a:gd name="connsiteX6" fmla="*/ 341757 w 429196"/>
                  <a:gd name="connsiteY6" fmla="*/ 225157 h 304881"/>
                  <a:gd name="connsiteX7" fmla="*/ 301371 w 429196"/>
                  <a:gd name="connsiteY7" fmla="*/ 140099 h 304881"/>
                  <a:gd name="connsiteX8" fmla="*/ 231457 w 429196"/>
                  <a:gd name="connsiteY8" fmla="*/ 33038 h 304881"/>
                  <a:gd name="connsiteX9" fmla="*/ 75343 w 429196"/>
                  <a:gd name="connsiteY9" fmla="*/ 31895 h 304881"/>
                  <a:gd name="connsiteX10" fmla="*/ 0 w 429196"/>
                  <a:gd name="connsiteY10" fmla="*/ 76377 h 304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9196" h="304881">
                    <a:moveTo>
                      <a:pt x="0" y="76377"/>
                    </a:moveTo>
                    <a:cubicBezTo>
                      <a:pt x="0" y="76377"/>
                      <a:pt x="11239" y="16464"/>
                      <a:pt x="143732" y="3225"/>
                    </a:cubicBezTo>
                    <a:cubicBezTo>
                      <a:pt x="240506" y="-6491"/>
                      <a:pt x="260128" y="8845"/>
                      <a:pt x="260128" y="8845"/>
                    </a:cubicBezTo>
                    <a:cubicBezTo>
                      <a:pt x="260128" y="8845"/>
                      <a:pt x="289941" y="16941"/>
                      <a:pt x="335375" y="140099"/>
                    </a:cubicBezTo>
                    <a:cubicBezTo>
                      <a:pt x="347186" y="172103"/>
                      <a:pt x="346424" y="201154"/>
                      <a:pt x="359283" y="224871"/>
                    </a:cubicBezTo>
                    <a:cubicBezTo>
                      <a:pt x="387667" y="277545"/>
                      <a:pt x="429196" y="304881"/>
                      <a:pt x="429196" y="304881"/>
                    </a:cubicBezTo>
                    <a:cubicBezTo>
                      <a:pt x="429196" y="304881"/>
                      <a:pt x="380333" y="284403"/>
                      <a:pt x="341757" y="225157"/>
                    </a:cubicBezTo>
                    <a:cubicBezTo>
                      <a:pt x="323945" y="197916"/>
                      <a:pt x="308515" y="168293"/>
                      <a:pt x="301371" y="140099"/>
                    </a:cubicBezTo>
                    <a:cubicBezTo>
                      <a:pt x="278701" y="50564"/>
                      <a:pt x="268510" y="50754"/>
                      <a:pt x="231457" y="33038"/>
                    </a:cubicBezTo>
                    <a:cubicBezTo>
                      <a:pt x="195929" y="15988"/>
                      <a:pt x="133636" y="17798"/>
                      <a:pt x="75343" y="31895"/>
                    </a:cubicBezTo>
                    <a:cubicBezTo>
                      <a:pt x="25717" y="43801"/>
                      <a:pt x="0" y="76377"/>
                      <a:pt x="0" y="76377"/>
                    </a:cubicBezTo>
                    <a:close/>
                  </a:path>
                </a:pathLst>
              </a:custGeom>
              <a:solidFill>
                <a:srgbClr val="D38D4D"/>
              </a:solidFill>
              <a:ln w="952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426" name="Freeform: Shape 425">
                <a:extLst>
                  <a:ext uri="{FF2B5EF4-FFF2-40B4-BE49-F238E27FC236}">
                    <a16:creationId xmlns:a16="http://schemas.microsoft.com/office/drawing/2014/main" id="{0C616ADB-4639-4FF8-903D-7C153CC819D2}"/>
                  </a:ext>
                </a:extLst>
              </p:cNvPr>
              <p:cNvSpPr/>
              <p:nvPr/>
            </p:nvSpPr>
            <p:spPr>
              <a:xfrm>
                <a:off x="1247701" y="3099807"/>
                <a:ext cx="72955" cy="347115"/>
              </a:xfrm>
              <a:custGeom>
                <a:avLst/>
                <a:gdLst>
                  <a:gd name="connsiteX0" fmla="*/ 195167 w 195167"/>
                  <a:gd name="connsiteY0" fmla="*/ 100870 h 1014888"/>
                  <a:gd name="connsiteX1" fmla="*/ 153067 w 195167"/>
                  <a:gd name="connsiteY1" fmla="*/ 367570 h 1014888"/>
                  <a:gd name="connsiteX2" fmla="*/ 115729 w 195167"/>
                  <a:gd name="connsiteY2" fmla="*/ 626935 h 1014888"/>
                  <a:gd name="connsiteX3" fmla="*/ 78010 w 195167"/>
                  <a:gd name="connsiteY3" fmla="*/ 981837 h 1014888"/>
                  <a:gd name="connsiteX4" fmla="*/ 0 w 195167"/>
                  <a:gd name="connsiteY4" fmla="*/ 1014889 h 1014888"/>
                  <a:gd name="connsiteX5" fmla="*/ 82487 w 195167"/>
                  <a:gd name="connsiteY5" fmla="*/ 480155 h 1014888"/>
                  <a:gd name="connsiteX6" fmla="*/ 183833 w 195167"/>
                  <a:gd name="connsiteY6" fmla="*/ 0 h 1014888"/>
                  <a:gd name="connsiteX7" fmla="*/ 195167 w 195167"/>
                  <a:gd name="connsiteY7" fmla="*/ 100870 h 1014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167" h="1014888">
                    <a:moveTo>
                      <a:pt x="195167" y="100870"/>
                    </a:moveTo>
                    <a:cubicBezTo>
                      <a:pt x="195167" y="100870"/>
                      <a:pt x="185642" y="156210"/>
                      <a:pt x="153067" y="367570"/>
                    </a:cubicBezTo>
                    <a:cubicBezTo>
                      <a:pt x="142970" y="433197"/>
                      <a:pt x="130683" y="533972"/>
                      <a:pt x="115729" y="626935"/>
                    </a:cubicBezTo>
                    <a:cubicBezTo>
                      <a:pt x="95726" y="751332"/>
                      <a:pt x="78010" y="981837"/>
                      <a:pt x="78010" y="981837"/>
                    </a:cubicBezTo>
                    <a:lnTo>
                      <a:pt x="0" y="1014889"/>
                    </a:lnTo>
                    <a:cubicBezTo>
                      <a:pt x="0" y="1014889"/>
                      <a:pt x="60674" y="680466"/>
                      <a:pt x="82487" y="480155"/>
                    </a:cubicBezTo>
                    <a:cubicBezTo>
                      <a:pt x="104299" y="279844"/>
                      <a:pt x="183833" y="0"/>
                      <a:pt x="183833" y="0"/>
                    </a:cubicBezTo>
                    <a:lnTo>
                      <a:pt x="195167" y="100870"/>
                    </a:lnTo>
                    <a:close/>
                  </a:path>
                </a:pathLst>
              </a:custGeom>
              <a:solidFill>
                <a:srgbClr val="CC6600"/>
              </a:solidFill>
              <a:ln w="952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427" name="Freeform: Shape 426">
                <a:extLst>
                  <a:ext uri="{FF2B5EF4-FFF2-40B4-BE49-F238E27FC236}">
                    <a16:creationId xmlns:a16="http://schemas.microsoft.com/office/drawing/2014/main" id="{F4A3BF8F-D8D6-44C5-AC07-B035D6FF9011}"/>
                  </a:ext>
                </a:extLst>
              </p:cNvPr>
              <p:cNvSpPr/>
              <p:nvPr/>
            </p:nvSpPr>
            <p:spPr>
              <a:xfrm>
                <a:off x="1395641" y="3089871"/>
                <a:ext cx="26846" cy="324320"/>
              </a:xfrm>
              <a:custGeom>
                <a:avLst/>
                <a:gdLst>
                  <a:gd name="connsiteX0" fmla="*/ 37814 w 71818"/>
                  <a:gd name="connsiteY0" fmla="*/ 107537 h 948238"/>
                  <a:gd name="connsiteX1" fmla="*/ 49149 w 71818"/>
                  <a:gd name="connsiteY1" fmla="*/ 656082 h 948238"/>
                  <a:gd name="connsiteX2" fmla="*/ 71819 w 71818"/>
                  <a:gd name="connsiteY2" fmla="*/ 935927 h 948238"/>
                  <a:gd name="connsiteX3" fmla="*/ 29908 w 71818"/>
                  <a:gd name="connsiteY3" fmla="*/ 902684 h 948238"/>
                  <a:gd name="connsiteX4" fmla="*/ 0 w 71818"/>
                  <a:gd name="connsiteY4" fmla="*/ 415385 h 948238"/>
                  <a:gd name="connsiteX5" fmla="*/ 38767 w 71818"/>
                  <a:gd name="connsiteY5" fmla="*/ 0 h 948238"/>
                  <a:gd name="connsiteX6" fmla="*/ 37814 w 71818"/>
                  <a:gd name="connsiteY6" fmla="*/ 107537 h 948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818" h="948238">
                    <a:moveTo>
                      <a:pt x="37814" y="107537"/>
                    </a:moveTo>
                    <a:cubicBezTo>
                      <a:pt x="37814" y="107537"/>
                      <a:pt x="37814" y="476917"/>
                      <a:pt x="49149" y="656082"/>
                    </a:cubicBezTo>
                    <a:cubicBezTo>
                      <a:pt x="60484" y="835152"/>
                      <a:pt x="71819" y="935927"/>
                      <a:pt x="71819" y="935927"/>
                    </a:cubicBezTo>
                    <a:cubicBezTo>
                      <a:pt x="62770" y="957453"/>
                      <a:pt x="40576" y="953357"/>
                      <a:pt x="29908" y="902684"/>
                    </a:cubicBezTo>
                    <a:cubicBezTo>
                      <a:pt x="5144" y="785908"/>
                      <a:pt x="0" y="501205"/>
                      <a:pt x="0" y="415385"/>
                    </a:cubicBezTo>
                    <a:cubicBezTo>
                      <a:pt x="0" y="292227"/>
                      <a:pt x="38767" y="0"/>
                      <a:pt x="38767" y="0"/>
                    </a:cubicBezTo>
                    <a:lnTo>
                      <a:pt x="37814" y="107537"/>
                    </a:lnTo>
                    <a:close/>
                  </a:path>
                </a:pathLst>
              </a:custGeom>
              <a:solidFill>
                <a:srgbClr val="CC6600"/>
              </a:solidFill>
              <a:ln w="952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428" name="Freeform: Shape 427">
                <a:extLst>
                  <a:ext uri="{FF2B5EF4-FFF2-40B4-BE49-F238E27FC236}">
                    <a16:creationId xmlns:a16="http://schemas.microsoft.com/office/drawing/2014/main" id="{68C1D432-7FE3-496E-8E40-90BD2C2888DB}"/>
                  </a:ext>
                </a:extLst>
              </p:cNvPr>
              <p:cNvSpPr/>
              <p:nvPr/>
            </p:nvSpPr>
            <p:spPr>
              <a:xfrm>
                <a:off x="1414013" y="3481879"/>
                <a:ext cx="35215" cy="81249"/>
              </a:xfrm>
              <a:custGeom>
                <a:avLst/>
                <a:gdLst>
                  <a:gd name="connsiteX0" fmla="*/ 68294 w 94205"/>
                  <a:gd name="connsiteY0" fmla="*/ 0 h 237553"/>
                  <a:gd name="connsiteX1" fmla="*/ 0 w 94205"/>
                  <a:gd name="connsiteY1" fmla="*/ 92012 h 237553"/>
                  <a:gd name="connsiteX2" fmla="*/ 79438 w 94205"/>
                  <a:gd name="connsiteY2" fmla="*/ 237554 h 237553"/>
                  <a:gd name="connsiteX3" fmla="*/ 92678 w 94205"/>
                  <a:gd name="connsiteY3" fmla="*/ 154210 h 237553"/>
                  <a:gd name="connsiteX4" fmla="*/ 68294 w 94205"/>
                  <a:gd name="connsiteY4" fmla="*/ 0 h 2375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205" h="237553">
                    <a:moveTo>
                      <a:pt x="68294" y="0"/>
                    </a:moveTo>
                    <a:lnTo>
                      <a:pt x="0" y="92012"/>
                    </a:lnTo>
                    <a:cubicBezTo>
                      <a:pt x="11335" y="136779"/>
                      <a:pt x="79438" y="237554"/>
                      <a:pt x="79438" y="237554"/>
                    </a:cubicBezTo>
                    <a:cubicBezTo>
                      <a:pt x="79438" y="237554"/>
                      <a:pt x="85534" y="222028"/>
                      <a:pt x="92678" y="154210"/>
                    </a:cubicBezTo>
                    <a:cubicBezTo>
                      <a:pt x="101632" y="69342"/>
                      <a:pt x="68294" y="0"/>
                      <a:pt x="68294" y="0"/>
                    </a:cubicBezTo>
                    <a:close/>
                  </a:path>
                </a:pathLst>
              </a:custGeom>
              <a:solidFill>
                <a:srgbClr val="0070C0"/>
              </a:solidFill>
              <a:ln w="952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429" name="Freeform: Shape 428">
                <a:extLst>
                  <a:ext uri="{FF2B5EF4-FFF2-40B4-BE49-F238E27FC236}">
                    <a16:creationId xmlns:a16="http://schemas.microsoft.com/office/drawing/2014/main" id="{D3B37B6D-18B5-45F3-9630-EC3288C5EF23}"/>
                  </a:ext>
                </a:extLst>
              </p:cNvPr>
              <p:cNvSpPr/>
              <p:nvPr/>
            </p:nvSpPr>
            <p:spPr>
              <a:xfrm>
                <a:off x="1309725" y="2980996"/>
                <a:ext cx="57253" cy="162628"/>
              </a:xfrm>
              <a:custGeom>
                <a:avLst/>
                <a:gdLst>
                  <a:gd name="connsiteX0" fmla="*/ 129541 w 153162"/>
                  <a:gd name="connsiteY0" fmla="*/ 0 h 475487"/>
                  <a:gd name="connsiteX1" fmla="*/ 36577 w 153162"/>
                  <a:gd name="connsiteY1" fmla="*/ 118872 h 475487"/>
                  <a:gd name="connsiteX2" fmla="*/ 1430 w 153162"/>
                  <a:gd name="connsiteY2" fmla="*/ 257175 h 475487"/>
                  <a:gd name="connsiteX3" fmla="*/ 42673 w 153162"/>
                  <a:gd name="connsiteY3" fmla="*/ 447675 h 475487"/>
                  <a:gd name="connsiteX4" fmla="*/ 94489 w 153162"/>
                  <a:gd name="connsiteY4" fmla="*/ 475488 h 475487"/>
                  <a:gd name="connsiteX5" fmla="*/ 55151 w 153162"/>
                  <a:gd name="connsiteY5" fmla="*/ 402241 h 475487"/>
                  <a:gd name="connsiteX6" fmla="*/ 44102 w 153162"/>
                  <a:gd name="connsiteY6" fmla="*/ 234791 h 475487"/>
                  <a:gd name="connsiteX7" fmla="*/ 68295 w 153162"/>
                  <a:gd name="connsiteY7" fmla="*/ 140399 h 475487"/>
                  <a:gd name="connsiteX8" fmla="*/ 153163 w 153162"/>
                  <a:gd name="connsiteY8" fmla="*/ 9049 h 475487"/>
                  <a:gd name="connsiteX9" fmla="*/ 129541 w 153162"/>
                  <a:gd name="connsiteY9" fmla="*/ 0 h 475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3162" h="475487">
                    <a:moveTo>
                      <a:pt x="129541" y="0"/>
                    </a:moveTo>
                    <a:cubicBezTo>
                      <a:pt x="129541" y="0"/>
                      <a:pt x="65247" y="60960"/>
                      <a:pt x="36577" y="118872"/>
                    </a:cubicBezTo>
                    <a:cubicBezTo>
                      <a:pt x="16289" y="159829"/>
                      <a:pt x="4573" y="204407"/>
                      <a:pt x="1430" y="257175"/>
                    </a:cubicBezTo>
                    <a:cubicBezTo>
                      <a:pt x="-3714" y="342614"/>
                      <a:pt x="3906" y="405384"/>
                      <a:pt x="42673" y="447675"/>
                    </a:cubicBezTo>
                    <a:cubicBezTo>
                      <a:pt x="53817" y="459867"/>
                      <a:pt x="94489" y="475488"/>
                      <a:pt x="94489" y="475488"/>
                    </a:cubicBezTo>
                    <a:cubicBezTo>
                      <a:pt x="94489" y="475488"/>
                      <a:pt x="69438" y="444151"/>
                      <a:pt x="55151" y="402241"/>
                    </a:cubicBezTo>
                    <a:cubicBezTo>
                      <a:pt x="35244" y="343757"/>
                      <a:pt x="26480" y="313182"/>
                      <a:pt x="44102" y="234791"/>
                    </a:cubicBezTo>
                    <a:cubicBezTo>
                      <a:pt x="54579" y="188500"/>
                      <a:pt x="53150" y="180784"/>
                      <a:pt x="68295" y="140399"/>
                    </a:cubicBezTo>
                    <a:cubicBezTo>
                      <a:pt x="97061" y="63437"/>
                      <a:pt x="153163" y="9049"/>
                      <a:pt x="153163" y="9049"/>
                    </a:cubicBezTo>
                    <a:lnTo>
                      <a:pt x="129541" y="0"/>
                    </a:lnTo>
                    <a:close/>
                  </a:path>
                </a:pathLst>
              </a:custGeom>
              <a:solidFill>
                <a:srgbClr val="F9B992"/>
              </a:solidFill>
              <a:ln w="952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430" name="Freeform: Shape 429">
                <a:extLst>
                  <a:ext uri="{FF2B5EF4-FFF2-40B4-BE49-F238E27FC236}">
                    <a16:creationId xmlns:a16="http://schemas.microsoft.com/office/drawing/2014/main" id="{20FE2144-443B-40B9-8726-E7389D0606FA}"/>
                  </a:ext>
                </a:extLst>
              </p:cNvPr>
              <p:cNvSpPr/>
              <p:nvPr/>
            </p:nvSpPr>
            <p:spPr>
              <a:xfrm>
                <a:off x="1320618" y="2983798"/>
                <a:ext cx="61021" cy="149579"/>
              </a:xfrm>
              <a:custGeom>
                <a:avLst/>
                <a:gdLst>
                  <a:gd name="connsiteX0" fmla="*/ 5 w 163242"/>
                  <a:gd name="connsiteY0" fmla="*/ 313182 h 437337"/>
                  <a:gd name="connsiteX1" fmla="*/ 68966 w 163242"/>
                  <a:gd name="connsiteY1" fmla="*/ 416909 h 437337"/>
                  <a:gd name="connsiteX2" fmla="*/ 150595 w 163242"/>
                  <a:gd name="connsiteY2" fmla="*/ 140018 h 437337"/>
                  <a:gd name="connsiteX3" fmla="*/ 150595 w 163242"/>
                  <a:gd name="connsiteY3" fmla="*/ 0 h 437337"/>
                  <a:gd name="connsiteX4" fmla="*/ 5 w 163242"/>
                  <a:gd name="connsiteY4" fmla="*/ 313182 h 437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242" h="437337">
                    <a:moveTo>
                      <a:pt x="5" y="313182"/>
                    </a:moveTo>
                    <a:cubicBezTo>
                      <a:pt x="386" y="409289"/>
                      <a:pt x="59060" y="471678"/>
                      <a:pt x="68966" y="416909"/>
                    </a:cubicBezTo>
                    <a:cubicBezTo>
                      <a:pt x="76491" y="375571"/>
                      <a:pt x="135641" y="217360"/>
                      <a:pt x="150595" y="140018"/>
                    </a:cubicBezTo>
                    <a:cubicBezTo>
                      <a:pt x="165550" y="62579"/>
                      <a:pt x="169264" y="0"/>
                      <a:pt x="150595" y="0"/>
                    </a:cubicBezTo>
                    <a:cubicBezTo>
                      <a:pt x="132022" y="-95"/>
                      <a:pt x="-947" y="104204"/>
                      <a:pt x="5" y="313182"/>
                    </a:cubicBezTo>
                    <a:close/>
                  </a:path>
                </a:pathLst>
              </a:custGeom>
              <a:solidFill>
                <a:srgbClr val="CC6600"/>
              </a:solidFill>
              <a:ln w="952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431" name="Freeform: Shape 430">
                <a:extLst>
                  <a:ext uri="{FF2B5EF4-FFF2-40B4-BE49-F238E27FC236}">
                    <a16:creationId xmlns:a16="http://schemas.microsoft.com/office/drawing/2014/main" id="{00D38C1D-BE86-4B13-8207-939CD192FD1F}"/>
                  </a:ext>
                </a:extLst>
              </p:cNvPr>
              <p:cNvSpPr/>
              <p:nvPr/>
            </p:nvSpPr>
            <p:spPr>
              <a:xfrm>
                <a:off x="952533" y="3143135"/>
                <a:ext cx="125763" cy="249871"/>
              </a:xfrm>
              <a:custGeom>
                <a:avLst/>
                <a:gdLst>
                  <a:gd name="connsiteX0" fmla="*/ 219551 w 336436"/>
                  <a:gd name="connsiteY0" fmla="*/ 406527 h 730567"/>
                  <a:gd name="connsiteX1" fmla="*/ 0 w 336436"/>
                  <a:gd name="connsiteY1" fmla="*/ 730567 h 730567"/>
                  <a:gd name="connsiteX2" fmla="*/ 142208 w 336436"/>
                  <a:gd name="connsiteY2" fmla="*/ 328708 h 730567"/>
                  <a:gd name="connsiteX3" fmla="*/ 323850 w 336436"/>
                  <a:gd name="connsiteY3" fmla="*/ 0 h 730567"/>
                  <a:gd name="connsiteX4" fmla="*/ 219551 w 336436"/>
                  <a:gd name="connsiteY4" fmla="*/ 406527 h 7305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436" h="730567">
                    <a:moveTo>
                      <a:pt x="219551" y="406527"/>
                    </a:moveTo>
                    <a:cubicBezTo>
                      <a:pt x="49339" y="675227"/>
                      <a:pt x="0" y="730567"/>
                      <a:pt x="0" y="730567"/>
                    </a:cubicBezTo>
                    <a:cubicBezTo>
                      <a:pt x="0" y="730567"/>
                      <a:pt x="76200" y="502730"/>
                      <a:pt x="142208" y="328708"/>
                    </a:cubicBezTo>
                    <a:cubicBezTo>
                      <a:pt x="208217" y="154686"/>
                      <a:pt x="323850" y="0"/>
                      <a:pt x="323850" y="0"/>
                    </a:cubicBezTo>
                    <a:cubicBezTo>
                      <a:pt x="323850" y="0"/>
                      <a:pt x="389858" y="137922"/>
                      <a:pt x="219551" y="406527"/>
                    </a:cubicBezTo>
                    <a:close/>
                  </a:path>
                </a:pathLst>
              </a:custGeom>
              <a:solidFill>
                <a:srgbClr val="00B0F0"/>
              </a:solidFill>
              <a:ln w="952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432" name="Freeform: Shape 431">
                <a:extLst>
                  <a:ext uri="{FF2B5EF4-FFF2-40B4-BE49-F238E27FC236}">
                    <a16:creationId xmlns:a16="http://schemas.microsoft.com/office/drawing/2014/main" id="{9A2E0312-CE36-48D6-A106-6DCB9CB08397}"/>
                  </a:ext>
                </a:extLst>
              </p:cNvPr>
              <p:cNvSpPr/>
              <p:nvPr/>
            </p:nvSpPr>
            <p:spPr>
              <a:xfrm>
                <a:off x="856399" y="3264944"/>
                <a:ext cx="89120" cy="57434"/>
              </a:xfrm>
              <a:custGeom>
                <a:avLst/>
                <a:gdLst>
                  <a:gd name="connsiteX0" fmla="*/ 238411 w 238410"/>
                  <a:gd name="connsiteY0" fmla="*/ 167926 h 167925"/>
                  <a:gd name="connsiteX1" fmla="*/ 85154 w 238410"/>
                  <a:gd name="connsiteY1" fmla="*/ 134303 h 167925"/>
                  <a:gd name="connsiteX2" fmla="*/ 0 w 238410"/>
                  <a:gd name="connsiteY2" fmla="*/ 0 h 167925"/>
                  <a:gd name="connsiteX3" fmla="*/ 90583 w 238410"/>
                  <a:gd name="connsiteY3" fmla="*/ 40386 h 167925"/>
                  <a:gd name="connsiteX4" fmla="*/ 238411 w 238410"/>
                  <a:gd name="connsiteY4" fmla="*/ 167926 h 167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410" h="167925">
                    <a:moveTo>
                      <a:pt x="238411" y="167926"/>
                    </a:moveTo>
                    <a:cubicBezTo>
                      <a:pt x="238411" y="167926"/>
                      <a:pt x="170212" y="151257"/>
                      <a:pt x="85154" y="134303"/>
                    </a:cubicBezTo>
                    <a:cubicBezTo>
                      <a:pt x="95" y="117348"/>
                      <a:pt x="0" y="0"/>
                      <a:pt x="0" y="0"/>
                    </a:cubicBezTo>
                    <a:cubicBezTo>
                      <a:pt x="0" y="0"/>
                      <a:pt x="42577" y="36386"/>
                      <a:pt x="90583" y="40386"/>
                    </a:cubicBezTo>
                    <a:cubicBezTo>
                      <a:pt x="199454" y="49435"/>
                      <a:pt x="238411" y="167926"/>
                      <a:pt x="238411" y="167926"/>
                    </a:cubicBezTo>
                    <a:close/>
                  </a:path>
                </a:pathLst>
              </a:custGeom>
              <a:solidFill>
                <a:srgbClr val="0070C0"/>
              </a:solidFill>
              <a:ln w="952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433" name="Freeform: Shape 432">
                <a:extLst>
                  <a:ext uri="{FF2B5EF4-FFF2-40B4-BE49-F238E27FC236}">
                    <a16:creationId xmlns:a16="http://schemas.microsoft.com/office/drawing/2014/main" id="{C4899DD9-43DE-4319-8606-8737E5C1E85B}"/>
                  </a:ext>
                </a:extLst>
              </p:cNvPr>
              <p:cNvSpPr/>
              <p:nvPr/>
            </p:nvSpPr>
            <p:spPr>
              <a:xfrm>
                <a:off x="806099" y="3521258"/>
                <a:ext cx="85526" cy="56954"/>
              </a:xfrm>
              <a:custGeom>
                <a:avLst/>
                <a:gdLst>
                  <a:gd name="connsiteX0" fmla="*/ 227620 w 228797"/>
                  <a:gd name="connsiteY0" fmla="*/ 2594 h 166520"/>
                  <a:gd name="connsiteX1" fmla="*/ 88841 w 228797"/>
                  <a:gd name="connsiteY1" fmla="*/ 60410 h 166520"/>
                  <a:gd name="connsiteX2" fmla="*/ 10164 w 228797"/>
                  <a:gd name="connsiteY2" fmla="*/ 163566 h 166520"/>
                  <a:gd name="connsiteX3" fmla="*/ 33977 w 228797"/>
                  <a:gd name="connsiteY3" fmla="*/ 26787 h 166520"/>
                  <a:gd name="connsiteX4" fmla="*/ 227620 w 228797"/>
                  <a:gd name="connsiteY4" fmla="*/ 2594 h 166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797" h="166520">
                    <a:moveTo>
                      <a:pt x="227620" y="2594"/>
                    </a:moveTo>
                    <a:cubicBezTo>
                      <a:pt x="227620" y="2594"/>
                      <a:pt x="151230" y="13643"/>
                      <a:pt x="88841" y="60410"/>
                    </a:cubicBezTo>
                    <a:cubicBezTo>
                      <a:pt x="42549" y="95081"/>
                      <a:pt x="10069" y="183759"/>
                      <a:pt x="10164" y="163566"/>
                    </a:cubicBezTo>
                    <a:cubicBezTo>
                      <a:pt x="10164" y="163566"/>
                      <a:pt x="-24411" y="95081"/>
                      <a:pt x="33977" y="26787"/>
                    </a:cubicBezTo>
                    <a:cubicBezTo>
                      <a:pt x="75411" y="-21790"/>
                      <a:pt x="244479" y="12595"/>
                      <a:pt x="227620" y="2594"/>
                    </a:cubicBezTo>
                    <a:close/>
                  </a:path>
                </a:pathLst>
              </a:custGeom>
              <a:solidFill>
                <a:srgbClr val="0070C0"/>
              </a:solidFill>
              <a:ln w="952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434" name="Freeform: Shape 433">
                <a:extLst>
                  <a:ext uri="{FF2B5EF4-FFF2-40B4-BE49-F238E27FC236}">
                    <a16:creationId xmlns:a16="http://schemas.microsoft.com/office/drawing/2014/main" id="{7A7D2F62-3A94-4E05-B08D-890BDAA98FFE}"/>
                  </a:ext>
                </a:extLst>
              </p:cNvPr>
              <p:cNvSpPr/>
              <p:nvPr/>
            </p:nvSpPr>
            <p:spPr>
              <a:xfrm>
                <a:off x="1308266" y="3549575"/>
                <a:ext cx="118458" cy="59975"/>
              </a:xfrm>
              <a:custGeom>
                <a:avLst/>
                <a:gdLst>
                  <a:gd name="connsiteX0" fmla="*/ 316897 w 316896"/>
                  <a:gd name="connsiteY0" fmla="*/ 0 h 175354"/>
                  <a:gd name="connsiteX1" fmla="*/ 200311 w 316896"/>
                  <a:gd name="connsiteY1" fmla="*/ 91345 h 175354"/>
                  <a:gd name="connsiteX2" fmla="*/ 0 w 316896"/>
                  <a:gd name="connsiteY2" fmla="*/ 175355 h 175354"/>
                  <a:gd name="connsiteX3" fmla="*/ 90488 w 316896"/>
                  <a:gd name="connsiteY3" fmla="*/ 90964 h 175354"/>
                  <a:gd name="connsiteX4" fmla="*/ 316897 w 316896"/>
                  <a:gd name="connsiteY4" fmla="*/ 0 h 175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896" h="175354">
                    <a:moveTo>
                      <a:pt x="316897" y="0"/>
                    </a:moveTo>
                    <a:cubicBezTo>
                      <a:pt x="316897" y="0"/>
                      <a:pt x="257746" y="27908"/>
                      <a:pt x="200311" y="91345"/>
                    </a:cubicBezTo>
                    <a:cubicBezTo>
                      <a:pt x="129635" y="169259"/>
                      <a:pt x="0" y="175355"/>
                      <a:pt x="0" y="175355"/>
                    </a:cubicBezTo>
                    <a:cubicBezTo>
                      <a:pt x="0" y="175355"/>
                      <a:pt x="27718" y="140970"/>
                      <a:pt x="90488" y="90964"/>
                    </a:cubicBezTo>
                    <a:cubicBezTo>
                      <a:pt x="153257" y="40957"/>
                      <a:pt x="316897" y="0"/>
                      <a:pt x="316897" y="0"/>
                    </a:cubicBezTo>
                    <a:close/>
                  </a:path>
                </a:pathLst>
              </a:custGeom>
              <a:solidFill>
                <a:srgbClr val="0070C0"/>
              </a:solidFill>
              <a:ln w="952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435" name="Freeform: Shape 434">
                <a:extLst>
                  <a:ext uri="{FF2B5EF4-FFF2-40B4-BE49-F238E27FC236}">
                    <a16:creationId xmlns:a16="http://schemas.microsoft.com/office/drawing/2014/main" id="{B4F26CA1-AA65-42EF-8B9F-C4C0966C384B}"/>
                  </a:ext>
                </a:extLst>
              </p:cNvPr>
              <p:cNvSpPr/>
              <p:nvPr/>
            </p:nvSpPr>
            <p:spPr>
              <a:xfrm>
                <a:off x="803035" y="3305079"/>
                <a:ext cx="72742" cy="201769"/>
              </a:xfrm>
              <a:custGeom>
                <a:avLst/>
                <a:gdLst>
                  <a:gd name="connsiteX0" fmla="*/ 190476 w 194596"/>
                  <a:gd name="connsiteY0" fmla="*/ 0 h 589929"/>
                  <a:gd name="connsiteX1" fmla="*/ 173140 w 194596"/>
                  <a:gd name="connsiteY1" fmla="*/ 261938 h 589929"/>
                  <a:gd name="connsiteX2" fmla="*/ 93607 w 194596"/>
                  <a:gd name="connsiteY2" fmla="*/ 462915 h 589929"/>
                  <a:gd name="connsiteX3" fmla="*/ 2833 w 194596"/>
                  <a:gd name="connsiteY3" fmla="*/ 586550 h 589929"/>
                  <a:gd name="connsiteX4" fmla="*/ 70937 w 194596"/>
                  <a:gd name="connsiteY4" fmla="*/ 228314 h 589929"/>
                  <a:gd name="connsiteX5" fmla="*/ 190476 w 194596"/>
                  <a:gd name="connsiteY5" fmla="*/ 0 h 589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4596" h="589929">
                    <a:moveTo>
                      <a:pt x="190476" y="0"/>
                    </a:moveTo>
                    <a:cubicBezTo>
                      <a:pt x="190476" y="0"/>
                      <a:pt x="207240" y="94107"/>
                      <a:pt x="173140" y="261938"/>
                    </a:cubicBezTo>
                    <a:cubicBezTo>
                      <a:pt x="158281" y="335280"/>
                      <a:pt x="126087" y="401574"/>
                      <a:pt x="93607" y="462915"/>
                    </a:cubicBezTo>
                    <a:cubicBezTo>
                      <a:pt x="51697" y="542068"/>
                      <a:pt x="9215" y="605504"/>
                      <a:pt x="2833" y="586550"/>
                    </a:cubicBezTo>
                    <a:cubicBezTo>
                      <a:pt x="-8502" y="552926"/>
                      <a:pt x="14168" y="329089"/>
                      <a:pt x="70937" y="228314"/>
                    </a:cubicBezTo>
                    <a:cubicBezTo>
                      <a:pt x="127706" y="127635"/>
                      <a:pt x="190476" y="0"/>
                      <a:pt x="190476" y="0"/>
                    </a:cubicBezTo>
                    <a:close/>
                  </a:path>
                </a:pathLst>
              </a:custGeom>
              <a:solidFill>
                <a:srgbClr val="00B0F0"/>
              </a:solidFill>
              <a:ln w="952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436" name="Freeform: Shape 435">
                <a:extLst>
                  <a:ext uri="{FF2B5EF4-FFF2-40B4-BE49-F238E27FC236}">
                    <a16:creationId xmlns:a16="http://schemas.microsoft.com/office/drawing/2014/main" id="{61E45FF0-7500-43D1-9508-552BF21C81F5}"/>
                  </a:ext>
                </a:extLst>
              </p:cNvPr>
              <p:cNvSpPr/>
              <p:nvPr/>
            </p:nvSpPr>
            <p:spPr>
              <a:xfrm>
                <a:off x="952604" y="3218553"/>
                <a:ext cx="93357" cy="168459"/>
              </a:xfrm>
              <a:custGeom>
                <a:avLst/>
                <a:gdLst>
                  <a:gd name="connsiteX0" fmla="*/ 249746 w 249745"/>
                  <a:gd name="connsiteY0" fmla="*/ 0 h 492537"/>
                  <a:gd name="connsiteX1" fmla="*/ 147542 w 249745"/>
                  <a:gd name="connsiteY1" fmla="*/ 279845 h 492537"/>
                  <a:gd name="connsiteX2" fmla="*/ 0 w 249745"/>
                  <a:gd name="connsiteY2" fmla="*/ 492538 h 492537"/>
                  <a:gd name="connsiteX3" fmla="*/ 124873 w 249745"/>
                  <a:gd name="connsiteY3" fmla="*/ 167926 h 492537"/>
                  <a:gd name="connsiteX4" fmla="*/ 249746 w 249745"/>
                  <a:gd name="connsiteY4" fmla="*/ 0 h 492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745" h="492537">
                    <a:moveTo>
                      <a:pt x="249746" y="0"/>
                    </a:moveTo>
                    <a:cubicBezTo>
                      <a:pt x="249746" y="0"/>
                      <a:pt x="238411" y="145542"/>
                      <a:pt x="147542" y="279845"/>
                    </a:cubicBezTo>
                    <a:cubicBezTo>
                      <a:pt x="56769" y="414147"/>
                      <a:pt x="0" y="492538"/>
                      <a:pt x="0" y="492538"/>
                    </a:cubicBezTo>
                    <a:cubicBezTo>
                      <a:pt x="0" y="492538"/>
                      <a:pt x="68104" y="268605"/>
                      <a:pt x="124873" y="167926"/>
                    </a:cubicBezTo>
                    <a:cubicBezTo>
                      <a:pt x="181642" y="67151"/>
                      <a:pt x="249746" y="0"/>
                      <a:pt x="249746" y="0"/>
                    </a:cubicBezTo>
                    <a:close/>
                  </a:path>
                </a:pathLst>
              </a:custGeom>
              <a:solidFill>
                <a:srgbClr val="0070C0"/>
              </a:solidFill>
              <a:ln w="952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437" name="Freeform: Shape 436">
                <a:extLst>
                  <a:ext uri="{FF2B5EF4-FFF2-40B4-BE49-F238E27FC236}">
                    <a16:creationId xmlns:a16="http://schemas.microsoft.com/office/drawing/2014/main" id="{E2FFF766-9853-4861-9052-7FF3E76324B7}"/>
                  </a:ext>
                </a:extLst>
              </p:cNvPr>
              <p:cNvSpPr/>
              <p:nvPr/>
            </p:nvSpPr>
            <p:spPr>
              <a:xfrm>
                <a:off x="1321475" y="3565799"/>
                <a:ext cx="89903" cy="64504"/>
              </a:xfrm>
              <a:custGeom>
                <a:avLst/>
                <a:gdLst>
                  <a:gd name="connsiteX0" fmla="*/ 240506 w 240506"/>
                  <a:gd name="connsiteY0" fmla="*/ 0 h 188595"/>
                  <a:gd name="connsiteX1" fmla="*/ 141827 w 240506"/>
                  <a:gd name="connsiteY1" fmla="*/ 133826 h 188595"/>
                  <a:gd name="connsiteX2" fmla="*/ 0 w 240506"/>
                  <a:gd name="connsiteY2" fmla="*/ 188595 h 188595"/>
                  <a:gd name="connsiteX3" fmla="*/ 141827 w 240506"/>
                  <a:gd name="connsiteY3" fmla="*/ 73057 h 188595"/>
                  <a:gd name="connsiteX4" fmla="*/ 240506 w 240506"/>
                  <a:gd name="connsiteY4" fmla="*/ 0 h 1885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506" h="188595">
                    <a:moveTo>
                      <a:pt x="240506" y="0"/>
                    </a:moveTo>
                    <a:cubicBezTo>
                      <a:pt x="240506" y="0"/>
                      <a:pt x="197358" y="103442"/>
                      <a:pt x="141827" y="133826"/>
                    </a:cubicBezTo>
                    <a:cubicBezTo>
                      <a:pt x="86296" y="164211"/>
                      <a:pt x="0" y="188595"/>
                      <a:pt x="0" y="188595"/>
                    </a:cubicBezTo>
                    <a:cubicBezTo>
                      <a:pt x="0" y="188595"/>
                      <a:pt x="92488" y="127730"/>
                      <a:pt x="141827" y="73057"/>
                    </a:cubicBezTo>
                    <a:cubicBezTo>
                      <a:pt x="191167" y="18193"/>
                      <a:pt x="240506" y="0"/>
                      <a:pt x="240506" y="0"/>
                    </a:cubicBezTo>
                    <a:close/>
                  </a:path>
                </a:pathLst>
              </a:custGeom>
              <a:solidFill>
                <a:srgbClr val="00B0F0"/>
              </a:solidFill>
              <a:ln w="952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438" name="Freeform: Shape 437">
                <a:extLst>
                  <a:ext uri="{FF2B5EF4-FFF2-40B4-BE49-F238E27FC236}">
                    <a16:creationId xmlns:a16="http://schemas.microsoft.com/office/drawing/2014/main" id="{5ACEA6A3-37DD-40E3-A0F2-FB29AADC7836}"/>
                  </a:ext>
                </a:extLst>
              </p:cNvPr>
              <p:cNvSpPr/>
              <p:nvPr/>
            </p:nvSpPr>
            <p:spPr>
              <a:xfrm>
                <a:off x="831154" y="3513385"/>
                <a:ext cx="146587" cy="43324"/>
              </a:xfrm>
              <a:custGeom>
                <a:avLst/>
                <a:gdLst>
                  <a:gd name="connsiteX0" fmla="*/ 136684 w 392144"/>
                  <a:gd name="connsiteY0" fmla="*/ 55901 h 126671"/>
                  <a:gd name="connsiteX1" fmla="*/ 0 w 392144"/>
                  <a:gd name="connsiteY1" fmla="*/ 126671 h 126671"/>
                  <a:gd name="connsiteX2" fmla="*/ 143161 w 392144"/>
                  <a:gd name="connsiteY2" fmla="*/ 3990 h 126671"/>
                  <a:gd name="connsiteX3" fmla="*/ 392144 w 392144"/>
                  <a:gd name="connsiteY3" fmla="*/ 88381 h 126671"/>
                  <a:gd name="connsiteX4" fmla="*/ 136684 w 392144"/>
                  <a:gd name="connsiteY4" fmla="*/ 55901 h 1266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2144" h="126671">
                    <a:moveTo>
                      <a:pt x="136684" y="55901"/>
                    </a:moveTo>
                    <a:cubicBezTo>
                      <a:pt x="44291" y="73712"/>
                      <a:pt x="0" y="126671"/>
                      <a:pt x="0" y="126671"/>
                    </a:cubicBezTo>
                    <a:cubicBezTo>
                      <a:pt x="0" y="126671"/>
                      <a:pt x="65151" y="30183"/>
                      <a:pt x="143161" y="3990"/>
                    </a:cubicBezTo>
                    <a:cubicBezTo>
                      <a:pt x="221075" y="-22109"/>
                      <a:pt x="392144" y="88381"/>
                      <a:pt x="392144" y="88381"/>
                    </a:cubicBezTo>
                    <a:cubicBezTo>
                      <a:pt x="392144" y="88381"/>
                      <a:pt x="265843" y="31041"/>
                      <a:pt x="136684" y="55901"/>
                    </a:cubicBezTo>
                    <a:close/>
                  </a:path>
                </a:pathLst>
              </a:custGeom>
              <a:solidFill>
                <a:srgbClr val="0962AB"/>
              </a:solidFill>
              <a:ln w="952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439" name="Freeform: Shape 438">
                <a:extLst>
                  <a:ext uri="{FF2B5EF4-FFF2-40B4-BE49-F238E27FC236}">
                    <a16:creationId xmlns:a16="http://schemas.microsoft.com/office/drawing/2014/main" id="{247DA03D-C1D6-4A58-A9BB-489D04FF0B83}"/>
                  </a:ext>
                </a:extLst>
              </p:cNvPr>
              <p:cNvSpPr/>
              <p:nvPr/>
            </p:nvSpPr>
            <p:spPr>
              <a:xfrm>
                <a:off x="1262370" y="3639718"/>
                <a:ext cx="89120" cy="80401"/>
              </a:xfrm>
              <a:custGeom>
                <a:avLst/>
                <a:gdLst>
                  <a:gd name="connsiteX0" fmla="*/ 0 w 238410"/>
                  <a:gd name="connsiteY0" fmla="*/ 0 h 235076"/>
                  <a:gd name="connsiteX1" fmla="*/ 155257 w 238410"/>
                  <a:gd name="connsiteY1" fmla="*/ 102584 h 235076"/>
                  <a:gd name="connsiteX2" fmla="*/ 238411 w 238410"/>
                  <a:gd name="connsiteY2" fmla="*/ 235077 h 235076"/>
                  <a:gd name="connsiteX3" fmla="*/ 79438 w 238410"/>
                  <a:gd name="connsiteY3" fmla="*/ 100775 h 235076"/>
                  <a:gd name="connsiteX4" fmla="*/ 0 w 238410"/>
                  <a:gd name="connsiteY4" fmla="*/ 0 h 2350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410" h="235076">
                    <a:moveTo>
                      <a:pt x="0" y="0"/>
                    </a:moveTo>
                    <a:cubicBezTo>
                      <a:pt x="0" y="0"/>
                      <a:pt x="83534" y="3715"/>
                      <a:pt x="155257" y="102584"/>
                    </a:cubicBezTo>
                    <a:cubicBezTo>
                      <a:pt x="227076" y="201454"/>
                      <a:pt x="238411" y="235077"/>
                      <a:pt x="238411" y="235077"/>
                    </a:cubicBezTo>
                    <a:cubicBezTo>
                      <a:pt x="238411" y="235077"/>
                      <a:pt x="124873" y="134303"/>
                      <a:pt x="79438" y="100775"/>
                    </a:cubicBezTo>
                    <a:cubicBezTo>
                      <a:pt x="34099" y="67151"/>
                      <a:pt x="0" y="0"/>
                      <a:pt x="0" y="0"/>
                    </a:cubicBezTo>
                    <a:close/>
                  </a:path>
                </a:pathLst>
              </a:custGeom>
              <a:solidFill>
                <a:srgbClr val="0070C0"/>
              </a:solidFill>
              <a:ln w="952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440" name="Freeform: Shape 439">
                <a:extLst>
                  <a:ext uri="{FF2B5EF4-FFF2-40B4-BE49-F238E27FC236}">
                    <a16:creationId xmlns:a16="http://schemas.microsoft.com/office/drawing/2014/main" id="{D4DDDBE7-7711-4F09-B27F-F0143F4A7C72}"/>
                  </a:ext>
                </a:extLst>
              </p:cNvPr>
              <p:cNvSpPr/>
              <p:nvPr/>
            </p:nvSpPr>
            <p:spPr>
              <a:xfrm>
                <a:off x="1221215" y="3374893"/>
                <a:ext cx="216167" cy="164416"/>
              </a:xfrm>
              <a:custGeom>
                <a:avLst/>
                <a:gdLst>
                  <a:gd name="connsiteX0" fmla="*/ 5038 w 578283"/>
                  <a:gd name="connsiteY0" fmla="*/ 102584 h 480716"/>
                  <a:gd name="connsiteX1" fmla="*/ 5038 w 578283"/>
                  <a:gd name="connsiteY1" fmla="*/ 248126 h 480716"/>
                  <a:gd name="connsiteX2" fmla="*/ 5038 w 578283"/>
                  <a:gd name="connsiteY2" fmla="*/ 460820 h 480716"/>
                  <a:gd name="connsiteX3" fmla="*/ 356891 w 578283"/>
                  <a:gd name="connsiteY3" fmla="*/ 460820 h 480716"/>
                  <a:gd name="connsiteX4" fmla="*/ 575680 w 578283"/>
                  <a:gd name="connsiteY4" fmla="*/ 350615 h 480716"/>
                  <a:gd name="connsiteX5" fmla="*/ 561202 w 578283"/>
                  <a:gd name="connsiteY5" fmla="*/ 147352 h 480716"/>
                  <a:gd name="connsiteX6" fmla="*/ 536628 w 578283"/>
                  <a:gd name="connsiteY6" fmla="*/ 0 h 480716"/>
                  <a:gd name="connsiteX7" fmla="*/ 254783 w 578283"/>
                  <a:gd name="connsiteY7" fmla="*/ 91440 h 480716"/>
                  <a:gd name="connsiteX8" fmla="*/ 5038 w 578283"/>
                  <a:gd name="connsiteY8" fmla="*/ 102584 h 480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8283" h="480716">
                    <a:moveTo>
                      <a:pt x="5038" y="102584"/>
                    </a:moveTo>
                    <a:cubicBezTo>
                      <a:pt x="5038" y="102584"/>
                      <a:pt x="-6297" y="169736"/>
                      <a:pt x="5038" y="248126"/>
                    </a:cubicBezTo>
                    <a:cubicBezTo>
                      <a:pt x="16372" y="326517"/>
                      <a:pt x="5038" y="460820"/>
                      <a:pt x="5038" y="460820"/>
                    </a:cubicBezTo>
                    <a:cubicBezTo>
                      <a:pt x="5038" y="460820"/>
                      <a:pt x="209349" y="505587"/>
                      <a:pt x="356891" y="460820"/>
                    </a:cubicBezTo>
                    <a:cubicBezTo>
                      <a:pt x="504433" y="416052"/>
                      <a:pt x="557869" y="419957"/>
                      <a:pt x="575680" y="350615"/>
                    </a:cubicBezTo>
                    <a:cubicBezTo>
                      <a:pt x="586253" y="309086"/>
                      <a:pt x="561202" y="203359"/>
                      <a:pt x="561202" y="147352"/>
                    </a:cubicBezTo>
                    <a:cubicBezTo>
                      <a:pt x="561202" y="91345"/>
                      <a:pt x="536628" y="0"/>
                      <a:pt x="536628" y="0"/>
                    </a:cubicBezTo>
                    <a:cubicBezTo>
                      <a:pt x="536628" y="0"/>
                      <a:pt x="379561" y="80201"/>
                      <a:pt x="254783" y="91440"/>
                    </a:cubicBezTo>
                    <a:cubicBezTo>
                      <a:pt x="129815" y="102584"/>
                      <a:pt x="5038" y="102584"/>
                      <a:pt x="5038" y="102584"/>
                    </a:cubicBezTo>
                    <a:close/>
                  </a:path>
                </a:pathLst>
              </a:custGeom>
              <a:solidFill>
                <a:srgbClr val="00B0F0"/>
              </a:solidFill>
              <a:ln w="952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441" name="Freeform: Shape 440">
                <a:extLst>
                  <a:ext uri="{FF2B5EF4-FFF2-40B4-BE49-F238E27FC236}">
                    <a16:creationId xmlns:a16="http://schemas.microsoft.com/office/drawing/2014/main" id="{39C8F8B0-1BEB-4DCA-B56C-6CC6C817D0B3}"/>
                  </a:ext>
                </a:extLst>
              </p:cNvPr>
              <p:cNvSpPr/>
              <p:nvPr/>
            </p:nvSpPr>
            <p:spPr>
              <a:xfrm>
                <a:off x="960305" y="3539535"/>
                <a:ext cx="186384" cy="192622"/>
              </a:xfrm>
              <a:custGeom>
                <a:avLst/>
                <a:gdLst>
                  <a:gd name="connsiteX0" fmla="*/ 498608 w 498607"/>
                  <a:gd name="connsiteY0" fmla="*/ 68982 h 563183"/>
                  <a:gd name="connsiteX1" fmla="*/ 387737 w 498607"/>
                  <a:gd name="connsiteY1" fmla="*/ 188806 h 563183"/>
                  <a:gd name="connsiteX2" fmla="*/ 419169 w 498607"/>
                  <a:gd name="connsiteY2" fmla="*/ 516752 h 563183"/>
                  <a:gd name="connsiteX3" fmla="*/ 362115 w 498607"/>
                  <a:gd name="connsiteY3" fmla="*/ 548089 h 563183"/>
                  <a:gd name="connsiteX4" fmla="*/ 295630 w 498607"/>
                  <a:gd name="connsiteY4" fmla="*/ 533611 h 563183"/>
                  <a:gd name="connsiteX5" fmla="*/ 223812 w 498607"/>
                  <a:gd name="connsiteY5" fmla="*/ 553042 h 563183"/>
                  <a:gd name="connsiteX6" fmla="*/ 44551 w 498607"/>
                  <a:gd name="connsiteY6" fmla="*/ 561520 h 563183"/>
                  <a:gd name="connsiteX7" fmla="*/ 9404 w 498607"/>
                  <a:gd name="connsiteY7" fmla="*/ 245004 h 563183"/>
                  <a:gd name="connsiteX8" fmla="*/ 157518 w 498607"/>
                  <a:gd name="connsiteY8" fmla="*/ 4878 h 563183"/>
                  <a:gd name="connsiteX9" fmla="*/ 209143 w 498607"/>
                  <a:gd name="connsiteY9" fmla="*/ 16975 h 563183"/>
                  <a:gd name="connsiteX10" fmla="*/ 308298 w 498607"/>
                  <a:gd name="connsiteY10" fmla="*/ 31644 h 563183"/>
                  <a:gd name="connsiteX11" fmla="*/ 370878 w 498607"/>
                  <a:gd name="connsiteY11" fmla="*/ 24881 h 563183"/>
                  <a:gd name="connsiteX12" fmla="*/ 498608 w 498607"/>
                  <a:gd name="connsiteY12" fmla="*/ 68982 h 563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8607" h="563183">
                    <a:moveTo>
                      <a:pt x="498608" y="68982"/>
                    </a:moveTo>
                    <a:cubicBezTo>
                      <a:pt x="498608" y="68982"/>
                      <a:pt x="399072" y="43264"/>
                      <a:pt x="387737" y="188806"/>
                    </a:cubicBezTo>
                    <a:cubicBezTo>
                      <a:pt x="376402" y="334348"/>
                      <a:pt x="419169" y="516752"/>
                      <a:pt x="419169" y="516752"/>
                    </a:cubicBezTo>
                    <a:cubicBezTo>
                      <a:pt x="419169" y="516752"/>
                      <a:pt x="397452" y="542088"/>
                      <a:pt x="362115" y="548089"/>
                    </a:cubicBezTo>
                    <a:cubicBezTo>
                      <a:pt x="349161" y="550280"/>
                      <a:pt x="311727" y="530563"/>
                      <a:pt x="295630" y="533611"/>
                    </a:cubicBezTo>
                    <a:cubicBezTo>
                      <a:pt x="271437" y="538183"/>
                      <a:pt x="253053" y="546470"/>
                      <a:pt x="223812" y="553042"/>
                    </a:cubicBezTo>
                    <a:cubicBezTo>
                      <a:pt x="153803" y="568758"/>
                      <a:pt x="44551" y="561520"/>
                      <a:pt x="44551" y="561520"/>
                    </a:cubicBezTo>
                    <a:cubicBezTo>
                      <a:pt x="44551" y="561520"/>
                      <a:pt x="-24600" y="457697"/>
                      <a:pt x="9404" y="245004"/>
                    </a:cubicBezTo>
                    <a:cubicBezTo>
                      <a:pt x="43503" y="32311"/>
                      <a:pt x="81794" y="-17410"/>
                      <a:pt x="157518" y="4878"/>
                    </a:cubicBezTo>
                    <a:cubicBezTo>
                      <a:pt x="175615" y="10212"/>
                      <a:pt x="152279" y="12784"/>
                      <a:pt x="209143" y="16975"/>
                    </a:cubicBezTo>
                    <a:cubicBezTo>
                      <a:pt x="222859" y="18023"/>
                      <a:pt x="273056" y="32596"/>
                      <a:pt x="308298" y="31644"/>
                    </a:cubicBezTo>
                    <a:cubicBezTo>
                      <a:pt x="329634" y="31072"/>
                      <a:pt x="357543" y="24214"/>
                      <a:pt x="370878" y="24881"/>
                    </a:cubicBezTo>
                    <a:cubicBezTo>
                      <a:pt x="484035" y="30977"/>
                      <a:pt x="498608" y="68982"/>
                      <a:pt x="498608" y="68982"/>
                    </a:cubicBezTo>
                    <a:close/>
                  </a:path>
                </a:pathLst>
              </a:custGeom>
              <a:solidFill>
                <a:srgbClr val="00B0F0"/>
              </a:solidFill>
              <a:ln w="952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442" name="Freeform: Shape 441">
                <a:extLst>
                  <a:ext uri="{FF2B5EF4-FFF2-40B4-BE49-F238E27FC236}">
                    <a16:creationId xmlns:a16="http://schemas.microsoft.com/office/drawing/2014/main" id="{FF4A9B0B-D3CA-4C0E-9064-0E4375412A34}"/>
                  </a:ext>
                </a:extLst>
              </p:cNvPr>
              <p:cNvSpPr/>
              <p:nvPr/>
            </p:nvSpPr>
            <p:spPr>
              <a:xfrm>
                <a:off x="1220819" y="3410502"/>
                <a:ext cx="34804" cy="65205"/>
              </a:xfrm>
              <a:custGeom>
                <a:avLst/>
                <a:gdLst>
                  <a:gd name="connsiteX0" fmla="*/ 42291 w 93106"/>
                  <a:gd name="connsiteY0" fmla="*/ 76105 h 190645"/>
                  <a:gd name="connsiteX1" fmla="*/ 90869 w 93106"/>
                  <a:gd name="connsiteY1" fmla="*/ 134302 h 190645"/>
                  <a:gd name="connsiteX2" fmla="*/ 56769 w 93106"/>
                  <a:gd name="connsiteY2" fmla="*/ 190309 h 190645"/>
                  <a:gd name="connsiteX3" fmla="*/ 8191 w 93106"/>
                  <a:gd name="connsiteY3" fmla="*/ 98012 h 190645"/>
                  <a:gd name="connsiteX4" fmla="*/ 0 w 93106"/>
                  <a:gd name="connsiteY4" fmla="*/ 0 h 190645"/>
                  <a:gd name="connsiteX5" fmla="*/ 42291 w 93106"/>
                  <a:gd name="connsiteY5" fmla="*/ 76105 h 190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106" h="190645">
                    <a:moveTo>
                      <a:pt x="42291" y="76105"/>
                    </a:moveTo>
                    <a:cubicBezTo>
                      <a:pt x="62103" y="106871"/>
                      <a:pt x="83439" y="116967"/>
                      <a:pt x="90869" y="134302"/>
                    </a:cubicBezTo>
                    <a:cubicBezTo>
                      <a:pt x="97345" y="149352"/>
                      <a:pt x="90869" y="179070"/>
                      <a:pt x="56769" y="190309"/>
                    </a:cubicBezTo>
                    <a:cubicBezTo>
                      <a:pt x="39719" y="195929"/>
                      <a:pt x="12764" y="129730"/>
                      <a:pt x="8191" y="98012"/>
                    </a:cubicBezTo>
                    <a:cubicBezTo>
                      <a:pt x="2286" y="57626"/>
                      <a:pt x="0" y="0"/>
                      <a:pt x="0" y="0"/>
                    </a:cubicBezTo>
                    <a:cubicBezTo>
                      <a:pt x="0" y="0"/>
                      <a:pt x="11430" y="28384"/>
                      <a:pt x="42291" y="76105"/>
                    </a:cubicBezTo>
                    <a:close/>
                  </a:path>
                </a:pathLst>
              </a:custGeom>
              <a:solidFill>
                <a:srgbClr val="0070C0"/>
              </a:solidFill>
              <a:ln w="952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443" name="Freeform: Shape 442">
                <a:extLst>
                  <a:ext uri="{FF2B5EF4-FFF2-40B4-BE49-F238E27FC236}">
                    <a16:creationId xmlns:a16="http://schemas.microsoft.com/office/drawing/2014/main" id="{1E7C82C7-E6AE-4B59-8E0E-7073B25A71F5}"/>
                  </a:ext>
                </a:extLst>
              </p:cNvPr>
              <p:cNvSpPr/>
              <p:nvPr/>
            </p:nvSpPr>
            <p:spPr>
              <a:xfrm>
                <a:off x="1102075" y="3557225"/>
                <a:ext cx="44613" cy="127483"/>
              </a:xfrm>
              <a:custGeom>
                <a:avLst/>
                <a:gdLst>
                  <a:gd name="connsiteX0" fmla="*/ 119348 w 119348"/>
                  <a:gd name="connsiteY0" fmla="*/ 17260 h 372732"/>
                  <a:gd name="connsiteX1" fmla="*/ 39910 w 119348"/>
                  <a:gd name="connsiteY1" fmla="*/ 118035 h 372732"/>
                  <a:gd name="connsiteX2" fmla="*/ 23241 w 119348"/>
                  <a:gd name="connsiteY2" fmla="*/ 239097 h 372732"/>
                  <a:gd name="connsiteX3" fmla="*/ 22479 w 119348"/>
                  <a:gd name="connsiteY3" fmla="*/ 372733 h 372732"/>
                  <a:gd name="connsiteX4" fmla="*/ 1238 w 119348"/>
                  <a:gd name="connsiteY4" fmla="*/ 235668 h 372732"/>
                  <a:gd name="connsiteX5" fmla="*/ 28480 w 119348"/>
                  <a:gd name="connsiteY5" fmla="*/ 50788 h 372732"/>
                  <a:gd name="connsiteX6" fmla="*/ 119348 w 119348"/>
                  <a:gd name="connsiteY6" fmla="*/ 17260 h 372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9348" h="372732">
                    <a:moveTo>
                      <a:pt x="119348" y="17260"/>
                    </a:moveTo>
                    <a:cubicBezTo>
                      <a:pt x="119348" y="17260"/>
                      <a:pt x="62579" y="6020"/>
                      <a:pt x="39910" y="118035"/>
                    </a:cubicBezTo>
                    <a:cubicBezTo>
                      <a:pt x="31813" y="157944"/>
                      <a:pt x="26670" y="200616"/>
                      <a:pt x="23241" y="239097"/>
                    </a:cubicBezTo>
                    <a:cubicBezTo>
                      <a:pt x="17145" y="308630"/>
                      <a:pt x="22479" y="372733"/>
                      <a:pt x="22479" y="372733"/>
                    </a:cubicBezTo>
                    <a:cubicBezTo>
                      <a:pt x="22479" y="372733"/>
                      <a:pt x="5239" y="305296"/>
                      <a:pt x="1238" y="235668"/>
                    </a:cubicBezTo>
                    <a:cubicBezTo>
                      <a:pt x="-2477" y="169755"/>
                      <a:pt x="952" y="94412"/>
                      <a:pt x="28480" y="50788"/>
                    </a:cubicBezTo>
                    <a:cubicBezTo>
                      <a:pt x="85344" y="-38652"/>
                      <a:pt x="119348" y="17260"/>
                      <a:pt x="119348" y="17260"/>
                    </a:cubicBezTo>
                    <a:close/>
                  </a:path>
                </a:pathLst>
              </a:custGeom>
              <a:solidFill>
                <a:srgbClr val="0962AB"/>
              </a:solidFill>
              <a:ln w="952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444" name="Freeform: Shape 443">
                <a:extLst>
                  <a:ext uri="{FF2B5EF4-FFF2-40B4-BE49-F238E27FC236}">
                    <a16:creationId xmlns:a16="http://schemas.microsoft.com/office/drawing/2014/main" id="{FCFCDD22-4E50-4C99-8919-3AEF8249DC01}"/>
                  </a:ext>
                </a:extLst>
              </p:cNvPr>
              <p:cNvSpPr/>
              <p:nvPr/>
            </p:nvSpPr>
            <p:spPr>
              <a:xfrm>
                <a:off x="1045540" y="3665260"/>
                <a:ext cx="50126" cy="62381"/>
              </a:xfrm>
              <a:custGeom>
                <a:avLst/>
                <a:gdLst>
                  <a:gd name="connsiteX0" fmla="*/ 4650 w 134094"/>
                  <a:gd name="connsiteY0" fmla="*/ 0 h 182387"/>
                  <a:gd name="connsiteX1" fmla="*/ 20937 w 134094"/>
                  <a:gd name="connsiteY1" fmla="*/ 149162 h 182387"/>
                  <a:gd name="connsiteX2" fmla="*/ 134094 w 134094"/>
                  <a:gd name="connsiteY2" fmla="*/ 180499 h 182387"/>
                  <a:gd name="connsiteX3" fmla="*/ 43607 w 134094"/>
                  <a:gd name="connsiteY3" fmla="*/ 115538 h 182387"/>
                  <a:gd name="connsiteX4" fmla="*/ 4650 w 134094"/>
                  <a:gd name="connsiteY4" fmla="*/ 0 h 182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094" h="182387">
                    <a:moveTo>
                      <a:pt x="4650" y="0"/>
                    </a:moveTo>
                    <a:cubicBezTo>
                      <a:pt x="4650" y="0"/>
                      <a:pt x="-13162" y="104394"/>
                      <a:pt x="20937" y="149162"/>
                    </a:cubicBezTo>
                    <a:cubicBezTo>
                      <a:pt x="54942" y="193929"/>
                      <a:pt x="134094" y="180499"/>
                      <a:pt x="134094" y="180499"/>
                    </a:cubicBezTo>
                    <a:cubicBezTo>
                      <a:pt x="134094" y="180499"/>
                      <a:pt x="60085" y="137827"/>
                      <a:pt x="43607" y="115538"/>
                    </a:cubicBezTo>
                    <a:cubicBezTo>
                      <a:pt x="25414" y="91059"/>
                      <a:pt x="4650" y="0"/>
                      <a:pt x="4650" y="0"/>
                    </a:cubicBezTo>
                    <a:close/>
                  </a:path>
                </a:pathLst>
              </a:custGeom>
              <a:solidFill>
                <a:srgbClr val="0070C0"/>
              </a:solidFill>
              <a:ln w="952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445" name="Freeform: Shape 444">
                <a:extLst>
                  <a:ext uri="{FF2B5EF4-FFF2-40B4-BE49-F238E27FC236}">
                    <a16:creationId xmlns:a16="http://schemas.microsoft.com/office/drawing/2014/main" id="{99A78B03-1AD1-4570-996C-47706DEB0EF1}"/>
                  </a:ext>
                </a:extLst>
              </p:cNvPr>
              <p:cNvSpPr/>
              <p:nvPr/>
            </p:nvSpPr>
            <p:spPr>
              <a:xfrm>
                <a:off x="1252792" y="3398513"/>
                <a:ext cx="173967" cy="39987"/>
              </a:xfrm>
              <a:custGeom>
                <a:avLst/>
                <a:gdLst>
                  <a:gd name="connsiteX0" fmla="*/ 0 w 465391"/>
                  <a:gd name="connsiteY0" fmla="*/ 111919 h 116914"/>
                  <a:gd name="connsiteX1" fmla="*/ 204311 w 465391"/>
                  <a:gd name="connsiteY1" fmla="*/ 111919 h 116914"/>
                  <a:gd name="connsiteX2" fmla="*/ 465392 w 465391"/>
                  <a:gd name="connsiteY2" fmla="*/ 0 h 116914"/>
                  <a:gd name="connsiteX3" fmla="*/ 136208 w 465391"/>
                  <a:gd name="connsiteY3" fmla="*/ 67151 h 116914"/>
                  <a:gd name="connsiteX4" fmla="*/ 0 w 465391"/>
                  <a:gd name="connsiteY4" fmla="*/ 111919 h 1169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5391" h="116914">
                    <a:moveTo>
                      <a:pt x="0" y="111919"/>
                    </a:moveTo>
                    <a:cubicBezTo>
                      <a:pt x="0" y="111919"/>
                      <a:pt x="124873" y="123158"/>
                      <a:pt x="204311" y="111919"/>
                    </a:cubicBezTo>
                    <a:cubicBezTo>
                      <a:pt x="283750" y="100775"/>
                      <a:pt x="465392" y="0"/>
                      <a:pt x="465392" y="0"/>
                    </a:cubicBezTo>
                    <a:cubicBezTo>
                      <a:pt x="465392" y="0"/>
                      <a:pt x="245173" y="25432"/>
                      <a:pt x="136208" y="67151"/>
                    </a:cubicBezTo>
                    <a:cubicBezTo>
                      <a:pt x="27242" y="108871"/>
                      <a:pt x="0" y="111919"/>
                      <a:pt x="0" y="111919"/>
                    </a:cubicBezTo>
                    <a:close/>
                  </a:path>
                </a:pathLst>
              </a:custGeom>
              <a:solidFill>
                <a:srgbClr val="0070C0"/>
              </a:solidFill>
              <a:ln w="952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446" name="Freeform: Shape 445">
                <a:extLst>
                  <a:ext uri="{FF2B5EF4-FFF2-40B4-BE49-F238E27FC236}">
                    <a16:creationId xmlns:a16="http://schemas.microsoft.com/office/drawing/2014/main" id="{8AAE0116-7A78-4EE3-8A7F-752F47142421}"/>
                  </a:ext>
                </a:extLst>
              </p:cNvPr>
              <p:cNvSpPr/>
              <p:nvPr/>
            </p:nvSpPr>
            <p:spPr>
              <a:xfrm>
                <a:off x="1051209" y="3555473"/>
                <a:ext cx="44564" cy="109759"/>
              </a:xfrm>
              <a:custGeom>
                <a:avLst/>
                <a:gdLst>
                  <a:gd name="connsiteX0" fmla="*/ 119217 w 119216"/>
                  <a:gd name="connsiteY0" fmla="*/ 0 h 320912"/>
                  <a:gd name="connsiteX1" fmla="*/ 51113 w 119216"/>
                  <a:gd name="connsiteY1" fmla="*/ 179070 h 320912"/>
                  <a:gd name="connsiteX2" fmla="*/ 28444 w 119216"/>
                  <a:gd name="connsiteY2" fmla="*/ 302228 h 320912"/>
                  <a:gd name="connsiteX3" fmla="*/ 5774 w 119216"/>
                  <a:gd name="connsiteY3" fmla="*/ 89535 h 320912"/>
                  <a:gd name="connsiteX4" fmla="*/ 119217 w 119216"/>
                  <a:gd name="connsiteY4" fmla="*/ 0 h 3209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216" h="320912">
                    <a:moveTo>
                      <a:pt x="119217" y="0"/>
                    </a:moveTo>
                    <a:cubicBezTo>
                      <a:pt x="119217" y="0"/>
                      <a:pt x="51113" y="44767"/>
                      <a:pt x="51113" y="179070"/>
                    </a:cubicBezTo>
                    <a:cubicBezTo>
                      <a:pt x="51113" y="313372"/>
                      <a:pt x="62448" y="346996"/>
                      <a:pt x="28444" y="302228"/>
                    </a:cubicBezTo>
                    <a:cubicBezTo>
                      <a:pt x="-12800" y="248031"/>
                      <a:pt x="1774" y="117157"/>
                      <a:pt x="5774" y="89535"/>
                    </a:cubicBezTo>
                    <a:cubicBezTo>
                      <a:pt x="16823" y="11716"/>
                      <a:pt x="119217" y="0"/>
                      <a:pt x="119217" y="0"/>
                    </a:cubicBezTo>
                    <a:close/>
                  </a:path>
                </a:pathLst>
              </a:custGeom>
              <a:solidFill>
                <a:srgbClr val="0070C0"/>
              </a:solidFill>
              <a:ln w="952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447" name="Freeform: Shape 446">
                <a:extLst>
                  <a:ext uri="{FF2B5EF4-FFF2-40B4-BE49-F238E27FC236}">
                    <a16:creationId xmlns:a16="http://schemas.microsoft.com/office/drawing/2014/main" id="{EF67B07C-DB04-49F9-8BA6-27148B934452}"/>
                  </a:ext>
                </a:extLst>
              </p:cNvPr>
              <p:cNvSpPr/>
              <p:nvPr/>
            </p:nvSpPr>
            <p:spPr>
              <a:xfrm>
                <a:off x="1220213" y="3395938"/>
                <a:ext cx="37101" cy="14747"/>
              </a:xfrm>
              <a:custGeom>
                <a:avLst/>
                <a:gdLst>
                  <a:gd name="connsiteX0" fmla="*/ 0 w 99250"/>
                  <a:gd name="connsiteY0" fmla="*/ 39343 h 43117"/>
                  <a:gd name="connsiteX1" fmla="*/ 45244 w 99250"/>
                  <a:gd name="connsiteY1" fmla="*/ 12959 h 43117"/>
                  <a:gd name="connsiteX2" fmla="*/ 99250 w 99250"/>
                  <a:gd name="connsiteY2" fmla="*/ 5 h 43117"/>
                  <a:gd name="connsiteX3" fmla="*/ 96202 w 99250"/>
                  <a:gd name="connsiteY3" fmla="*/ 38581 h 43117"/>
                  <a:gd name="connsiteX4" fmla="*/ 54769 w 99250"/>
                  <a:gd name="connsiteY4" fmla="*/ 43058 h 43117"/>
                  <a:gd name="connsiteX5" fmla="*/ 0 w 99250"/>
                  <a:gd name="connsiteY5" fmla="*/ 39343 h 43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250" h="43117">
                    <a:moveTo>
                      <a:pt x="0" y="39343"/>
                    </a:moveTo>
                    <a:cubicBezTo>
                      <a:pt x="0" y="39343"/>
                      <a:pt x="20098" y="22484"/>
                      <a:pt x="45244" y="12959"/>
                    </a:cubicBezTo>
                    <a:cubicBezTo>
                      <a:pt x="81058" y="-662"/>
                      <a:pt x="99250" y="5"/>
                      <a:pt x="99250" y="5"/>
                    </a:cubicBezTo>
                    <a:lnTo>
                      <a:pt x="96202" y="38581"/>
                    </a:lnTo>
                    <a:cubicBezTo>
                      <a:pt x="96202" y="38581"/>
                      <a:pt x="80962" y="43725"/>
                      <a:pt x="54769" y="43058"/>
                    </a:cubicBezTo>
                    <a:cubicBezTo>
                      <a:pt x="21622" y="42201"/>
                      <a:pt x="0" y="39343"/>
                      <a:pt x="0" y="39343"/>
                    </a:cubicBezTo>
                    <a:close/>
                  </a:path>
                </a:pathLst>
              </a:custGeom>
              <a:solidFill>
                <a:srgbClr val="0962AB"/>
              </a:solidFill>
              <a:ln w="952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448" name="Freeform: Shape 447">
                <a:extLst>
                  <a:ext uri="{FF2B5EF4-FFF2-40B4-BE49-F238E27FC236}">
                    <a16:creationId xmlns:a16="http://schemas.microsoft.com/office/drawing/2014/main" id="{CB89DCC3-692E-4D27-A0EA-A16F7FB99151}"/>
                  </a:ext>
                </a:extLst>
              </p:cNvPr>
              <p:cNvSpPr/>
              <p:nvPr/>
            </p:nvSpPr>
            <p:spPr>
              <a:xfrm>
                <a:off x="1222808" y="3460215"/>
                <a:ext cx="60530" cy="72290"/>
              </a:xfrm>
              <a:custGeom>
                <a:avLst/>
                <a:gdLst>
                  <a:gd name="connsiteX0" fmla="*/ 143555 w 161927"/>
                  <a:gd name="connsiteY0" fmla="*/ 0 h 211359"/>
                  <a:gd name="connsiteX1" fmla="*/ 126505 w 161927"/>
                  <a:gd name="connsiteY1" fmla="*/ 83915 h 211359"/>
                  <a:gd name="connsiteX2" fmla="*/ 680 w 161927"/>
                  <a:gd name="connsiteY2" fmla="*/ 211360 h 211359"/>
                  <a:gd name="connsiteX3" fmla="*/ 30874 w 161927"/>
                  <a:gd name="connsiteY3" fmla="*/ 84296 h 211359"/>
                  <a:gd name="connsiteX4" fmla="*/ 143555 w 161927"/>
                  <a:gd name="connsiteY4" fmla="*/ 0 h 2113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927" h="211359">
                    <a:moveTo>
                      <a:pt x="143555" y="0"/>
                    </a:moveTo>
                    <a:cubicBezTo>
                      <a:pt x="143555" y="0"/>
                      <a:pt x="194609" y="50387"/>
                      <a:pt x="126505" y="83915"/>
                    </a:cubicBezTo>
                    <a:cubicBezTo>
                      <a:pt x="58401" y="117538"/>
                      <a:pt x="680" y="211360"/>
                      <a:pt x="680" y="211360"/>
                    </a:cubicBezTo>
                    <a:cubicBezTo>
                      <a:pt x="680" y="211360"/>
                      <a:pt x="-7226" y="145256"/>
                      <a:pt x="30874" y="84296"/>
                    </a:cubicBezTo>
                    <a:cubicBezTo>
                      <a:pt x="68498" y="24289"/>
                      <a:pt x="143555" y="0"/>
                      <a:pt x="143555" y="0"/>
                    </a:cubicBezTo>
                    <a:close/>
                  </a:path>
                </a:pathLst>
              </a:custGeom>
              <a:solidFill>
                <a:srgbClr val="0070C0"/>
              </a:solidFill>
              <a:ln w="952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449" name="Freeform: Shape 448">
                <a:extLst>
                  <a:ext uri="{FF2B5EF4-FFF2-40B4-BE49-F238E27FC236}">
                    <a16:creationId xmlns:a16="http://schemas.microsoft.com/office/drawing/2014/main" id="{B46B832A-EADC-4BEA-BF68-03AF8747303E}"/>
                  </a:ext>
                </a:extLst>
              </p:cNvPr>
              <p:cNvSpPr/>
              <p:nvPr/>
            </p:nvSpPr>
            <p:spPr>
              <a:xfrm>
                <a:off x="1399843" y="3378542"/>
                <a:ext cx="42133" cy="136012"/>
              </a:xfrm>
              <a:custGeom>
                <a:avLst/>
                <a:gdLst>
                  <a:gd name="connsiteX0" fmla="*/ 80200 w 112713"/>
                  <a:gd name="connsiteY0" fmla="*/ 0 h 397668"/>
                  <a:gd name="connsiteX1" fmla="*/ 104870 w 112713"/>
                  <a:gd name="connsiteY1" fmla="*/ 110490 h 397668"/>
                  <a:gd name="connsiteX2" fmla="*/ 98679 w 112713"/>
                  <a:gd name="connsiteY2" fmla="*/ 249459 h 397668"/>
                  <a:gd name="connsiteX3" fmla="*/ 110204 w 112713"/>
                  <a:gd name="connsiteY3" fmla="*/ 349663 h 397668"/>
                  <a:gd name="connsiteX4" fmla="*/ 35147 w 112713"/>
                  <a:gd name="connsiteY4" fmla="*/ 397669 h 397668"/>
                  <a:gd name="connsiteX5" fmla="*/ 80200 w 112713"/>
                  <a:gd name="connsiteY5" fmla="*/ 328613 h 397668"/>
                  <a:gd name="connsiteX6" fmla="*/ 65532 w 112713"/>
                  <a:gd name="connsiteY6" fmla="*/ 162687 h 397668"/>
                  <a:gd name="connsiteX7" fmla="*/ 55531 w 112713"/>
                  <a:gd name="connsiteY7" fmla="*/ 31528 h 397668"/>
                  <a:gd name="connsiteX8" fmla="*/ 0 w 112713"/>
                  <a:gd name="connsiteY8" fmla="*/ 14288 h 397668"/>
                  <a:gd name="connsiteX9" fmla="*/ 80200 w 112713"/>
                  <a:gd name="connsiteY9" fmla="*/ 0 h 397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2713" h="397668">
                    <a:moveTo>
                      <a:pt x="80200" y="0"/>
                    </a:moveTo>
                    <a:cubicBezTo>
                      <a:pt x="80200" y="0"/>
                      <a:pt x="104870" y="37433"/>
                      <a:pt x="104870" y="110490"/>
                    </a:cubicBezTo>
                    <a:cubicBezTo>
                      <a:pt x="104870" y="183451"/>
                      <a:pt x="98679" y="198787"/>
                      <a:pt x="98679" y="249459"/>
                    </a:cubicBezTo>
                    <a:cubicBezTo>
                      <a:pt x="98679" y="300038"/>
                      <a:pt x="119824" y="325374"/>
                      <a:pt x="110204" y="349663"/>
                    </a:cubicBezTo>
                    <a:cubicBezTo>
                      <a:pt x="101822" y="370999"/>
                      <a:pt x="35147" y="397669"/>
                      <a:pt x="35147" y="397669"/>
                    </a:cubicBezTo>
                    <a:cubicBezTo>
                      <a:pt x="35147" y="397669"/>
                      <a:pt x="74009" y="371189"/>
                      <a:pt x="80200" y="328613"/>
                    </a:cubicBezTo>
                    <a:cubicBezTo>
                      <a:pt x="86392" y="286036"/>
                      <a:pt x="57055" y="227933"/>
                      <a:pt x="65532" y="162687"/>
                    </a:cubicBezTo>
                    <a:cubicBezTo>
                      <a:pt x="74009" y="97441"/>
                      <a:pt x="74009" y="37624"/>
                      <a:pt x="55531" y="31528"/>
                    </a:cubicBezTo>
                    <a:cubicBezTo>
                      <a:pt x="37052" y="25432"/>
                      <a:pt x="0" y="14288"/>
                      <a:pt x="0" y="14288"/>
                    </a:cubicBezTo>
                    <a:lnTo>
                      <a:pt x="80200" y="0"/>
                    </a:lnTo>
                    <a:close/>
                  </a:path>
                </a:pathLst>
              </a:custGeom>
              <a:solidFill>
                <a:srgbClr val="0070C0"/>
              </a:solidFill>
              <a:ln w="952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450" name="Freeform: Shape 449">
                <a:extLst>
                  <a:ext uri="{FF2B5EF4-FFF2-40B4-BE49-F238E27FC236}">
                    <a16:creationId xmlns:a16="http://schemas.microsoft.com/office/drawing/2014/main" id="{C8676275-F88B-4CC7-B30C-2D27C4BB41A3}"/>
                  </a:ext>
                </a:extLst>
              </p:cNvPr>
              <p:cNvSpPr/>
              <p:nvPr/>
            </p:nvSpPr>
            <p:spPr>
              <a:xfrm>
                <a:off x="820011" y="3653922"/>
                <a:ext cx="137401" cy="25313"/>
              </a:xfrm>
              <a:custGeom>
                <a:avLst/>
                <a:gdLst>
                  <a:gd name="connsiteX0" fmla="*/ 0 w 367569"/>
                  <a:gd name="connsiteY0" fmla="*/ 74009 h 74009"/>
                  <a:gd name="connsiteX1" fmla="*/ 221456 w 367569"/>
                  <a:gd name="connsiteY1" fmla="*/ 65246 h 74009"/>
                  <a:gd name="connsiteX2" fmla="*/ 367570 w 367569"/>
                  <a:gd name="connsiteY2" fmla="*/ 37814 h 74009"/>
                  <a:gd name="connsiteX3" fmla="*/ 366808 w 367569"/>
                  <a:gd name="connsiteY3" fmla="*/ 0 h 74009"/>
                  <a:gd name="connsiteX4" fmla="*/ 140494 w 367569"/>
                  <a:gd name="connsiteY4" fmla="*/ 31432 h 74009"/>
                  <a:gd name="connsiteX5" fmla="*/ 0 w 367569"/>
                  <a:gd name="connsiteY5" fmla="*/ 74009 h 74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7569" h="74009">
                    <a:moveTo>
                      <a:pt x="0" y="74009"/>
                    </a:moveTo>
                    <a:cubicBezTo>
                      <a:pt x="23432" y="74009"/>
                      <a:pt x="151162" y="71342"/>
                      <a:pt x="221456" y="65246"/>
                    </a:cubicBezTo>
                    <a:cubicBezTo>
                      <a:pt x="291751" y="59150"/>
                      <a:pt x="367570" y="37814"/>
                      <a:pt x="367570" y="37814"/>
                    </a:cubicBezTo>
                    <a:lnTo>
                      <a:pt x="366808" y="0"/>
                    </a:lnTo>
                    <a:cubicBezTo>
                      <a:pt x="366808" y="0"/>
                      <a:pt x="218504" y="13144"/>
                      <a:pt x="140494" y="31432"/>
                    </a:cubicBezTo>
                    <a:cubicBezTo>
                      <a:pt x="62484" y="49625"/>
                      <a:pt x="0" y="74009"/>
                      <a:pt x="0" y="74009"/>
                    </a:cubicBezTo>
                    <a:close/>
                  </a:path>
                </a:pathLst>
              </a:custGeom>
              <a:solidFill>
                <a:srgbClr val="0070C0"/>
              </a:solidFill>
              <a:ln w="952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451" name="Freeform: Shape 450">
                <a:extLst>
                  <a:ext uri="{FF2B5EF4-FFF2-40B4-BE49-F238E27FC236}">
                    <a16:creationId xmlns:a16="http://schemas.microsoft.com/office/drawing/2014/main" id="{477219EA-7CB0-40BE-8DE0-662129D87CAE}"/>
                  </a:ext>
                </a:extLst>
              </p:cNvPr>
              <p:cNvSpPr/>
              <p:nvPr/>
            </p:nvSpPr>
            <p:spPr>
              <a:xfrm>
                <a:off x="955219" y="3539183"/>
                <a:ext cx="88963" cy="169893"/>
              </a:xfrm>
              <a:custGeom>
                <a:avLst/>
                <a:gdLst>
                  <a:gd name="connsiteX0" fmla="*/ 140931 w 237990"/>
                  <a:gd name="connsiteY0" fmla="*/ 0 h 496729"/>
                  <a:gd name="connsiteX1" fmla="*/ 237991 w 237990"/>
                  <a:gd name="connsiteY1" fmla="*/ 20670 h 496729"/>
                  <a:gd name="connsiteX2" fmla="*/ 132740 w 237990"/>
                  <a:gd name="connsiteY2" fmla="*/ 28480 h 496729"/>
                  <a:gd name="connsiteX3" fmla="*/ 54730 w 237990"/>
                  <a:gd name="connsiteY3" fmla="*/ 100680 h 496729"/>
                  <a:gd name="connsiteX4" fmla="*/ 30441 w 237990"/>
                  <a:gd name="connsiteY4" fmla="*/ 252032 h 496729"/>
                  <a:gd name="connsiteX5" fmla="*/ 30441 w 237990"/>
                  <a:gd name="connsiteY5" fmla="*/ 369285 h 496729"/>
                  <a:gd name="connsiteX6" fmla="*/ 31679 w 237990"/>
                  <a:gd name="connsiteY6" fmla="*/ 496729 h 496729"/>
                  <a:gd name="connsiteX7" fmla="*/ 8248 w 237990"/>
                  <a:gd name="connsiteY7" fmla="*/ 423387 h 496729"/>
                  <a:gd name="connsiteX8" fmla="*/ 533 w 237990"/>
                  <a:gd name="connsiteY8" fmla="*/ 284131 h 496729"/>
                  <a:gd name="connsiteX9" fmla="*/ 43300 w 237990"/>
                  <a:gd name="connsiteY9" fmla="*/ 67152 h 496729"/>
                  <a:gd name="connsiteX10" fmla="*/ 140931 w 237990"/>
                  <a:gd name="connsiteY10" fmla="*/ 0 h 496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7990" h="496729">
                    <a:moveTo>
                      <a:pt x="140931" y="0"/>
                    </a:moveTo>
                    <a:cubicBezTo>
                      <a:pt x="176555" y="96"/>
                      <a:pt x="237991" y="20670"/>
                      <a:pt x="237991" y="20670"/>
                    </a:cubicBezTo>
                    <a:cubicBezTo>
                      <a:pt x="237991" y="20670"/>
                      <a:pt x="170078" y="15240"/>
                      <a:pt x="132740" y="28480"/>
                    </a:cubicBezTo>
                    <a:cubicBezTo>
                      <a:pt x="102164" y="39338"/>
                      <a:pt x="70065" y="60294"/>
                      <a:pt x="54730" y="100680"/>
                    </a:cubicBezTo>
                    <a:cubicBezTo>
                      <a:pt x="39490" y="140685"/>
                      <a:pt x="33965" y="159544"/>
                      <a:pt x="30441" y="252032"/>
                    </a:cubicBezTo>
                    <a:cubicBezTo>
                      <a:pt x="28822" y="295371"/>
                      <a:pt x="31203" y="338328"/>
                      <a:pt x="30441" y="369285"/>
                    </a:cubicBezTo>
                    <a:cubicBezTo>
                      <a:pt x="29489" y="407289"/>
                      <a:pt x="31679" y="496729"/>
                      <a:pt x="31679" y="496729"/>
                    </a:cubicBezTo>
                    <a:cubicBezTo>
                      <a:pt x="31679" y="496729"/>
                      <a:pt x="12534" y="445675"/>
                      <a:pt x="8248" y="423387"/>
                    </a:cubicBezTo>
                    <a:cubicBezTo>
                      <a:pt x="1580" y="388144"/>
                      <a:pt x="-1277" y="337662"/>
                      <a:pt x="533" y="284131"/>
                    </a:cubicBezTo>
                    <a:cubicBezTo>
                      <a:pt x="3295" y="205455"/>
                      <a:pt x="16439" y="120206"/>
                      <a:pt x="43300" y="67152"/>
                    </a:cubicBezTo>
                    <a:cubicBezTo>
                      <a:pt x="70351" y="13717"/>
                      <a:pt x="108451" y="-95"/>
                      <a:pt x="140931" y="0"/>
                    </a:cubicBezTo>
                    <a:close/>
                  </a:path>
                </a:pathLst>
              </a:custGeom>
              <a:solidFill>
                <a:srgbClr val="0962AB"/>
              </a:solidFill>
              <a:ln w="952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452" name="Freeform: Shape 451">
                <a:extLst>
                  <a:ext uri="{FF2B5EF4-FFF2-40B4-BE49-F238E27FC236}">
                    <a16:creationId xmlns:a16="http://schemas.microsoft.com/office/drawing/2014/main" id="{69D12753-029E-4240-8714-42E898A925FE}"/>
                  </a:ext>
                </a:extLst>
              </p:cNvPr>
              <p:cNvSpPr/>
              <p:nvPr/>
            </p:nvSpPr>
            <p:spPr>
              <a:xfrm>
                <a:off x="1223063" y="3502338"/>
                <a:ext cx="218865" cy="40245"/>
              </a:xfrm>
              <a:custGeom>
                <a:avLst/>
                <a:gdLst>
                  <a:gd name="connsiteX0" fmla="*/ 585502 w 585501"/>
                  <a:gd name="connsiteY0" fmla="*/ 0 h 117667"/>
                  <a:gd name="connsiteX1" fmla="*/ 513493 w 585501"/>
                  <a:gd name="connsiteY1" fmla="*/ 64294 h 117667"/>
                  <a:gd name="connsiteX2" fmla="*/ 347091 w 585501"/>
                  <a:gd name="connsiteY2" fmla="*/ 117538 h 117667"/>
                  <a:gd name="connsiteX3" fmla="*/ 116015 w 585501"/>
                  <a:gd name="connsiteY3" fmla="*/ 109061 h 117667"/>
                  <a:gd name="connsiteX4" fmla="*/ 0 w 585501"/>
                  <a:gd name="connsiteY4" fmla="*/ 88201 h 117667"/>
                  <a:gd name="connsiteX5" fmla="*/ 131159 w 585501"/>
                  <a:gd name="connsiteY5" fmla="*/ 85534 h 117667"/>
                  <a:gd name="connsiteX6" fmla="*/ 307372 w 585501"/>
                  <a:gd name="connsiteY6" fmla="*/ 72771 h 117667"/>
                  <a:gd name="connsiteX7" fmla="*/ 585502 w 585501"/>
                  <a:gd name="connsiteY7" fmla="*/ 0 h 117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5501" h="117667">
                    <a:moveTo>
                      <a:pt x="585502" y="0"/>
                    </a:moveTo>
                    <a:cubicBezTo>
                      <a:pt x="585502" y="0"/>
                      <a:pt x="555688" y="36957"/>
                      <a:pt x="513493" y="64294"/>
                    </a:cubicBezTo>
                    <a:cubicBezTo>
                      <a:pt x="465487" y="95440"/>
                      <a:pt x="401479" y="117062"/>
                      <a:pt x="347091" y="117538"/>
                    </a:cubicBezTo>
                    <a:cubicBezTo>
                      <a:pt x="265081" y="118300"/>
                      <a:pt x="177451" y="115729"/>
                      <a:pt x="116015" y="109061"/>
                    </a:cubicBezTo>
                    <a:cubicBezTo>
                      <a:pt x="40672" y="100870"/>
                      <a:pt x="0" y="88201"/>
                      <a:pt x="0" y="88201"/>
                    </a:cubicBezTo>
                    <a:cubicBezTo>
                      <a:pt x="0" y="88201"/>
                      <a:pt x="54674" y="88678"/>
                      <a:pt x="131159" y="85534"/>
                    </a:cubicBezTo>
                    <a:cubicBezTo>
                      <a:pt x="183166" y="83344"/>
                      <a:pt x="245364" y="79534"/>
                      <a:pt x="307372" y="72771"/>
                    </a:cubicBezTo>
                    <a:cubicBezTo>
                      <a:pt x="460724" y="55912"/>
                      <a:pt x="585502" y="0"/>
                      <a:pt x="585502" y="0"/>
                    </a:cubicBezTo>
                    <a:close/>
                  </a:path>
                </a:pathLst>
              </a:custGeom>
              <a:solidFill>
                <a:srgbClr val="0070C0"/>
              </a:solidFill>
              <a:ln w="952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453" name="Freeform: Shape 452">
                <a:extLst>
                  <a:ext uri="{FF2B5EF4-FFF2-40B4-BE49-F238E27FC236}">
                    <a16:creationId xmlns:a16="http://schemas.microsoft.com/office/drawing/2014/main" id="{A0B8B72D-65C1-4D6A-8148-B4F32CFB6CD3}"/>
                  </a:ext>
                </a:extLst>
              </p:cNvPr>
              <p:cNvSpPr/>
              <p:nvPr/>
            </p:nvSpPr>
            <p:spPr>
              <a:xfrm>
                <a:off x="1309299" y="3444447"/>
                <a:ext cx="125382" cy="54566"/>
              </a:xfrm>
              <a:custGeom>
                <a:avLst/>
                <a:gdLst>
                  <a:gd name="connsiteX0" fmla="*/ 325565 w 335418"/>
                  <a:gd name="connsiteY0" fmla="*/ 0 h 159538"/>
                  <a:gd name="connsiteX1" fmla="*/ 223361 w 335418"/>
                  <a:gd name="connsiteY1" fmla="*/ 100775 h 159538"/>
                  <a:gd name="connsiteX2" fmla="*/ 0 w 335418"/>
                  <a:gd name="connsiteY2" fmla="*/ 159163 h 159538"/>
                  <a:gd name="connsiteX3" fmla="*/ 223361 w 335418"/>
                  <a:gd name="connsiteY3" fmla="*/ 33623 h 159538"/>
                  <a:gd name="connsiteX4" fmla="*/ 325565 w 335418"/>
                  <a:gd name="connsiteY4" fmla="*/ 0 h 159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5418" h="159538">
                    <a:moveTo>
                      <a:pt x="325565" y="0"/>
                    </a:moveTo>
                    <a:cubicBezTo>
                      <a:pt x="325565" y="0"/>
                      <a:pt x="382334" y="33623"/>
                      <a:pt x="223361" y="100775"/>
                    </a:cubicBezTo>
                    <a:cubicBezTo>
                      <a:pt x="64484" y="167926"/>
                      <a:pt x="0" y="159163"/>
                      <a:pt x="0" y="159163"/>
                    </a:cubicBezTo>
                    <a:cubicBezTo>
                      <a:pt x="0" y="159163"/>
                      <a:pt x="162401" y="60960"/>
                      <a:pt x="223361" y="33623"/>
                    </a:cubicBezTo>
                    <a:cubicBezTo>
                      <a:pt x="247269" y="22860"/>
                      <a:pt x="325565" y="0"/>
                      <a:pt x="325565" y="0"/>
                    </a:cubicBezTo>
                    <a:close/>
                  </a:path>
                </a:pathLst>
              </a:custGeom>
              <a:solidFill>
                <a:srgbClr val="0962AB"/>
              </a:solidFill>
              <a:ln w="952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454" name="Freeform: Shape 453">
                <a:extLst>
                  <a:ext uri="{FF2B5EF4-FFF2-40B4-BE49-F238E27FC236}">
                    <a16:creationId xmlns:a16="http://schemas.microsoft.com/office/drawing/2014/main" id="{969450F8-26C8-4624-8348-DF70C8751E42}"/>
                  </a:ext>
                </a:extLst>
              </p:cNvPr>
              <p:cNvSpPr/>
              <p:nvPr/>
            </p:nvSpPr>
            <p:spPr>
              <a:xfrm>
                <a:off x="1308267" y="3434447"/>
                <a:ext cx="99659" cy="63592"/>
              </a:xfrm>
              <a:custGeom>
                <a:avLst/>
                <a:gdLst>
                  <a:gd name="connsiteX0" fmla="*/ 266605 w 266604"/>
                  <a:gd name="connsiteY0" fmla="*/ 0 h 185928"/>
                  <a:gd name="connsiteX1" fmla="*/ 145542 w 266604"/>
                  <a:gd name="connsiteY1" fmla="*/ 125063 h 185928"/>
                  <a:gd name="connsiteX2" fmla="*/ 0 w 266604"/>
                  <a:gd name="connsiteY2" fmla="*/ 185928 h 185928"/>
                  <a:gd name="connsiteX3" fmla="*/ 182309 w 266604"/>
                  <a:gd name="connsiteY3" fmla="*/ 47911 h 185928"/>
                  <a:gd name="connsiteX4" fmla="*/ 266605 w 266604"/>
                  <a:gd name="connsiteY4" fmla="*/ 0 h 185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604" h="185928">
                    <a:moveTo>
                      <a:pt x="266605" y="0"/>
                    </a:moveTo>
                    <a:cubicBezTo>
                      <a:pt x="266605" y="0"/>
                      <a:pt x="212217" y="85154"/>
                      <a:pt x="145542" y="125063"/>
                    </a:cubicBezTo>
                    <a:cubicBezTo>
                      <a:pt x="87344" y="159925"/>
                      <a:pt x="0" y="185928"/>
                      <a:pt x="0" y="185928"/>
                    </a:cubicBezTo>
                    <a:lnTo>
                      <a:pt x="182309" y="47911"/>
                    </a:lnTo>
                    <a:lnTo>
                      <a:pt x="266605" y="0"/>
                    </a:lnTo>
                    <a:close/>
                  </a:path>
                </a:pathLst>
              </a:custGeom>
              <a:solidFill>
                <a:srgbClr val="0962AB"/>
              </a:solidFill>
              <a:ln w="952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sp>
            <p:nvSpPr>
              <p:cNvPr id="455" name="Freeform: Shape 454">
                <a:extLst>
                  <a:ext uri="{FF2B5EF4-FFF2-40B4-BE49-F238E27FC236}">
                    <a16:creationId xmlns:a16="http://schemas.microsoft.com/office/drawing/2014/main" id="{FD75058A-2E15-4988-8E98-CC75F1D3FE5D}"/>
                  </a:ext>
                </a:extLst>
              </p:cNvPr>
              <p:cNvSpPr/>
              <p:nvPr/>
            </p:nvSpPr>
            <p:spPr>
              <a:xfrm>
                <a:off x="995032" y="3554117"/>
                <a:ext cx="53707" cy="72799"/>
              </a:xfrm>
              <a:custGeom>
                <a:avLst/>
                <a:gdLst>
                  <a:gd name="connsiteX0" fmla="*/ 143675 w 143674"/>
                  <a:gd name="connsiteY0" fmla="*/ 4916 h 212847"/>
                  <a:gd name="connsiteX1" fmla="*/ 73380 w 143674"/>
                  <a:gd name="connsiteY1" fmla="*/ 66543 h 212847"/>
                  <a:gd name="connsiteX2" fmla="*/ 3086 w 143674"/>
                  <a:gd name="connsiteY2" fmla="*/ 212847 h 212847"/>
                  <a:gd name="connsiteX3" fmla="*/ 26517 w 143674"/>
                  <a:gd name="connsiteY3" fmla="*/ 58828 h 212847"/>
                  <a:gd name="connsiteX4" fmla="*/ 143675 w 143674"/>
                  <a:gd name="connsiteY4" fmla="*/ 4916 h 2128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674" h="212847">
                    <a:moveTo>
                      <a:pt x="143675" y="4916"/>
                    </a:moveTo>
                    <a:cubicBezTo>
                      <a:pt x="143675" y="4916"/>
                      <a:pt x="120243" y="-25849"/>
                      <a:pt x="73380" y="66543"/>
                    </a:cubicBezTo>
                    <a:cubicBezTo>
                      <a:pt x="26517" y="158936"/>
                      <a:pt x="3086" y="212847"/>
                      <a:pt x="3086" y="212847"/>
                    </a:cubicBezTo>
                    <a:cubicBezTo>
                      <a:pt x="3086" y="212847"/>
                      <a:pt x="-12535" y="112739"/>
                      <a:pt x="26517" y="58828"/>
                    </a:cubicBezTo>
                    <a:cubicBezTo>
                      <a:pt x="65570" y="4916"/>
                      <a:pt x="143675" y="4916"/>
                      <a:pt x="143675" y="4916"/>
                    </a:cubicBezTo>
                    <a:close/>
                  </a:path>
                </a:pathLst>
              </a:custGeom>
              <a:solidFill>
                <a:srgbClr val="0070C0"/>
              </a:solidFill>
              <a:ln w="9525" cap="flat">
                <a:noFill/>
                <a:prstDash val="solid"/>
                <a:miter/>
              </a:ln>
            </p:spPr>
            <p:txBody>
              <a:bodyPr rtlCol="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US" sz="1347" b="0" i="0" u="none" strike="noStrike" kern="0" cap="none" spc="0" normalizeH="0" baseline="0" noProof="0" dirty="0">
                  <a:ln>
                    <a:noFill/>
                  </a:ln>
                  <a:solidFill>
                    <a:srgbClr val="000000"/>
                  </a:solidFill>
                  <a:effectLst/>
                  <a:uLnTx/>
                  <a:uFillTx/>
                  <a:latin typeface="Open Sans" panose="020B0606030504020204"/>
                  <a:ea typeface="+mn-ea"/>
                  <a:cs typeface="+mn-cs"/>
                </a:endParaRPr>
              </a:p>
            </p:txBody>
          </p:sp>
        </p:grpSp>
        <p:grpSp>
          <p:nvGrpSpPr>
            <p:cNvPr id="21" name="Group 20">
              <a:extLst>
                <a:ext uri="{FF2B5EF4-FFF2-40B4-BE49-F238E27FC236}">
                  <a16:creationId xmlns:a16="http://schemas.microsoft.com/office/drawing/2014/main" id="{F07FD6BC-D4D3-4158-821E-3BD2963A963C}"/>
                </a:ext>
              </a:extLst>
            </p:cNvPr>
            <p:cNvGrpSpPr/>
            <p:nvPr/>
          </p:nvGrpSpPr>
          <p:grpSpPr>
            <a:xfrm>
              <a:off x="3159924" y="3268506"/>
              <a:ext cx="3297327" cy="1187781"/>
              <a:chOff x="658368" y="4468093"/>
              <a:chExt cx="4396436" cy="1583708"/>
            </a:xfrm>
          </p:grpSpPr>
          <p:sp>
            <p:nvSpPr>
              <p:cNvPr id="5" name="Speech Bubble: Rectangle with Corners Rounded 4">
                <a:extLst>
                  <a:ext uri="{FF2B5EF4-FFF2-40B4-BE49-F238E27FC236}">
                    <a16:creationId xmlns:a16="http://schemas.microsoft.com/office/drawing/2014/main" id="{3EF3FD6B-2444-458C-B746-02EE4E168B3F}"/>
                  </a:ext>
                </a:extLst>
              </p:cNvPr>
              <p:cNvSpPr/>
              <p:nvPr/>
            </p:nvSpPr>
            <p:spPr>
              <a:xfrm>
                <a:off x="658368" y="4468093"/>
                <a:ext cx="4396436" cy="1583708"/>
              </a:xfrm>
              <a:prstGeom prst="wedgeRoundRectCallout">
                <a:avLst>
                  <a:gd name="adj1" fmla="val 63091"/>
                  <a:gd name="adj2" fmla="val 27090"/>
                  <a:gd name="adj3" fmla="val 16667"/>
                </a:avLst>
              </a:prstGeom>
              <a:solidFill>
                <a:schemeClr val="bg1"/>
              </a:solidFill>
              <a:ln w="28575">
                <a:solidFill>
                  <a:srgbClr val="D38D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Open Sans" panose="020B0606030504020204"/>
                  <a:ea typeface="+mn-ea"/>
                  <a:cs typeface="+mn-cs"/>
                </a:endParaRPr>
              </a:p>
            </p:txBody>
          </p:sp>
          <p:sp>
            <p:nvSpPr>
              <p:cNvPr id="8" name="TextBox 7">
                <a:extLst>
                  <a:ext uri="{FF2B5EF4-FFF2-40B4-BE49-F238E27FC236}">
                    <a16:creationId xmlns:a16="http://schemas.microsoft.com/office/drawing/2014/main" id="{A06BA454-C785-40C9-9BF6-E2458FB84DFF}"/>
                  </a:ext>
                </a:extLst>
              </p:cNvPr>
              <p:cNvSpPr txBox="1"/>
              <p:nvPr/>
            </p:nvSpPr>
            <p:spPr>
              <a:xfrm rot="20972999">
                <a:off x="829819" y="4693197"/>
                <a:ext cx="998983" cy="480132"/>
              </a:xfrm>
              <a:prstGeom prst="rect">
                <a:avLst/>
              </a:prstGeom>
            </p:spPr>
            <p:txBody>
              <a:bodyPr vert="horz" wrap="square" lIns="68580" tIns="34290" rIns="68580" bIns="34290" rtlCol="0">
                <a:spAutoFit/>
              </a:bodyPr>
              <a:lstStyle>
                <a:lvl1pPr marL="228600" lvl="0" indent="-228600" defTabSz="914400">
                  <a:lnSpc>
                    <a:spcPct val="90000"/>
                  </a:lnSpc>
                  <a:spcBef>
                    <a:spcPts val="1000"/>
                  </a:spcBef>
                  <a:buFont typeface="Arial" panose="020B0604020202020204" pitchFamily="34" charset="0"/>
                  <a:buChar char="•"/>
                  <a:defRPr sz="2800"/>
                </a:lvl1pPr>
                <a:lvl2pPr marL="685800" lvl="1" indent="-228600" defTabSz="914400">
                  <a:lnSpc>
                    <a:spcPct val="90000"/>
                  </a:lnSpc>
                  <a:spcBef>
                    <a:spcPts val="500"/>
                  </a:spcBef>
                  <a:buFont typeface="Arial" panose="020B0604020202020204" pitchFamily="34" charset="0"/>
                  <a:buChar char="•"/>
                  <a:defRPr sz="2400"/>
                </a:lvl2pPr>
                <a:lvl3pPr marL="1143000" lvl="2" indent="-228600" defTabSz="914400">
                  <a:lnSpc>
                    <a:spcPct val="90000"/>
                  </a:lnSpc>
                  <a:spcBef>
                    <a:spcPts val="500"/>
                  </a:spcBef>
                  <a:buFont typeface="Arial" panose="020B0604020202020204" pitchFamily="34" charset="0"/>
                  <a:buChar char="•"/>
                  <a:defRPr sz="2000"/>
                </a:lvl3pPr>
                <a:lvl4pPr marL="1600200" lvl="3" indent="-228600" defTabSz="914400">
                  <a:lnSpc>
                    <a:spcPct val="90000"/>
                  </a:lnSpc>
                  <a:spcBef>
                    <a:spcPts val="500"/>
                  </a:spcBef>
                  <a:buFont typeface="Arial" panose="020B0604020202020204" pitchFamily="34" charset="0"/>
                  <a:buChar char="•"/>
                </a:lvl4pPr>
                <a:lvl5pPr marL="2057400" lvl="4" indent="-228600" defTabSz="914400">
                  <a:lnSpc>
                    <a:spcPct val="90000"/>
                  </a:lnSpc>
                  <a:spcBef>
                    <a:spcPts val="500"/>
                  </a:spcBef>
                  <a:buFont typeface="Arial" panose="020B0604020202020204" pitchFamily="34" charset="0"/>
                  <a:buChar char="•"/>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2100" b="1" i="0" u="none" strike="noStrike" kern="1200" cap="none" spc="0" normalizeH="0" baseline="0" noProof="0" dirty="0">
                    <a:ln>
                      <a:noFill/>
                    </a:ln>
                    <a:solidFill>
                      <a:srgbClr val="0962AB"/>
                    </a:solidFill>
                    <a:effectLst/>
                    <a:uLnTx/>
                    <a:uFillTx/>
                    <a:latin typeface="Open Sans" panose="020B0606030504020204"/>
                    <a:ea typeface="+mn-ea"/>
                    <a:cs typeface="+mn-cs"/>
                  </a:rPr>
                  <a:t>Hola</a:t>
                </a:r>
              </a:p>
            </p:txBody>
          </p:sp>
          <p:sp>
            <p:nvSpPr>
              <p:cNvPr id="9" name="Rectangle 8">
                <a:extLst>
                  <a:ext uri="{FF2B5EF4-FFF2-40B4-BE49-F238E27FC236}">
                    <a16:creationId xmlns:a16="http://schemas.microsoft.com/office/drawing/2014/main" id="{BF32BB70-9A98-4D9E-B739-9523049733EB}"/>
                  </a:ext>
                </a:extLst>
              </p:cNvPr>
              <p:cNvSpPr/>
              <p:nvPr/>
            </p:nvSpPr>
            <p:spPr>
              <a:xfrm rot="654551">
                <a:off x="916939" y="5231641"/>
                <a:ext cx="1425108" cy="677108"/>
              </a:xfrm>
              <a:prstGeom prst="rect">
                <a:avLst/>
              </a:prstGeom>
            </p:spPr>
            <p:txBody>
              <a:bodyPr wrap="square">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ar-AE" sz="2700" b="0" i="0" u="none" strike="noStrike" kern="1200" cap="none" spc="0" normalizeH="0" baseline="0" noProof="0" dirty="0">
                    <a:ln>
                      <a:noFill/>
                    </a:ln>
                    <a:solidFill>
                      <a:srgbClr val="00B0F0"/>
                    </a:solidFill>
                    <a:effectLst/>
                    <a:uLnTx/>
                    <a:uFillTx/>
                    <a:latin typeface="Open Sans" panose="020B0606030504020204"/>
                    <a:ea typeface="+mn-ea"/>
                    <a:cs typeface="Arial" panose="020B0604020202020204" pitchFamily="34" charset="0"/>
                  </a:rPr>
                  <a:t>مرحبا</a:t>
                </a:r>
                <a:endParaRPr kumimoji="0" lang="en-US" sz="2700" b="0" i="0" u="none" strike="noStrike" kern="1200" cap="none" spc="0" normalizeH="0" baseline="0" noProof="0" dirty="0">
                  <a:ln>
                    <a:noFill/>
                  </a:ln>
                  <a:solidFill>
                    <a:srgbClr val="00B0F0"/>
                  </a:solidFill>
                  <a:effectLst/>
                  <a:uLnTx/>
                  <a:uFillTx/>
                  <a:latin typeface="Open Sans" panose="020B0606030504020204"/>
                  <a:ea typeface="+mn-ea"/>
                  <a:cs typeface="+mn-cs"/>
                </a:endParaRPr>
              </a:p>
            </p:txBody>
          </p:sp>
          <p:sp>
            <p:nvSpPr>
              <p:cNvPr id="11" name="Rectangle 10">
                <a:extLst>
                  <a:ext uri="{FF2B5EF4-FFF2-40B4-BE49-F238E27FC236}">
                    <a16:creationId xmlns:a16="http://schemas.microsoft.com/office/drawing/2014/main" id="{E9E4715C-A5F1-43D4-833E-D15FBA0DC388}"/>
                  </a:ext>
                </a:extLst>
              </p:cNvPr>
              <p:cNvSpPr/>
              <p:nvPr/>
            </p:nvSpPr>
            <p:spPr>
              <a:xfrm>
                <a:off x="3237983" y="4570816"/>
                <a:ext cx="1678237" cy="615553"/>
              </a:xfrm>
              <a:prstGeom prst="rect">
                <a:avLst/>
              </a:prstGeom>
            </p:spPr>
            <p:txBody>
              <a:bodyPr wrap="none">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hi-IN" sz="2400" b="1" i="0" u="none" strike="noStrike" kern="1200" cap="none" spc="0" normalizeH="0" baseline="0" noProof="0" dirty="0">
                    <a:ln>
                      <a:noFill/>
                    </a:ln>
                    <a:solidFill>
                      <a:srgbClr val="00A261"/>
                    </a:solidFill>
                    <a:effectLst/>
                    <a:uLnTx/>
                    <a:uFillTx/>
                    <a:latin typeface="Open Sans" panose="020B0606030504020204"/>
                    <a:ea typeface="+mn-ea"/>
                    <a:cs typeface="Mangal" panose="02040503050203030202" pitchFamily="18" charset="0"/>
                  </a:rPr>
                  <a:t>नमस्कार</a:t>
                </a:r>
                <a:endParaRPr kumimoji="0" lang="en-US" sz="2400" b="1" i="0" u="none" strike="noStrike" kern="1200" cap="none" spc="0" normalizeH="0" baseline="0" noProof="0" dirty="0">
                  <a:ln>
                    <a:noFill/>
                  </a:ln>
                  <a:solidFill>
                    <a:srgbClr val="00A261"/>
                  </a:solidFill>
                  <a:effectLst/>
                  <a:uLnTx/>
                  <a:uFillTx/>
                  <a:latin typeface="Open Sans" panose="020B0606030504020204"/>
                  <a:ea typeface="+mn-ea"/>
                  <a:cs typeface="+mn-cs"/>
                </a:endParaRPr>
              </a:p>
            </p:txBody>
          </p:sp>
          <p:sp>
            <p:nvSpPr>
              <p:cNvPr id="12" name="Rectangle 11">
                <a:extLst>
                  <a:ext uri="{FF2B5EF4-FFF2-40B4-BE49-F238E27FC236}">
                    <a16:creationId xmlns:a16="http://schemas.microsoft.com/office/drawing/2014/main" id="{14D01344-4939-470E-9025-4376243F8FCA}"/>
                  </a:ext>
                </a:extLst>
              </p:cNvPr>
              <p:cNvSpPr/>
              <p:nvPr/>
            </p:nvSpPr>
            <p:spPr>
              <a:xfrm rot="521707">
                <a:off x="3627103" y="5026329"/>
                <a:ext cx="1203748" cy="553997"/>
              </a:xfrm>
              <a:prstGeom prst="rect">
                <a:avLst/>
              </a:prstGeom>
            </p:spPr>
            <p:txBody>
              <a:bodyPr wrap="none">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gu-IN" sz="2100" b="0" i="0" u="none" strike="noStrike" kern="1200" cap="none" spc="0" normalizeH="0" baseline="0" noProof="0" dirty="0">
                    <a:ln>
                      <a:noFill/>
                    </a:ln>
                    <a:solidFill>
                      <a:srgbClr val="D38D4D"/>
                    </a:solidFill>
                    <a:effectLst/>
                    <a:uLnTx/>
                    <a:uFillTx/>
                    <a:latin typeface="Open Sans" panose="020B0606030504020204"/>
                    <a:ea typeface="+mn-ea"/>
                    <a:cs typeface="Shruti" panose="020B0502040204020203" pitchFamily="34" charset="0"/>
                  </a:rPr>
                  <a:t>નમસ્તે</a:t>
                </a:r>
                <a:endParaRPr kumimoji="0" lang="en-US" sz="2100" b="0" i="0" u="none" strike="noStrike" kern="1200" cap="none" spc="0" normalizeH="0" baseline="0" noProof="0" dirty="0">
                  <a:ln>
                    <a:noFill/>
                  </a:ln>
                  <a:solidFill>
                    <a:srgbClr val="D38D4D"/>
                  </a:solidFill>
                  <a:effectLst/>
                  <a:uLnTx/>
                  <a:uFillTx/>
                  <a:latin typeface="Open Sans" panose="020B0606030504020204"/>
                  <a:ea typeface="+mn-ea"/>
                  <a:cs typeface="+mn-cs"/>
                </a:endParaRPr>
              </a:p>
            </p:txBody>
          </p:sp>
          <p:sp>
            <p:nvSpPr>
              <p:cNvPr id="14" name="Rectangle 13">
                <a:extLst>
                  <a:ext uri="{FF2B5EF4-FFF2-40B4-BE49-F238E27FC236}">
                    <a16:creationId xmlns:a16="http://schemas.microsoft.com/office/drawing/2014/main" id="{DDB2E01B-EA8B-44CF-BC4C-2183831F68CD}"/>
                  </a:ext>
                </a:extLst>
              </p:cNvPr>
              <p:cNvSpPr/>
              <p:nvPr/>
            </p:nvSpPr>
            <p:spPr>
              <a:xfrm rot="20780092">
                <a:off x="1345683" y="4865760"/>
                <a:ext cx="1785104" cy="492443"/>
              </a:xfrm>
              <a:prstGeom prst="rect">
                <a:avLst/>
              </a:prstGeom>
            </p:spPr>
            <p:txBody>
              <a:bodyPr wrap="none">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ko-KR" altLang="en-US" sz="1800" b="0" i="0" u="none" strike="noStrike" kern="1200" cap="none" spc="0" normalizeH="0" baseline="0" noProof="0" dirty="0">
                    <a:ln>
                      <a:noFill/>
                    </a:ln>
                    <a:solidFill>
                      <a:srgbClr val="FF0000"/>
                    </a:solidFill>
                    <a:effectLst/>
                    <a:uLnTx/>
                    <a:uFillTx/>
                    <a:latin typeface="Open Sans" panose="020B0606030504020204"/>
                    <a:ea typeface="맑은 고딕" panose="020B0503020000020004" pitchFamily="34" charset="-127"/>
                    <a:cs typeface="+mn-cs"/>
                  </a:rPr>
                  <a:t>안녕하세요</a:t>
                </a:r>
                <a:endParaRPr kumimoji="0" lang="en-US" sz="1800" b="0" i="0" u="none" strike="noStrike" kern="1200" cap="none" spc="0" normalizeH="0" baseline="0" noProof="0" dirty="0">
                  <a:ln>
                    <a:noFill/>
                  </a:ln>
                  <a:solidFill>
                    <a:srgbClr val="FF0000"/>
                  </a:solidFill>
                  <a:effectLst/>
                  <a:uLnTx/>
                  <a:uFillTx/>
                  <a:latin typeface="Open Sans" panose="020B0606030504020204"/>
                  <a:ea typeface="+mn-ea"/>
                  <a:cs typeface="+mn-cs"/>
                </a:endParaRPr>
              </a:p>
            </p:txBody>
          </p:sp>
          <p:sp>
            <p:nvSpPr>
              <p:cNvPr id="15" name="Rectangle 14">
                <a:extLst>
                  <a:ext uri="{FF2B5EF4-FFF2-40B4-BE49-F238E27FC236}">
                    <a16:creationId xmlns:a16="http://schemas.microsoft.com/office/drawing/2014/main" id="{A47BC0DB-BC2C-4701-84E1-55E72E7EEBBC}"/>
                  </a:ext>
                </a:extLst>
              </p:cNvPr>
              <p:cNvSpPr/>
              <p:nvPr/>
            </p:nvSpPr>
            <p:spPr>
              <a:xfrm>
                <a:off x="2072643" y="5283926"/>
                <a:ext cx="1066959" cy="615553"/>
              </a:xfrm>
              <a:prstGeom prst="rect">
                <a:avLst/>
              </a:prstGeom>
            </p:spPr>
            <p:txBody>
              <a:bodyPr wrap="none">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ja-JP" altLang="en-US" sz="2400" b="1" i="0" u="none" strike="noStrike" kern="1200" cap="none" spc="0" normalizeH="0" baseline="0" noProof="0" dirty="0">
                    <a:ln>
                      <a:noFill/>
                    </a:ln>
                    <a:solidFill>
                      <a:srgbClr val="ED7D31"/>
                    </a:solidFill>
                    <a:effectLst/>
                    <a:uLnTx/>
                    <a:uFillTx/>
                    <a:latin typeface="Open Sans" panose="020B0606030504020204"/>
                    <a:ea typeface="游ゴシック" panose="020B0400000000000000" pitchFamily="34" charset="-128"/>
                    <a:cs typeface="+mn-cs"/>
                  </a:rPr>
                  <a:t>您好</a:t>
                </a:r>
                <a:endParaRPr kumimoji="0" lang="en-US" sz="2400" b="1" i="0" u="none" strike="noStrike" kern="1200" cap="none" spc="0" normalizeH="0" baseline="0" noProof="0" dirty="0">
                  <a:ln>
                    <a:noFill/>
                  </a:ln>
                  <a:solidFill>
                    <a:srgbClr val="ED7D31"/>
                  </a:solidFill>
                  <a:effectLst/>
                  <a:uLnTx/>
                  <a:uFillTx/>
                  <a:latin typeface="Open Sans" panose="020B0606030504020204"/>
                  <a:ea typeface="+mn-ea"/>
                  <a:cs typeface="+mn-cs"/>
                </a:endParaRPr>
              </a:p>
            </p:txBody>
          </p:sp>
          <p:sp>
            <p:nvSpPr>
              <p:cNvPr id="16" name="Rectangle 15">
                <a:extLst>
                  <a:ext uri="{FF2B5EF4-FFF2-40B4-BE49-F238E27FC236}">
                    <a16:creationId xmlns:a16="http://schemas.microsoft.com/office/drawing/2014/main" id="{D97833D1-3366-4E1E-83AC-0534B401DAD1}"/>
                  </a:ext>
                </a:extLst>
              </p:cNvPr>
              <p:cNvSpPr/>
              <p:nvPr/>
            </p:nvSpPr>
            <p:spPr>
              <a:xfrm rot="1443556">
                <a:off x="3063415" y="5352344"/>
                <a:ext cx="1675676" cy="430887"/>
              </a:xfrm>
              <a:prstGeom prst="rect">
                <a:avLst/>
              </a:prstGeom>
            </p:spPr>
            <p:txBody>
              <a:bodyPr wrap="square">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0070C0"/>
                    </a:solidFill>
                    <a:effectLst/>
                    <a:uLnTx/>
                    <a:uFillTx/>
                    <a:latin typeface="Open Sans" panose="020B0606030504020204"/>
                    <a:ea typeface="+mn-ea"/>
                    <a:cs typeface="+mn-cs"/>
                  </a:rPr>
                  <a:t>Bonjour</a:t>
                </a:r>
              </a:p>
            </p:txBody>
          </p:sp>
          <p:sp>
            <p:nvSpPr>
              <p:cNvPr id="18" name="Rectangle 17">
                <a:extLst>
                  <a:ext uri="{FF2B5EF4-FFF2-40B4-BE49-F238E27FC236}">
                    <a16:creationId xmlns:a16="http://schemas.microsoft.com/office/drawing/2014/main" id="{7B60345B-650B-4B74-A4FE-F90D04373FBB}"/>
                  </a:ext>
                </a:extLst>
              </p:cNvPr>
              <p:cNvSpPr/>
              <p:nvPr/>
            </p:nvSpPr>
            <p:spPr>
              <a:xfrm>
                <a:off x="4156667" y="5447348"/>
                <a:ext cx="731397" cy="464918"/>
              </a:xfrm>
              <a:prstGeom prst="rect">
                <a:avLst/>
              </a:prstGeom>
            </p:spPr>
            <p:txBody>
              <a:bodyPr wrap="none">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E696A"/>
                    </a:solidFill>
                    <a:effectLst/>
                    <a:uLnTx/>
                    <a:uFillTx/>
                    <a:latin typeface="Open Sans" panose="020B0606030504020204"/>
                    <a:ea typeface="+mn-ea"/>
                    <a:cs typeface="+mn-cs"/>
                  </a:rPr>
                  <a:t>Olá</a:t>
                </a:r>
              </a:p>
            </p:txBody>
          </p:sp>
        </p:grpSp>
      </p:grpSp>
      <p:sp>
        <p:nvSpPr>
          <p:cNvPr id="162" name="Title 1">
            <a:extLst>
              <a:ext uri="{FF2B5EF4-FFF2-40B4-BE49-F238E27FC236}">
                <a16:creationId xmlns:a16="http://schemas.microsoft.com/office/drawing/2014/main" id="{8ABC146D-5F90-4271-9544-B7645A4E5796}"/>
              </a:ext>
            </a:extLst>
          </p:cNvPr>
          <p:cNvSpPr txBox="1">
            <a:spLocks/>
          </p:cNvSpPr>
          <p:nvPr/>
        </p:nvSpPr>
        <p:spPr>
          <a:xfrm>
            <a:off x="838200" y="723207"/>
            <a:ext cx="10515600" cy="60939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400" b="1" i="0" u="none" strike="noStrike" kern="1200" cap="none" spc="0" normalizeH="0" baseline="0" noProof="0" dirty="0">
                <a:ln>
                  <a:noFill/>
                </a:ln>
                <a:solidFill>
                  <a:prstClr val="black"/>
                </a:solidFill>
                <a:effectLst/>
                <a:uLnTx/>
                <a:uFillTx/>
                <a:latin typeface="Open Sans" panose="020B0606030504020204"/>
                <a:ea typeface="+mj-ea"/>
                <a:cs typeface="+mj-cs"/>
              </a:rPr>
              <a:t>NJ COVID Vaccine Call Center</a:t>
            </a:r>
          </a:p>
        </p:txBody>
      </p:sp>
      <p:sp>
        <p:nvSpPr>
          <p:cNvPr id="163" name="TextBox 162">
            <a:extLst>
              <a:ext uri="{FF2B5EF4-FFF2-40B4-BE49-F238E27FC236}">
                <a16:creationId xmlns:a16="http://schemas.microsoft.com/office/drawing/2014/main" id="{2341FD10-51D4-4EE7-B710-BB62CD808E27}"/>
              </a:ext>
            </a:extLst>
          </p:cNvPr>
          <p:cNvSpPr txBox="1"/>
          <p:nvPr/>
        </p:nvSpPr>
        <p:spPr>
          <a:xfrm>
            <a:off x="635000" y="6492875"/>
            <a:ext cx="9954164" cy="152349"/>
          </a:xfrm>
          <a:prstGeom prst="rect">
            <a:avLst/>
          </a:prstGeom>
        </p:spPr>
        <p:txBody>
          <a:bodyPr vert="horz" wrap="square" lIns="0" tIns="0" rIns="0" bIns="0" rtlCol="0">
            <a:spAutoFit/>
          </a:bodyPr>
          <a:lstStyle>
            <a:lvl1pPr marL="228600" lvl="0" indent="-228600" defTabSz="914400">
              <a:lnSpc>
                <a:spcPct val="90000"/>
              </a:lnSpc>
              <a:spcBef>
                <a:spcPts val="1000"/>
              </a:spcBef>
              <a:buFont typeface="Arial" panose="020B0604020202020204" pitchFamily="34" charset="0"/>
              <a:buChar char="•"/>
              <a:defRPr sz="2800"/>
            </a:lvl1pPr>
            <a:lvl2pPr marL="685800" lvl="1" indent="-228600" defTabSz="914400">
              <a:lnSpc>
                <a:spcPct val="90000"/>
              </a:lnSpc>
              <a:spcBef>
                <a:spcPts val="500"/>
              </a:spcBef>
              <a:buFont typeface="Arial" panose="020B0604020202020204" pitchFamily="34" charset="0"/>
              <a:buChar char="•"/>
              <a:defRPr sz="2400"/>
            </a:lvl2pPr>
            <a:lvl3pPr marL="1143000" lvl="2" indent="-228600" defTabSz="914400">
              <a:lnSpc>
                <a:spcPct val="90000"/>
              </a:lnSpc>
              <a:spcBef>
                <a:spcPts val="500"/>
              </a:spcBef>
              <a:buFont typeface="Arial" panose="020B0604020202020204" pitchFamily="34" charset="0"/>
              <a:buChar char="•"/>
              <a:defRPr sz="2000"/>
            </a:lvl3pPr>
            <a:lvl4pPr marL="1600200" lvl="3" indent="-228600" defTabSz="914400">
              <a:lnSpc>
                <a:spcPct val="90000"/>
              </a:lnSpc>
              <a:spcBef>
                <a:spcPts val="500"/>
              </a:spcBef>
              <a:buFont typeface="Arial" panose="020B0604020202020204" pitchFamily="34" charset="0"/>
              <a:buChar char="•"/>
            </a:lvl4pPr>
            <a:lvl5pPr marL="2057400" lvl="4" indent="-228600" defTabSz="914400">
              <a:lnSpc>
                <a:spcPct val="90000"/>
              </a:lnSpc>
              <a:spcBef>
                <a:spcPts val="500"/>
              </a:spcBef>
              <a:buFont typeface="Arial" panose="020B0604020202020204" pitchFamily="34" charset="0"/>
              <a:buChar char="•"/>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
                <a:srgbClr val="FFFFFF"/>
              </a:buClr>
              <a:buSzTx/>
              <a:buFont typeface="Arial" panose="020B0604020202020204" pitchFamily="34" charset="0"/>
              <a:buNone/>
              <a:tabLst/>
              <a:defRPr/>
            </a:pPr>
            <a:r>
              <a:rPr kumimoji="0" lang="en-US" sz="1100" b="0" i="0" u="none" strike="noStrike" kern="1200" cap="none" spc="0" normalizeH="0" baseline="0" noProof="0" dirty="0">
                <a:ln>
                  <a:noFill/>
                </a:ln>
                <a:solidFill>
                  <a:prstClr val="white">
                    <a:lumMod val="85000"/>
                  </a:prstClr>
                </a:solidFill>
                <a:effectLst/>
                <a:uLnTx/>
                <a:uFillTx/>
                <a:latin typeface="Open Sans"/>
                <a:ea typeface="+mn-ea"/>
                <a:cs typeface="+mn-cs"/>
              </a:rPr>
              <a:t>Confidential, preliminary, pre-decisional, and deliberative.  Content is descriptive only and is not meant to constitute legal, clinical, or policy advice.</a:t>
            </a:r>
          </a:p>
        </p:txBody>
      </p:sp>
    </p:spTree>
    <p:extLst>
      <p:ext uri="{BB962C8B-B14F-4D97-AF65-F5344CB8AC3E}">
        <p14:creationId xmlns:p14="http://schemas.microsoft.com/office/powerpoint/2010/main" val="290129572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CE48E57-9717-4FE0-9205-ACBBE53D68C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4CE48E57-9717-4FE0-9205-ACBBE53D68C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Box 7">
            <a:extLst>
              <a:ext uri="{FF2B5EF4-FFF2-40B4-BE49-F238E27FC236}">
                <a16:creationId xmlns:a16="http://schemas.microsoft.com/office/drawing/2014/main" id="{2202AD7A-0F21-4C25-B280-E967489250F9}"/>
              </a:ext>
            </a:extLst>
          </p:cNvPr>
          <p:cNvSpPr txBox="1"/>
          <p:nvPr/>
        </p:nvSpPr>
        <p:spPr>
          <a:xfrm>
            <a:off x="2313297" y="386912"/>
            <a:ext cx="740740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prstClr val="black"/>
                </a:solidFill>
                <a:effectLst/>
                <a:uLnTx/>
                <a:uFillTx/>
                <a:latin typeface="Open Sans" panose="020B0606030504020204"/>
                <a:ea typeface="+mn-ea"/>
                <a:cs typeface="+mn-cs"/>
              </a:rPr>
              <a:t>covid19.nj.gov/vaccine</a:t>
            </a:r>
          </a:p>
        </p:txBody>
      </p:sp>
      <p:sp>
        <p:nvSpPr>
          <p:cNvPr id="13" name="TextBox 12">
            <a:extLst>
              <a:ext uri="{FF2B5EF4-FFF2-40B4-BE49-F238E27FC236}">
                <a16:creationId xmlns:a16="http://schemas.microsoft.com/office/drawing/2014/main" id="{41658EC7-E4FA-448F-9F42-8ABD9097D5D1}"/>
              </a:ext>
            </a:extLst>
          </p:cNvPr>
          <p:cNvSpPr txBox="1"/>
          <p:nvPr/>
        </p:nvSpPr>
        <p:spPr>
          <a:xfrm>
            <a:off x="635000" y="6492875"/>
            <a:ext cx="9954164" cy="152349"/>
          </a:xfrm>
          <a:prstGeom prst="rect">
            <a:avLst/>
          </a:prstGeom>
        </p:spPr>
        <p:txBody>
          <a:bodyPr vert="horz" wrap="square" lIns="0" tIns="0" rIns="0" bIns="0" rtlCol="0">
            <a:spAutoFit/>
          </a:bodyPr>
          <a:lstStyle>
            <a:lvl1pPr marL="228600" lvl="0" indent="-228600" defTabSz="914400">
              <a:lnSpc>
                <a:spcPct val="90000"/>
              </a:lnSpc>
              <a:spcBef>
                <a:spcPts val="1000"/>
              </a:spcBef>
              <a:buFont typeface="Arial" panose="020B0604020202020204" pitchFamily="34" charset="0"/>
              <a:buChar char="•"/>
              <a:defRPr sz="2800"/>
            </a:lvl1pPr>
            <a:lvl2pPr marL="685800" lvl="1" indent="-228600" defTabSz="914400">
              <a:lnSpc>
                <a:spcPct val="90000"/>
              </a:lnSpc>
              <a:spcBef>
                <a:spcPts val="500"/>
              </a:spcBef>
              <a:buFont typeface="Arial" panose="020B0604020202020204" pitchFamily="34" charset="0"/>
              <a:buChar char="•"/>
              <a:defRPr sz="2400"/>
            </a:lvl2pPr>
            <a:lvl3pPr marL="1143000" lvl="2" indent="-228600" defTabSz="914400">
              <a:lnSpc>
                <a:spcPct val="90000"/>
              </a:lnSpc>
              <a:spcBef>
                <a:spcPts val="500"/>
              </a:spcBef>
              <a:buFont typeface="Arial" panose="020B0604020202020204" pitchFamily="34" charset="0"/>
              <a:buChar char="•"/>
              <a:defRPr sz="2000"/>
            </a:lvl3pPr>
            <a:lvl4pPr marL="1600200" lvl="3" indent="-228600" defTabSz="914400">
              <a:lnSpc>
                <a:spcPct val="90000"/>
              </a:lnSpc>
              <a:spcBef>
                <a:spcPts val="500"/>
              </a:spcBef>
              <a:buFont typeface="Arial" panose="020B0604020202020204" pitchFamily="34" charset="0"/>
              <a:buChar char="•"/>
            </a:lvl4pPr>
            <a:lvl5pPr marL="2057400" lvl="4" indent="-228600" defTabSz="914400">
              <a:lnSpc>
                <a:spcPct val="90000"/>
              </a:lnSpc>
              <a:spcBef>
                <a:spcPts val="500"/>
              </a:spcBef>
              <a:buFont typeface="Arial" panose="020B0604020202020204" pitchFamily="34" charset="0"/>
              <a:buChar char="•"/>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
                <a:srgbClr val="FFFFFF"/>
              </a:buClr>
              <a:buSzTx/>
              <a:buFont typeface="Arial" panose="020B0604020202020204" pitchFamily="34" charset="0"/>
              <a:buNone/>
              <a:tabLst/>
              <a:defRPr/>
            </a:pPr>
            <a:r>
              <a:rPr kumimoji="0" lang="en-US" sz="1100" b="0" i="0" u="none" strike="noStrike" kern="1200" cap="none" spc="0" normalizeH="0" baseline="0" noProof="0" dirty="0">
                <a:ln>
                  <a:noFill/>
                </a:ln>
                <a:solidFill>
                  <a:prstClr val="white">
                    <a:lumMod val="85000"/>
                  </a:prstClr>
                </a:solidFill>
                <a:effectLst/>
                <a:uLnTx/>
                <a:uFillTx/>
                <a:latin typeface="Open Sans"/>
                <a:ea typeface="+mn-ea"/>
                <a:cs typeface="+mn-cs"/>
              </a:rPr>
              <a:t>Confidential, preliminary, pre-decisional, and deliberative.  Content is descriptive only and is not meant to constitute legal, clinical, or policy advice.</a:t>
            </a:r>
          </a:p>
        </p:txBody>
      </p:sp>
      <p:pic>
        <p:nvPicPr>
          <p:cNvPr id="2" name="Picture 1">
            <a:extLst>
              <a:ext uri="{FF2B5EF4-FFF2-40B4-BE49-F238E27FC236}">
                <a16:creationId xmlns:a16="http://schemas.microsoft.com/office/drawing/2014/main" id="{506AD257-BF55-494C-8A07-6FA08880F711}"/>
              </a:ext>
            </a:extLst>
          </p:cNvPr>
          <p:cNvPicPr>
            <a:picLocks noChangeAspect="1"/>
          </p:cNvPicPr>
          <p:nvPr/>
        </p:nvPicPr>
        <p:blipFill rotWithShape="1">
          <a:blip r:embed="rId6"/>
          <a:srcRect l="21082" t="17478" r="22973" b="8469"/>
          <a:stretch/>
        </p:blipFill>
        <p:spPr>
          <a:xfrm>
            <a:off x="2685535" y="1161535"/>
            <a:ext cx="6820930" cy="5078628"/>
          </a:xfrm>
          <a:prstGeom prst="rect">
            <a:avLst/>
          </a:prstGeom>
        </p:spPr>
      </p:pic>
    </p:spTree>
    <p:extLst>
      <p:ext uri="{BB962C8B-B14F-4D97-AF65-F5344CB8AC3E}">
        <p14:creationId xmlns:p14="http://schemas.microsoft.com/office/powerpoint/2010/main" val="21242066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23AC064-BC96-4F32-8AE1-B2FD3875482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96882" y="280374"/>
            <a:ext cx="11438793" cy="184425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E2B691B9-5FB1-4896-AADF-853AA121C2B6}"/>
              </a:ext>
            </a:extLst>
          </p:cNvPr>
          <p:cNvSpPr>
            <a:spLocks noGrp="1"/>
          </p:cNvSpPr>
          <p:nvPr>
            <p:ph type="title"/>
          </p:nvPr>
        </p:nvSpPr>
        <p:spPr>
          <a:xfrm>
            <a:off x="546351" y="433545"/>
            <a:ext cx="11139854" cy="930447"/>
          </a:xfrm>
        </p:spPr>
        <p:txBody>
          <a:bodyPr vert="horz" lIns="91440" tIns="45720" rIns="91440" bIns="45720" rtlCol="0" anchor="b">
            <a:normAutofit/>
          </a:bodyPr>
          <a:lstStyle/>
          <a:p>
            <a:pPr algn="ctr"/>
            <a:r>
              <a:rPr lang="en-US" sz="5400" dirty="0">
                <a:solidFill>
                  <a:srgbClr val="FFFFFF"/>
                </a:solidFill>
              </a:rPr>
              <a:t>Vaccination Rates in New Jersey</a:t>
            </a:r>
          </a:p>
        </p:txBody>
      </p:sp>
      <p:cxnSp>
        <p:nvCxnSpPr>
          <p:cNvPr id="14" name="Straight Connector 13">
            <a:extLst>
              <a:ext uri="{FF2B5EF4-FFF2-40B4-BE49-F238E27FC236}">
                <a16:creationId xmlns:a16="http://schemas.microsoft.com/office/drawing/2014/main" id="{7E7C77BC-7138-40B1-A15B-20F57A49462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230078" y="1522292"/>
            <a:ext cx="777240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B146403-F3D6-484B-B2ED-97F9565D037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6116278" y="2596836"/>
            <a:ext cx="0" cy="365760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2C38A630-83F7-45D7-B383-9EFF3AAB190B}"/>
              </a:ext>
            </a:extLst>
          </p:cNvPr>
          <p:cNvSpPr txBox="1"/>
          <p:nvPr/>
        </p:nvSpPr>
        <p:spPr>
          <a:xfrm>
            <a:off x="3227294" y="6466810"/>
            <a:ext cx="640277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hlinkClick r:id="rId3"/>
              </a:rPr>
              <a:t>https://www.nj.gov/health/cd/topics/covid2019_dashboard.shtml</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a:t>
            </a:r>
          </a:p>
        </p:txBody>
      </p:sp>
      <p:pic>
        <p:nvPicPr>
          <p:cNvPr id="5" name="Picture 4">
            <a:extLst>
              <a:ext uri="{FF2B5EF4-FFF2-40B4-BE49-F238E27FC236}">
                <a16:creationId xmlns:a16="http://schemas.microsoft.com/office/drawing/2014/main" id="{FF9D1897-0057-4C1A-86EE-EEF486AAE02E}"/>
              </a:ext>
            </a:extLst>
          </p:cNvPr>
          <p:cNvPicPr>
            <a:picLocks noChangeAspect="1"/>
          </p:cNvPicPr>
          <p:nvPr/>
        </p:nvPicPr>
        <p:blipFill>
          <a:blip r:embed="rId4"/>
          <a:stretch>
            <a:fillRect/>
          </a:stretch>
        </p:blipFill>
        <p:spPr>
          <a:xfrm>
            <a:off x="1680888" y="2585877"/>
            <a:ext cx="3424725" cy="3774746"/>
          </a:xfrm>
          <a:prstGeom prst="rect">
            <a:avLst/>
          </a:prstGeom>
        </p:spPr>
      </p:pic>
      <p:pic>
        <p:nvPicPr>
          <p:cNvPr id="7" name="Picture 6">
            <a:extLst>
              <a:ext uri="{FF2B5EF4-FFF2-40B4-BE49-F238E27FC236}">
                <a16:creationId xmlns:a16="http://schemas.microsoft.com/office/drawing/2014/main" id="{89550A98-69FA-4972-8796-6E9BE33BCD2F}"/>
              </a:ext>
            </a:extLst>
          </p:cNvPr>
          <p:cNvPicPr>
            <a:picLocks noChangeAspect="1"/>
          </p:cNvPicPr>
          <p:nvPr/>
        </p:nvPicPr>
        <p:blipFill>
          <a:blip r:embed="rId5"/>
          <a:stretch>
            <a:fillRect/>
          </a:stretch>
        </p:blipFill>
        <p:spPr>
          <a:xfrm>
            <a:off x="7126944" y="2588193"/>
            <a:ext cx="3734135" cy="3772430"/>
          </a:xfrm>
          <a:prstGeom prst="rect">
            <a:avLst/>
          </a:prstGeom>
        </p:spPr>
      </p:pic>
    </p:spTree>
    <p:extLst>
      <p:ext uri="{BB962C8B-B14F-4D97-AF65-F5344CB8AC3E}">
        <p14:creationId xmlns:p14="http://schemas.microsoft.com/office/powerpoint/2010/main" val="66897733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6" hidden="1">
            <a:extLst>
              <a:ext uri="{FF2B5EF4-FFF2-40B4-BE49-F238E27FC236}">
                <a16:creationId xmlns:a16="http://schemas.microsoft.com/office/drawing/2014/main" id="{183F45FA-719C-4BEA-9276-6459C3340F9C}"/>
              </a:ext>
            </a:extLst>
          </p:cNvPr>
          <p:cNvGraphicFramePr>
            <a:graphicFrameLocks noChangeAspect="1"/>
          </p:cNvGraphicFramePr>
          <p:nvPr>
            <p:custDataLst>
              <p:tags r:id="rId1"/>
            </p:custDataLst>
          </p:nvPr>
        </p:nvGraphicFramePr>
        <p:xfrm>
          <a:off x="1711" y="1621"/>
          <a:ext cx="1620" cy="1620"/>
        </p:xfrm>
        <a:graphic>
          <a:graphicData uri="http://schemas.openxmlformats.org/presentationml/2006/ole">
            <mc:AlternateContent xmlns:mc="http://schemas.openxmlformats.org/markup-compatibility/2006">
              <mc:Choice xmlns:v="urn:schemas-microsoft-com:vml" Requires="v">
                <p:oleObj name="think-cell Slide" r:id="rId7" imgW="395" imgH="394" progId="TCLayout.ActiveDocument.1">
                  <p:embed/>
                </p:oleObj>
              </mc:Choice>
              <mc:Fallback>
                <p:oleObj name="think-cell Slide" r:id="rId7" imgW="395" imgH="394" progId="TCLayout.ActiveDocument.1">
                  <p:embed/>
                  <p:pic>
                    <p:nvPicPr>
                      <p:cNvPr id="4" name="Object 6" hidden="1">
                        <a:extLst>
                          <a:ext uri="{FF2B5EF4-FFF2-40B4-BE49-F238E27FC236}">
                            <a16:creationId xmlns:a16="http://schemas.microsoft.com/office/drawing/2014/main" id="{183F45FA-719C-4BEA-9276-6459C3340F9C}"/>
                          </a:ext>
                        </a:extLst>
                      </p:cNvPr>
                      <p:cNvPicPr/>
                      <p:nvPr/>
                    </p:nvPicPr>
                    <p:blipFill>
                      <a:blip r:embed="rId8"/>
                      <a:stretch>
                        <a:fillRect/>
                      </a:stretch>
                    </p:blipFill>
                    <p:spPr>
                      <a:xfrm>
                        <a:off x="1711" y="1621"/>
                        <a:ext cx="1620" cy="1620"/>
                      </a:xfrm>
                      <a:prstGeom prst="rect">
                        <a:avLst/>
                      </a:prstGeom>
                    </p:spPr>
                  </p:pic>
                </p:oleObj>
              </mc:Fallback>
            </mc:AlternateContent>
          </a:graphicData>
        </a:graphic>
      </p:graphicFrame>
      <p:sp>
        <p:nvSpPr>
          <p:cNvPr id="5" name="Do not remove" hidden="1">
            <a:extLst>
              <a:ext uri="{FF2B5EF4-FFF2-40B4-BE49-F238E27FC236}">
                <a16:creationId xmlns:a16="http://schemas.microsoft.com/office/drawing/2014/main" id="{A436B038-0FA8-46AB-BBDC-3C4D43DBEFC7}"/>
              </a:ext>
            </a:extLst>
          </p:cNvPr>
          <p:cNvSpPr/>
          <p:nvPr>
            <p:custDataLst>
              <p:tags r:id="rId2"/>
            </p:custDataLst>
          </p:nvPr>
        </p:nvSpPr>
        <p:spPr>
          <a:xfrm>
            <a:off x="90" y="1"/>
            <a:ext cx="161974"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932962" fontAlgn="base">
              <a:spcBef>
                <a:spcPct val="0"/>
              </a:spcBef>
              <a:spcAft>
                <a:spcPct val="0"/>
              </a:spcAft>
              <a:defRPr/>
            </a:pPr>
            <a:endParaRPr lang="en-US" sz="2041" dirty="0" err="1">
              <a:solidFill>
                <a:srgbClr val="000000"/>
              </a:solidFill>
              <a:latin typeface="Arial" panose="020B0604020202020204" pitchFamily="34" charset="0"/>
              <a:sym typeface="Arial" panose="020B0604020202020204" pitchFamily="34" charset="0"/>
            </a:endParaRPr>
          </a:p>
        </p:txBody>
      </p:sp>
      <p:sp>
        <p:nvSpPr>
          <p:cNvPr id="3" name="Do not remove" hidden="1">
            <a:extLst>
              <a:ext uri="{FF2B5EF4-FFF2-40B4-BE49-F238E27FC236}">
                <a16:creationId xmlns:a16="http://schemas.microsoft.com/office/drawing/2014/main" id="{069BF8A1-578C-4984-B6DC-7A6F8D1AD3BF}"/>
              </a:ext>
            </a:extLst>
          </p:cNvPr>
          <p:cNvSpPr/>
          <p:nvPr>
            <p:custDataLst>
              <p:tags r:id="rId3"/>
            </p:custDataLst>
          </p:nvPr>
        </p:nvSpPr>
        <p:spPr>
          <a:xfrm>
            <a:off x="90" y="1"/>
            <a:ext cx="161974"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932962" fontAlgn="base">
              <a:spcBef>
                <a:spcPct val="0"/>
              </a:spcBef>
              <a:spcAft>
                <a:spcPct val="0"/>
              </a:spcAft>
              <a:defRPr/>
            </a:pPr>
            <a:endParaRPr lang="en-US" sz="2041" dirty="0" err="1">
              <a:solidFill>
                <a:srgbClr val="000000"/>
              </a:solidFill>
              <a:latin typeface="Arial" panose="020B0604020202020204" pitchFamily="34" charset="0"/>
              <a:sym typeface="Arial" panose="020B0604020202020204" pitchFamily="34" charset="0"/>
            </a:endParaRPr>
          </a:p>
        </p:txBody>
      </p:sp>
      <p:sp>
        <p:nvSpPr>
          <p:cNvPr id="2" name="2. Slide Title">
            <a:extLst>
              <a:ext uri="{FF2B5EF4-FFF2-40B4-BE49-F238E27FC236}">
                <a16:creationId xmlns:a16="http://schemas.microsoft.com/office/drawing/2014/main" id="{84B83216-8FF2-4BCC-8079-848132BD1C66}"/>
              </a:ext>
            </a:extLst>
          </p:cNvPr>
          <p:cNvSpPr>
            <a:spLocks noGrp="1"/>
          </p:cNvSpPr>
          <p:nvPr>
            <p:ph type="title"/>
          </p:nvPr>
        </p:nvSpPr>
        <p:spPr>
          <a:xfrm>
            <a:off x="161987" y="234865"/>
            <a:ext cx="11725484" cy="492443"/>
          </a:xfrm>
        </p:spPr>
        <p:txBody>
          <a:bodyPr vert="horz"/>
          <a:lstStyle/>
          <a:p>
            <a:r>
              <a:rPr lang="en-US" sz="3200" dirty="0"/>
              <a:t>Daily report on vaccination (as of 10pm 09/19/2021)</a:t>
            </a:r>
          </a:p>
        </p:txBody>
      </p:sp>
      <p:sp>
        <p:nvSpPr>
          <p:cNvPr id="65" name="TextBox 64">
            <a:extLst>
              <a:ext uri="{FF2B5EF4-FFF2-40B4-BE49-F238E27FC236}">
                <a16:creationId xmlns:a16="http://schemas.microsoft.com/office/drawing/2014/main" id="{67FC1A0D-71C4-48B3-8AEC-1DF8B4808A79}"/>
              </a:ext>
            </a:extLst>
          </p:cNvPr>
          <p:cNvSpPr txBox="1"/>
          <p:nvPr/>
        </p:nvSpPr>
        <p:spPr>
          <a:xfrm>
            <a:off x="166467" y="5761296"/>
            <a:ext cx="11662622" cy="640486"/>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defTabSz="913526" fontAlgn="base">
              <a:spcBef>
                <a:spcPct val="0"/>
              </a:spcBef>
              <a:spcAft>
                <a:spcPct val="0"/>
              </a:spcAft>
              <a:buClr>
                <a:srgbClr val="002960"/>
              </a:buClr>
              <a:defRPr/>
            </a:pPr>
            <a:r>
              <a:rPr lang="en-US" sz="816" dirty="0">
                <a:solidFill>
                  <a:srgbClr val="000000"/>
                </a:solidFill>
                <a:latin typeface="Arial"/>
              </a:rPr>
              <a:t>1. Additional/3rd doses administered –starting Aug-13 </a:t>
            </a:r>
          </a:p>
          <a:p>
            <a:pPr defTabSz="913526" fontAlgn="base">
              <a:spcBef>
                <a:spcPct val="0"/>
              </a:spcBef>
              <a:spcAft>
                <a:spcPct val="0"/>
              </a:spcAft>
              <a:buClr>
                <a:srgbClr val="002960"/>
              </a:buClr>
              <a:defRPr/>
            </a:pPr>
            <a:r>
              <a:rPr lang="en-US" sz="816" dirty="0">
                <a:solidFill>
                  <a:srgbClr val="000000"/>
                </a:solidFill>
                <a:latin typeface="Arial"/>
              </a:rPr>
              <a:t>2. The data may increase as more sites report. Note, the data was collected at 8AM on September 20</a:t>
            </a:r>
            <a:r>
              <a:rPr lang="en-US" sz="816" baseline="30000" dirty="0">
                <a:solidFill>
                  <a:srgbClr val="000000"/>
                </a:solidFill>
                <a:latin typeface="Arial"/>
              </a:rPr>
              <a:t>th </a:t>
            </a:r>
            <a:r>
              <a:rPr lang="en-US" sz="816" dirty="0">
                <a:solidFill>
                  <a:srgbClr val="000000"/>
                </a:solidFill>
                <a:latin typeface="Arial"/>
              </a:rPr>
              <a:t>and it is likely to be undercounting as electronic transmissions may occur during the late evening/early morning the next day</a:t>
            </a:r>
          </a:p>
          <a:p>
            <a:pPr defTabSz="913526" fontAlgn="base">
              <a:spcBef>
                <a:spcPct val="0"/>
              </a:spcBef>
              <a:spcAft>
                <a:spcPct val="0"/>
              </a:spcAft>
              <a:buClr>
                <a:srgbClr val="002960"/>
              </a:buClr>
              <a:defRPr/>
            </a:pPr>
            <a:r>
              <a:rPr lang="en-US" sz="816" dirty="0">
                <a:solidFill>
                  <a:srgbClr val="000000"/>
                </a:solidFill>
                <a:latin typeface="Arial"/>
              </a:rPr>
              <a:t>Note: Includes all individuals who were vaccinated within New Jersey (those who live work or study within New Jersey). Excludes vaccines administered through select federal programs (e.g., Bureau of Prisons, Veterans Health, Indian Health Service, and Department of Defense) as well as NJ residents vaccinated in other states </a:t>
            </a:r>
          </a:p>
          <a:p>
            <a:pPr defTabSz="913526" fontAlgn="base">
              <a:spcBef>
                <a:spcPct val="0"/>
              </a:spcBef>
              <a:spcAft>
                <a:spcPct val="0"/>
              </a:spcAft>
              <a:buClr>
                <a:srgbClr val="002960"/>
              </a:buClr>
              <a:defRPr/>
            </a:pPr>
            <a:r>
              <a:rPr lang="en-US" sz="816" dirty="0">
                <a:solidFill>
                  <a:srgbClr val="000000"/>
                </a:solidFill>
                <a:latin typeface="Arial"/>
              </a:rPr>
              <a:t>Source: NJIIS, </a:t>
            </a:r>
            <a:r>
              <a:rPr lang="en-US" sz="816" dirty="0" err="1">
                <a:solidFill>
                  <a:srgbClr val="000000"/>
                </a:solidFill>
                <a:latin typeface="Arial"/>
              </a:rPr>
              <a:t>Vtrcks</a:t>
            </a:r>
            <a:endParaRPr lang="en-US" sz="816" dirty="0">
              <a:solidFill>
                <a:srgbClr val="000000"/>
              </a:solidFill>
              <a:latin typeface="Arial"/>
            </a:endParaRPr>
          </a:p>
        </p:txBody>
      </p:sp>
      <p:sp>
        <p:nvSpPr>
          <p:cNvPr id="99" name="Oval 98">
            <a:extLst>
              <a:ext uri="{FF2B5EF4-FFF2-40B4-BE49-F238E27FC236}">
                <a16:creationId xmlns:a16="http://schemas.microsoft.com/office/drawing/2014/main" id="{382AEC95-6381-4CEA-9FB7-00257102230C}"/>
              </a:ext>
            </a:extLst>
          </p:cNvPr>
          <p:cNvSpPr/>
          <p:nvPr/>
        </p:nvSpPr>
        <p:spPr>
          <a:xfrm>
            <a:off x="762531" y="5313612"/>
            <a:ext cx="903118" cy="413034"/>
          </a:xfrm>
          <a:prstGeom prst="ellipse">
            <a:avLst/>
          </a:prstGeom>
          <a:solidFill>
            <a:srgbClr val="5C3C9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defTabSz="932962" fontAlgn="base">
              <a:spcBef>
                <a:spcPct val="0"/>
              </a:spcBef>
              <a:spcAft>
                <a:spcPct val="0"/>
              </a:spcAft>
              <a:defRPr/>
            </a:pPr>
            <a:r>
              <a:rPr lang="en-US" sz="1428">
                <a:solidFill>
                  <a:srgbClr val="FFFFFF"/>
                </a:solidFill>
                <a:latin typeface="Arial"/>
              </a:rPr>
              <a:t>0.1%</a:t>
            </a:r>
            <a:endParaRPr lang="en-US" sz="1428" dirty="0">
              <a:solidFill>
                <a:srgbClr val="FFFFFF"/>
              </a:solidFill>
              <a:latin typeface="Arial"/>
            </a:endParaRPr>
          </a:p>
        </p:txBody>
      </p:sp>
      <p:sp>
        <p:nvSpPr>
          <p:cNvPr id="105" name="Oval 104">
            <a:extLst>
              <a:ext uri="{FF2B5EF4-FFF2-40B4-BE49-F238E27FC236}">
                <a16:creationId xmlns:a16="http://schemas.microsoft.com/office/drawing/2014/main" id="{AE7B3638-58DF-4EBB-BEAD-0E3CA786145C}"/>
              </a:ext>
            </a:extLst>
          </p:cNvPr>
          <p:cNvSpPr/>
          <p:nvPr/>
        </p:nvSpPr>
        <p:spPr>
          <a:xfrm>
            <a:off x="1870976" y="5320618"/>
            <a:ext cx="903118" cy="413034"/>
          </a:xfrm>
          <a:prstGeom prst="ellipse">
            <a:avLst/>
          </a:prstGeom>
          <a:solidFill>
            <a:srgbClr val="5C3C9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defTabSz="932962" fontAlgn="base">
              <a:spcBef>
                <a:spcPct val="0"/>
              </a:spcBef>
              <a:spcAft>
                <a:spcPct val="0"/>
              </a:spcAft>
              <a:defRPr/>
            </a:pPr>
            <a:r>
              <a:rPr lang="en-US" sz="1428" dirty="0">
                <a:solidFill>
                  <a:srgbClr val="FFFFFF"/>
                </a:solidFill>
                <a:latin typeface="Arial"/>
              </a:rPr>
              <a:t>0.1%</a:t>
            </a:r>
          </a:p>
        </p:txBody>
      </p:sp>
      <p:sp>
        <p:nvSpPr>
          <p:cNvPr id="106" name="Oval 105">
            <a:extLst>
              <a:ext uri="{FF2B5EF4-FFF2-40B4-BE49-F238E27FC236}">
                <a16:creationId xmlns:a16="http://schemas.microsoft.com/office/drawing/2014/main" id="{1E3B0582-2831-4959-8996-DB38E44B939A}"/>
              </a:ext>
            </a:extLst>
          </p:cNvPr>
          <p:cNvSpPr/>
          <p:nvPr/>
        </p:nvSpPr>
        <p:spPr>
          <a:xfrm>
            <a:off x="2979421" y="5320618"/>
            <a:ext cx="903118" cy="413034"/>
          </a:xfrm>
          <a:prstGeom prst="ellipse">
            <a:avLst/>
          </a:prstGeom>
          <a:solidFill>
            <a:srgbClr val="5C3C9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defTabSz="932962" fontAlgn="base">
              <a:spcBef>
                <a:spcPct val="0"/>
              </a:spcBef>
              <a:spcAft>
                <a:spcPct val="0"/>
              </a:spcAft>
              <a:defRPr/>
            </a:pPr>
            <a:r>
              <a:rPr lang="en-US" sz="1428" dirty="0">
                <a:solidFill>
                  <a:srgbClr val="FFFFFF"/>
                </a:solidFill>
                <a:latin typeface="Arial"/>
              </a:rPr>
              <a:t>0.2%</a:t>
            </a:r>
          </a:p>
        </p:txBody>
      </p:sp>
      <p:sp>
        <p:nvSpPr>
          <p:cNvPr id="107" name="Oval 106">
            <a:extLst>
              <a:ext uri="{FF2B5EF4-FFF2-40B4-BE49-F238E27FC236}">
                <a16:creationId xmlns:a16="http://schemas.microsoft.com/office/drawing/2014/main" id="{EB922784-8BDE-441E-9FFB-1884E52C744D}"/>
              </a:ext>
            </a:extLst>
          </p:cNvPr>
          <p:cNvSpPr/>
          <p:nvPr/>
        </p:nvSpPr>
        <p:spPr>
          <a:xfrm>
            <a:off x="4087867" y="5320618"/>
            <a:ext cx="903118" cy="413034"/>
          </a:xfrm>
          <a:prstGeom prst="ellipse">
            <a:avLst/>
          </a:prstGeom>
          <a:solidFill>
            <a:srgbClr val="5C3C9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defTabSz="932962" fontAlgn="base">
              <a:spcBef>
                <a:spcPct val="0"/>
              </a:spcBef>
              <a:spcAft>
                <a:spcPct val="0"/>
              </a:spcAft>
              <a:defRPr/>
            </a:pPr>
            <a:r>
              <a:rPr lang="en-US" sz="1428" dirty="0">
                <a:solidFill>
                  <a:srgbClr val="FFFFFF"/>
                </a:solidFill>
                <a:latin typeface="Arial"/>
              </a:rPr>
              <a:t>0.4%</a:t>
            </a:r>
          </a:p>
        </p:txBody>
      </p:sp>
      <p:sp>
        <p:nvSpPr>
          <p:cNvPr id="108" name="Oval 107">
            <a:extLst>
              <a:ext uri="{FF2B5EF4-FFF2-40B4-BE49-F238E27FC236}">
                <a16:creationId xmlns:a16="http://schemas.microsoft.com/office/drawing/2014/main" id="{EAF49A99-C4E8-4D65-9D4A-54E9DB82BF4D}"/>
              </a:ext>
            </a:extLst>
          </p:cNvPr>
          <p:cNvSpPr/>
          <p:nvPr/>
        </p:nvSpPr>
        <p:spPr>
          <a:xfrm>
            <a:off x="5196312" y="5320618"/>
            <a:ext cx="903118" cy="413034"/>
          </a:xfrm>
          <a:prstGeom prst="ellipse">
            <a:avLst/>
          </a:prstGeom>
          <a:solidFill>
            <a:srgbClr val="5C3C9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defTabSz="932962" fontAlgn="base">
              <a:spcBef>
                <a:spcPct val="0"/>
              </a:spcBef>
              <a:spcAft>
                <a:spcPct val="0"/>
              </a:spcAft>
              <a:defRPr/>
            </a:pPr>
            <a:r>
              <a:rPr lang="en-US" sz="1428" dirty="0">
                <a:solidFill>
                  <a:srgbClr val="FFFFFF"/>
                </a:solidFill>
                <a:latin typeface="Arial"/>
              </a:rPr>
              <a:t>1.0%</a:t>
            </a:r>
          </a:p>
        </p:txBody>
      </p:sp>
      <p:sp>
        <p:nvSpPr>
          <p:cNvPr id="111" name="Oval 110">
            <a:extLst>
              <a:ext uri="{FF2B5EF4-FFF2-40B4-BE49-F238E27FC236}">
                <a16:creationId xmlns:a16="http://schemas.microsoft.com/office/drawing/2014/main" id="{9FF6A45A-A093-49D1-B51D-09929D629C75}"/>
              </a:ext>
            </a:extLst>
          </p:cNvPr>
          <p:cNvSpPr/>
          <p:nvPr/>
        </p:nvSpPr>
        <p:spPr>
          <a:xfrm>
            <a:off x="6304757" y="5320618"/>
            <a:ext cx="903118" cy="413034"/>
          </a:xfrm>
          <a:prstGeom prst="ellipse">
            <a:avLst/>
          </a:prstGeom>
          <a:solidFill>
            <a:srgbClr val="5C3C9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defTabSz="932962" fontAlgn="base">
              <a:spcBef>
                <a:spcPct val="0"/>
              </a:spcBef>
              <a:spcAft>
                <a:spcPct val="0"/>
              </a:spcAft>
              <a:defRPr/>
            </a:pPr>
            <a:r>
              <a:rPr lang="en-US" sz="1428" dirty="0">
                <a:solidFill>
                  <a:srgbClr val="FFFFFF"/>
                </a:solidFill>
                <a:latin typeface="Arial"/>
              </a:rPr>
              <a:t>3.0%</a:t>
            </a:r>
          </a:p>
        </p:txBody>
      </p:sp>
      <p:sp>
        <p:nvSpPr>
          <p:cNvPr id="112" name="Oval 111">
            <a:extLst>
              <a:ext uri="{FF2B5EF4-FFF2-40B4-BE49-F238E27FC236}">
                <a16:creationId xmlns:a16="http://schemas.microsoft.com/office/drawing/2014/main" id="{DE4DC855-7631-4C27-9CCC-FC2C7BB9849E}"/>
              </a:ext>
            </a:extLst>
          </p:cNvPr>
          <p:cNvSpPr/>
          <p:nvPr/>
        </p:nvSpPr>
        <p:spPr>
          <a:xfrm>
            <a:off x="7413202" y="5320618"/>
            <a:ext cx="903118" cy="413034"/>
          </a:xfrm>
          <a:prstGeom prst="ellipse">
            <a:avLst/>
          </a:prstGeom>
          <a:solidFill>
            <a:srgbClr val="5C3C9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defTabSz="932962" fontAlgn="base">
              <a:spcBef>
                <a:spcPct val="0"/>
              </a:spcBef>
              <a:spcAft>
                <a:spcPct val="0"/>
              </a:spcAft>
              <a:defRPr/>
            </a:pPr>
            <a:r>
              <a:rPr lang="en-US" sz="1428" dirty="0">
                <a:solidFill>
                  <a:srgbClr val="FFFFFF"/>
                </a:solidFill>
                <a:latin typeface="Arial"/>
              </a:rPr>
              <a:t>3.0%</a:t>
            </a:r>
          </a:p>
        </p:txBody>
      </p:sp>
      <p:sp>
        <p:nvSpPr>
          <p:cNvPr id="113" name="Oval 112">
            <a:extLst>
              <a:ext uri="{FF2B5EF4-FFF2-40B4-BE49-F238E27FC236}">
                <a16:creationId xmlns:a16="http://schemas.microsoft.com/office/drawing/2014/main" id="{5EB1378B-F16D-46DF-ABBA-B182C37B65D0}"/>
              </a:ext>
            </a:extLst>
          </p:cNvPr>
          <p:cNvSpPr/>
          <p:nvPr/>
        </p:nvSpPr>
        <p:spPr>
          <a:xfrm>
            <a:off x="8521648" y="5320618"/>
            <a:ext cx="903118" cy="413034"/>
          </a:xfrm>
          <a:prstGeom prst="ellipse">
            <a:avLst/>
          </a:prstGeom>
          <a:solidFill>
            <a:srgbClr val="5C3C9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defTabSz="932962" fontAlgn="base">
              <a:spcBef>
                <a:spcPct val="0"/>
              </a:spcBef>
              <a:spcAft>
                <a:spcPct val="0"/>
              </a:spcAft>
              <a:defRPr/>
            </a:pPr>
            <a:r>
              <a:rPr lang="en-US" sz="1428">
                <a:solidFill>
                  <a:srgbClr val="FFFFFF"/>
                </a:solidFill>
                <a:latin typeface="Arial"/>
              </a:rPr>
              <a:t>0.1%</a:t>
            </a:r>
            <a:endParaRPr lang="en-US" sz="1428" dirty="0">
              <a:solidFill>
                <a:srgbClr val="FFFFFF"/>
              </a:solidFill>
              <a:latin typeface="Arial"/>
            </a:endParaRPr>
          </a:p>
        </p:txBody>
      </p:sp>
      <p:sp>
        <p:nvSpPr>
          <p:cNvPr id="116" name="Oval 115">
            <a:extLst>
              <a:ext uri="{FF2B5EF4-FFF2-40B4-BE49-F238E27FC236}">
                <a16:creationId xmlns:a16="http://schemas.microsoft.com/office/drawing/2014/main" id="{CB3102ED-5FE2-474E-A3D6-6E5ADDBA8678}"/>
              </a:ext>
            </a:extLst>
          </p:cNvPr>
          <p:cNvSpPr/>
          <p:nvPr/>
        </p:nvSpPr>
        <p:spPr>
          <a:xfrm>
            <a:off x="9630093" y="5320618"/>
            <a:ext cx="903118" cy="413034"/>
          </a:xfrm>
          <a:prstGeom prst="ellipse">
            <a:avLst/>
          </a:prstGeom>
          <a:solidFill>
            <a:srgbClr val="5C3C9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defTabSz="932962" fontAlgn="base">
              <a:spcBef>
                <a:spcPct val="0"/>
              </a:spcBef>
              <a:spcAft>
                <a:spcPct val="0"/>
              </a:spcAft>
              <a:defRPr/>
            </a:pPr>
            <a:r>
              <a:rPr lang="en-US" sz="1428" dirty="0">
                <a:solidFill>
                  <a:srgbClr val="FFFFFF"/>
                </a:solidFill>
                <a:latin typeface="Arial"/>
              </a:rPr>
              <a:t>0.3%</a:t>
            </a:r>
          </a:p>
        </p:txBody>
      </p:sp>
      <p:sp>
        <p:nvSpPr>
          <p:cNvPr id="119" name="Oval 118">
            <a:extLst>
              <a:ext uri="{FF2B5EF4-FFF2-40B4-BE49-F238E27FC236}">
                <a16:creationId xmlns:a16="http://schemas.microsoft.com/office/drawing/2014/main" id="{2449E2A9-025F-4300-9EDD-785641E5EB74}"/>
              </a:ext>
            </a:extLst>
          </p:cNvPr>
          <p:cNvSpPr/>
          <p:nvPr/>
        </p:nvSpPr>
        <p:spPr>
          <a:xfrm>
            <a:off x="10738539" y="5320618"/>
            <a:ext cx="903118" cy="413034"/>
          </a:xfrm>
          <a:prstGeom prst="ellipse">
            <a:avLst/>
          </a:prstGeom>
          <a:solidFill>
            <a:srgbClr val="5C3C9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defTabSz="932962" fontAlgn="base">
              <a:spcBef>
                <a:spcPct val="0"/>
              </a:spcBef>
              <a:spcAft>
                <a:spcPct val="0"/>
              </a:spcAft>
              <a:defRPr/>
            </a:pPr>
            <a:r>
              <a:rPr lang="en-US" sz="1428" dirty="0">
                <a:solidFill>
                  <a:srgbClr val="FFFFFF"/>
                </a:solidFill>
                <a:latin typeface="Arial"/>
              </a:rPr>
              <a:t>2.9%</a:t>
            </a:r>
          </a:p>
        </p:txBody>
      </p:sp>
      <p:grpSp>
        <p:nvGrpSpPr>
          <p:cNvPr id="18" name="Group 17">
            <a:extLst>
              <a:ext uri="{FF2B5EF4-FFF2-40B4-BE49-F238E27FC236}">
                <a16:creationId xmlns:a16="http://schemas.microsoft.com/office/drawing/2014/main" id="{B6A03255-DDF6-4421-BC53-0DF742EF6965}"/>
              </a:ext>
            </a:extLst>
          </p:cNvPr>
          <p:cNvGrpSpPr/>
          <p:nvPr/>
        </p:nvGrpSpPr>
        <p:grpSpPr>
          <a:xfrm>
            <a:off x="166468" y="744633"/>
            <a:ext cx="7688719" cy="4426867"/>
            <a:chOff x="162334" y="841382"/>
            <a:chExt cx="6260558" cy="4226600"/>
          </a:xfrm>
        </p:grpSpPr>
        <p:sp>
          <p:nvSpPr>
            <p:cNvPr id="11" name="TextBox 10">
              <a:extLst>
                <a:ext uri="{FF2B5EF4-FFF2-40B4-BE49-F238E27FC236}">
                  <a16:creationId xmlns:a16="http://schemas.microsoft.com/office/drawing/2014/main" id="{54F78C82-8411-456B-9019-20A46D69CF74}"/>
                </a:ext>
              </a:extLst>
            </p:cNvPr>
            <p:cNvSpPr txBox="1">
              <a:spLocks/>
            </p:cNvSpPr>
            <p:nvPr>
              <p:custDataLst>
                <p:tags r:id="rId4"/>
              </p:custDataLst>
            </p:nvPr>
          </p:nvSpPr>
          <p:spPr>
            <a:xfrm>
              <a:off x="212382" y="841382"/>
              <a:ext cx="6210510" cy="419100"/>
            </a:xfrm>
            <a:prstGeom prst="rect">
              <a:avLst/>
            </a:prstGeom>
            <a:solidFill>
              <a:schemeClr val="accent4"/>
            </a:solidFill>
          </p:spPr>
          <p:txBody>
            <a:bodyPr vert="horz" wrap="square" lIns="77748" tIns="77748" rIns="77748" bIns="77748" rtlCol="0" anchor="ctr">
              <a:no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algn="ctr" defTabSz="913526" fontAlgn="base">
                <a:spcBef>
                  <a:spcPct val="0"/>
                </a:spcBef>
                <a:spcAft>
                  <a:spcPct val="0"/>
                </a:spcAft>
                <a:buClr>
                  <a:srgbClr val="002960"/>
                </a:buClr>
                <a:defRPr/>
              </a:pPr>
              <a:r>
                <a:rPr lang="en-US" sz="1632" b="1" dirty="0">
                  <a:solidFill>
                    <a:srgbClr val="FFFFFF"/>
                  </a:solidFill>
                  <a:latin typeface="Arial"/>
                </a:rPr>
                <a:t>Initial vaccine courses by age category, % of total population</a:t>
              </a:r>
              <a:endParaRPr lang="en-US" sz="1632" b="1" baseline="30000" dirty="0">
                <a:solidFill>
                  <a:srgbClr val="FFFFFF"/>
                </a:solidFill>
                <a:latin typeface="Arial"/>
              </a:endParaRPr>
            </a:p>
          </p:txBody>
        </p:sp>
        <p:sp>
          <p:nvSpPr>
            <p:cNvPr id="70" name="TextBox 69">
              <a:extLst>
                <a:ext uri="{FF2B5EF4-FFF2-40B4-BE49-F238E27FC236}">
                  <a16:creationId xmlns:a16="http://schemas.microsoft.com/office/drawing/2014/main" id="{D254AFF8-2202-4497-9B19-24962624163D}"/>
                </a:ext>
              </a:extLst>
            </p:cNvPr>
            <p:cNvSpPr txBox="1">
              <a:spLocks/>
            </p:cNvSpPr>
            <p:nvPr>
              <p:custDataLst>
                <p:tags r:id="rId5"/>
              </p:custDataLst>
            </p:nvPr>
          </p:nvSpPr>
          <p:spPr>
            <a:xfrm>
              <a:off x="162334" y="4648882"/>
              <a:ext cx="6210510" cy="419100"/>
            </a:xfrm>
            <a:prstGeom prst="rect">
              <a:avLst/>
            </a:prstGeom>
            <a:solidFill>
              <a:schemeClr val="accent4"/>
            </a:solidFill>
          </p:spPr>
          <p:txBody>
            <a:bodyPr vert="horz" wrap="square" lIns="77748" tIns="77748" rIns="77748" bIns="77748" rtlCol="0" anchor="ctr">
              <a:no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algn="ctr" defTabSz="913526" fontAlgn="base">
                <a:spcBef>
                  <a:spcPct val="0"/>
                </a:spcBef>
                <a:spcAft>
                  <a:spcPct val="0"/>
                </a:spcAft>
                <a:buClr>
                  <a:srgbClr val="002960"/>
                </a:buClr>
                <a:defRPr/>
              </a:pPr>
              <a:r>
                <a:rPr lang="en-US" sz="1632" b="1" dirty="0">
                  <a:solidFill>
                    <a:srgbClr val="FFFFFF"/>
                  </a:solidFill>
                  <a:latin typeface="Arial"/>
                </a:rPr>
                <a:t>Additional vaccine dose by age category, % of completed initial course</a:t>
              </a:r>
              <a:r>
                <a:rPr lang="en-US" sz="1632" b="1" baseline="30000" dirty="0">
                  <a:solidFill>
                    <a:srgbClr val="FFFFFF"/>
                  </a:solidFill>
                  <a:latin typeface="Arial"/>
                </a:rPr>
                <a:t>1,2 </a:t>
              </a:r>
            </a:p>
          </p:txBody>
        </p:sp>
      </p:grpSp>
      <p:pic>
        <p:nvPicPr>
          <p:cNvPr id="8" name="Picture 7">
            <a:extLst>
              <a:ext uri="{FF2B5EF4-FFF2-40B4-BE49-F238E27FC236}">
                <a16:creationId xmlns:a16="http://schemas.microsoft.com/office/drawing/2014/main" id="{D6093571-2AEA-4378-A8BB-ECD1221D55F0}"/>
              </a:ext>
            </a:extLst>
          </p:cNvPr>
          <p:cNvPicPr>
            <a:picLocks noChangeAspect="1"/>
          </p:cNvPicPr>
          <p:nvPr/>
        </p:nvPicPr>
        <p:blipFill rotWithShape="1">
          <a:blip r:embed="rId9"/>
          <a:srcRect l="1693"/>
          <a:stretch/>
        </p:blipFill>
        <p:spPr>
          <a:xfrm>
            <a:off x="162065" y="1096372"/>
            <a:ext cx="11667023" cy="3618845"/>
          </a:xfrm>
          <a:prstGeom prst="rect">
            <a:avLst/>
          </a:prstGeom>
        </p:spPr>
      </p:pic>
    </p:spTree>
    <p:extLst>
      <p:ext uri="{BB962C8B-B14F-4D97-AF65-F5344CB8AC3E}">
        <p14:creationId xmlns:p14="http://schemas.microsoft.com/office/powerpoint/2010/main" val="112954304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Natural Versus Vaccine Immunity</a:t>
            </a:r>
          </a:p>
        </p:txBody>
      </p:sp>
      <p:sp>
        <p:nvSpPr>
          <p:cNvPr id="3" name="Content Placeholder 2"/>
          <p:cNvSpPr>
            <a:spLocks noGrp="1"/>
          </p:cNvSpPr>
          <p:nvPr>
            <p:ph idx="1"/>
          </p:nvPr>
        </p:nvSpPr>
        <p:spPr>
          <a:xfrm>
            <a:off x="838200" y="1690688"/>
            <a:ext cx="10515600" cy="4486275"/>
          </a:xfrm>
        </p:spPr>
        <p:txBody>
          <a:bodyPr/>
          <a:lstStyle/>
          <a:p>
            <a:r>
              <a:rPr lang="en-US" sz="3200" dirty="0"/>
              <a:t>More unknowns than known</a:t>
            </a:r>
          </a:p>
          <a:p>
            <a:r>
              <a:rPr lang="en-US" sz="3200" dirty="0"/>
              <a:t>Natural immunity seems solid for at least 3 months</a:t>
            </a:r>
          </a:p>
          <a:p>
            <a:r>
              <a:rPr lang="en-US" sz="3200" dirty="0"/>
              <a:t>Vaccine immunity seems even better</a:t>
            </a:r>
          </a:p>
          <a:p>
            <a:pPr lvl="1"/>
            <a:r>
              <a:rPr lang="en-US" sz="3200" dirty="0"/>
              <a:t>Trials with all 3 vaccines show protection at least 9 months</a:t>
            </a:r>
          </a:p>
          <a:p>
            <a:pPr lvl="1"/>
            <a:r>
              <a:rPr lang="en-US" sz="3200" dirty="0"/>
              <a:t>Immunity against the known variants is solid</a:t>
            </a:r>
          </a:p>
          <a:p>
            <a:r>
              <a:rPr lang="en-US" sz="3200" dirty="0"/>
              <a:t>Trials are underway to see if one dose is enough to boost natural immunity</a:t>
            </a:r>
          </a:p>
        </p:txBody>
      </p:sp>
      <p:sp>
        <p:nvSpPr>
          <p:cNvPr id="4" name="TextBox 3">
            <a:extLst>
              <a:ext uri="{FF2B5EF4-FFF2-40B4-BE49-F238E27FC236}">
                <a16:creationId xmlns:a16="http://schemas.microsoft.com/office/drawing/2014/main" id="{CC6642F9-7489-4FA4-AD4A-1373BACDE2AA}"/>
              </a:ext>
            </a:extLst>
          </p:cNvPr>
          <p:cNvSpPr txBox="1"/>
          <p:nvPr/>
        </p:nvSpPr>
        <p:spPr>
          <a:xfrm>
            <a:off x="2074460" y="6176963"/>
            <a:ext cx="6871881" cy="369332"/>
          </a:xfrm>
          <a:prstGeom prst="rect">
            <a:avLst/>
          </a:prstGeom>
          <a:noFill/>
        </p:spPr>
        <p:txBody>
          <a:bodyPr wrap="none" rtlCol="0">
            <a:spAutoFit/>
          </a:bodyPr>
          <a:lstStyle/>
          <a:p>
            <a:r>
              <a:rPr lang="en-US" dirty="0">
                <a:hlinkClick r:id="rId2"/>
              </a:rPr>
              <a:t>https://www.cdc.gov/vaccines/covid-19/hcp/answering-questions.html</a:t>
            </a:r>
            <a:r>
              <a:rPr lang="en-US" dirty="0"/>
              <a:t> </a:t>
            </a:r>
          </a:p>
        </p:txBody>
      </p:sp>
    </p:spTree>
    <p:extLst>
      <p:ext uri="{BB962C8B-B14F-4D97-AF65-F5344CB8AC3E}">
        <p14:creationId xmlns:p14="http://schemas.microsoft.com/office/powerpoint/2010/main" val="126998722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E5B9EE-64F1-4DF4-90EC-8F212BBBFBBA}"/>
              </a:ext>
            </a:extLst>
          </p:cNvPr>
          <p:cNvSpPr>
            <a:spLocks noGrp="1"/>
          </p:cNvSpPr>
          <p:nvPr>
            <p:ph type="title"/>
          </p:nvPr>
        </p:nvSpPr>
        <p:spPr>
          <a:xfrm>
            <a:off x="0" y="273281"/>
            <a:ext cx="10515600" cy="1325563"/>
          </a:xfrm>
        </p:spPr>
        <p:txBody>
          <a:bodyPr>
            <a:normAutofit/>
          </a:bodyPr>
          <a:lstStyle/>
          <a:p>
            <a:pPr algn="ctr"/>
            <a:r>
              <a:rPr lang="en-US" sz="6000" dirty="0"/>
              <a:t>Safety at School</a:t>
            </a:r>
          </a:p>
        </p:txBody>
      </p:sp>
      <p:sp>
        <p:nvSpPr>
          <p:cNvPr id="3" name="Content Placeholder 2">
            <a:extLst>
              <a:ext uri="{FF2B5EF4-FFF2-40B4-BE49-F238E27FC236}">
                <a16:creationId xmlns:a16="http://schemas.microsoft.com/office/drawing/2014/main" id="{DB6032B6-90BA-45B1-9FBF-1FF8C8412EA0}"/>
              </a:ext>
            </a:extLst>
          </p:cNvPr>
          <p:cNvSpPr>
            <a:spLocks noGrp="1"/>
          </p:cNvSpPr>
          <p:nvPr>
            <p:ph idx="1"/>
          </p:nvPr>
        </p:nvSpPr>
        <p:spPr>
          <a:xfrm>
            <a:off x="838199" y="1436726"/>
            <a:ext cx="10515600" cy="4486275"/>
          </a:xfrm>
        </p:spPr>
        <p:txBody>
          <a:bodyPr>
            <a:normAutofit/>
          </a:bodyPr>
          <a:lstStyle/>
          <a:p>
            <a:r>
              <a:rPr lang="en-US" sz="3600" dirty="0"/>
              <a:t>Masks for everyone while inside</a:t>
            </a:r>
          </a:p>
          <a:p>
            <a:r>
              <a:rPr lang="en-US" sz="3600" dirty="0"/>
              <a:t>Maintain 3 foot distance </a:t>
            </a:r>
          </a:p>
          <a:p>
            <a:r>
              <a:rPr lang="en-US" sz="3600" dirty="0"/>
              <a:t>Vaccines for all eligible people</a:t>
            </a:r>
          </a:p>
          <a:p>
            <a:r>
              <a:rPr lang="en-US" sz="3600" dirty="0"/>
              <a:t>Cohort younger children</a:t>
            </a:r>
          </a:p>
          <a:p>
            <a:r>
              <a:rPr lang="en-US" sz="3600" dirty="0"/>
              <a:t>Contact tracing</a:t>
            </a:r>
          </a:p>
          <a:p>
            <a:r>
              <a:rPr lang="en-US" sz="3600" dirty="0"/>
              <a:t>Isolation for infected people</a:t>
            </a:r>
          </a:p>
          <a:p>
            <a:r>
              <a:rPr lang="en-US" sz="3600" dirty="0"/>
              <a:t>Quarantine for unvaccinated close contacts</a:t>
            </a:r>
          </a:p>
        </p:txBody>
      </p:sp>
      <p:pic>
        <p:nvPicPr>
          <p:cNvPr id="5" name="Picture 4">
            <a:extLst>
              <a:ext uri="{FF2B5EF4-FFF2-40B4-BE49-F238E27FC236}">
                <a16:creationId xmlns:a16="http://schemas.microsoft.com/office/drawing/2014/main" id="{25B43725-5677-47D6-8D90-CDC6DAE2AC49}"/>
              </a:ext>
            </a:extLst>
          </p:cNvPr>
          <p:cNvPicPr>
            <a:picLocks noChangeAspect="1"/>
          </p:cNvPicPr>
          <p:nvPr/>
        </p:nvPicPr>
        <p:blipFill>
          <a:blip r:embed="rId3"/>
          <a:stretch>
            <a:fillRect/>
          </a:stretch>
        </p:blipFill>
        <p:spPr>
          <a:xfrm>
            <a:off x="8737479" y="735758"/>
            <a:ext cx="3143412" cy="2095608"/>
          </a:xfrm>
          <a:prstGeom prst="rect">
            <a:avLst/>
          </a:prstGeom>
        </p:spPr>
      </p:pic>
      <p:pic>
        <p:nvPicPr>
          <p:cNvPr id="9" name="Picture 8">
            <a:extLst>
              <a:ext uri="{FF2B5EF4-FFF2-40B4-BE49-F238E27FC236}">
                <a16:creationId xmlns:a16="http://schemas.microsoft.com/office/drawing/2014/main" id="{E1C01138-E2AD-42FE-A647-EB21BCD58D7D}"/>
              </a:ext>
            </a:extLst>
          </p:cNvPr>
          <p:cNvPicPr>
            <a:picLocks noChangeAspect="1"/>
          </p:cNvPicPr>
          <p:nvPr/>
        </p:nvPicPr>
        <p:blipFill rotWithShape="1">
          <a:blip r:embed="rId4"/>
          <a:srcRect l="17544"/>
          <a:stretch/>
        </p:blipFill>
        <p:spPr>
          <a:xfrm>
            <a:off x="8072823" y="2928028"/>
            <a:ext cx="3808068" cy="2197213"/>
          </a:xfrm>
          <a:prstGeom prst="rect">
            <a:avLst/>
          </a:prstGeom>
        </p:spPr>
      </p:pic>
      <p:sp>
        <p:nvSpPr>
          <p:cNvPr id="4" name="TextBox 3">
            <a:extLst>
              <a:ext uri="{FF2B5EF4-FFF2-40B4-BE49-F238E27FC236}">
                <a16:creationId xmlns:a16="http://schemas.microsoft.com/office/drawing/2014/main" id="{0D7DA320-5875-4AA7-8986-AEC35151ECE4}"/>
              </a:ext>
            </a:extLst>
          </p:cNvPr>
          <p:cNvSpPr txBox="1"/>
          <p:nvPr/>
        </p:nvSpPr>
        <p:spPr>
          <a:xfrm>
            <a:off x="712377" y="5735237"/>
            <a:ext cx="10767243" cy="1200329"/>
          </a:xfrm>
          <a:prstGeom prst="rect">
            <a:avLst/>
          </a:prstGeom>
          <a:noFill/>
        </p:spPr>
        <p:txBody>
          <a:bodyPr wrap="square" rtlCol="0">
            <a:spAutoFit/>
          </a:bodyPr>
          <a:lstStyle/>
          <a:p>
            <a:r>
              <a:rPr lang="en-US" dirty="0">
                <a:hlinkClick r:id="rId5"/>
              </a:rPr>
              <a:t>https://www.cdc.gov/coronavirus/2019-ncov/community/schools-childcare/k-12-guidance.html</a:t>
            </a:r>
            <a:r>
              <a:rPr lang="en-US" dirty="0"/>
              <a:t> </a:t>
            </a:r>
            <a:r>
              <a:rPr lang="en-US" u="sng" dirty="0">
                <a:solidFill>
                  <a:schemeClr val="accent1"/>
                </a:solidFill>
              </a:rPr>
              <a:t>https://www.aap.org/en/pages/2019-novel-coronavirus-covid-19-infections/clinical-guidance/covid-19-planning-</a:t>
            </a:r>
          </a:p>
          <a:p>
            <a:r>
              <a:rPr lang="en-US" u="sng" dirty="0">
                <a:solidFill>
                  <a:schemeClr val="accent1"/>
                </a:solidFill>
              </a:rPr>
              <a:t>considerations-return-to-in-person-education-in-schools/ </a:t>
            </a:r>
          </a:p>
          <a:p>
            <a:endParaRPr lang="en-US" dirty="0"/>
          </a:p>
        </p:txBody>
      </p:sp>
    </p:spTree>
    <p:extLst>
      <p:ext uri="{BB962C8B-B14F-4D97-AF65-F5344CB8AC3E}">
        <p14:creationId xmlns:p14="http://schemas.microsoft.com/office/powerpoint/2010/main" val="4598543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E9F35D86-9CC6-41FA-ACFD-A5E0606DC5B2}"/>
              </a:ext>
            </a:extLst>
          </p:cNvPr>
          <p:cNvSpPr txBox="1">
            <a:spLocks/>
          </p:cNvSpPr>
          <p:nvPr/>
        </p:nvSpPr>
        <p:spPr>
          <a:xfrm>
            <a:off x="650534" y="537797"/>
            <a:ext cx="10515600" cy="144039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algn="l" defTabSz="914400" rtl="0" eaLnBrk="1" latinLnBrk="0" hangingPunct="1">
              <a:lnSpc>
                <a:spcPct val="90000"/>
              </a:lnSpc>
              <a:spcBef>
                <a:spcPct val="0"/>
              </a:spcBef>
              <a:buNone/>
              <a:defRPr sz="4400" kern="1200">
                <a:solidFill>
                  <a:schemeClr val="tx1"/>
                </a:solidFill>
                <a:latin typeface="Open Sans"/>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6000" b="0" i="0" u="none" strike="noStrike" kern="1200" cap="none" spc="0" normalizeH="0" baseline="0" noProof="0" dirty="0">
                <a:ln>
                  <a:noFill/>
                </a:ln>
                <a:solidFill>
                  <a:sysClr val="windowText" lastClr="000000"/>
                </a:solidFill>
                <a:effectLst/>
                <a:uLnTx/>
                <a:uFillTx/>
                <a:latin typeface="Open Sans"/>
                <a:ea typeface="+mj-ea"/>
                <a:cs typeface="+mj-cs"/>
              </a:rPr>
              <a:t>COVID-19</a:t>
            </a:r>
            <a:r>
              <a:rPr kumimoji="0" lang="en-US" sz="4400" b="0" i="0" u="none" strike="noStrike" kern="1200" cap="none" spc="0" normalizeH="0" baseline="0" noProof="0" dirty="0">
                <a:ln>
                  <a:noFill/>
                </a:ln>
                <a:solidFill>
                  <a:sysClr val="windowText" lastClr="000000"/>
                </a:solidFill>
                <a:effectLst/>
                <a:uLnTx/>
                <a:uFillTx/>
                <a:latin typeface="Open Sans"/>
                <a:ea typeface="+mj-ea"/>
                <a:cs typeface="+mj-cs"/>
              </a:rPr>
              <a:t>  </a:t>
            </a:r>
            <a:br>
              <a:rPr kumimoji="0" lang="en-US" sz="4400" b="0" i="0" u="none" strike="noStrike" kern="1200" cap="none" spc="0" normalizeH="0" baseline="0" noProof="0" dirty="0">
                <a:ln>
                  <a:noFill/>
                </a:ln>
                <a:solidFill>
                  <a:sysClr val="windowText" lastClr="000000"/>
                </a:solidFill>
                <a:effectLst/>
                <a:uLnTx/>
                <a:uFillTx/>
                <a:latin typeface="Open Sans"/>
                <a:ea typeface="+mj-ea"/>
                <a:cs typeface="+mj-cs"/>
              </a:rPr>
            </a:br>
            <a:endParaRPr kumimoji="0" lang="en-US" sz="4400" b="0" i="0" u="none" strike="noStrike" kern="1200" cap="none" spc="0" normalizeH="0" baseline="0" noProof="0" dirty="0">
              <a:ln>
                <a:noFill/>
              </a:ln>
              <a:solidFill>
                <a:sysClr val="windowText" lastClr="000000"/>
              </a:solidFill>
              <a:effectLst/>
              <a:uLnTx/>
              <a:uFillTx/>
              <a:latin typeface="Open Sans"/>
              <a:ea typeface="+mj-ea"/>
              <a:cs typeface="+mj-cs"/>
            </a:endParaRPr>
          </a:p>
        </p:txBody>
      </p:sp>
      <p:sp>
        <p:nvSpPr>
          <p:cNvPr id="7" name="TextBox 6">
            <a:extLst>
              <a:ext uri="{FF2B5EF4-FFF2-40B4-BE49-F238E27FC236}">
                <a16:creationId xmlns:a16="http://schemas.microsoft.com/office/drawing/2014/main" id="{330EDE39-13B3-4FC7-B0F9-460C1F1CE135}"/>
              </a:ext>
            </a:extLst>
          </p:cNvPr>
          <p:cNvSpPr txBox="1">
            <a:spLocks/>
          </p:cNvSpPr>
          <p:nvPr>
            <p:custDataLst>
              <p:tags r:id="rId1"/>
            </p:custDataLst>
          </p:nvPr>
        </p:nvSpPr>
        <p:spPr>
          <a:xfrm>
            <a:off x="650534" y="1742875"/>
            <a:ext cx="6866372" cy="443198"/>
          </a:xfrm>
          <a:prstGeom prst="rect">
            <a:avLst/>
          </a:prstGeom>
        </p:spPr>
        <p:txBody>
          <a:bodyPr vert="horz" wrap="square" lIns="0" tIns="0" rIns="0" bIns="0" rtlCol="0" anchor="t" anchorCtr="0">
            <a:spAutoFit/>
          </a:bodyPr>
          <a:lstStyle>
            <a:lvl1pPr marL="228600" lvl="0" indent="-228600">
              <a:lnSpc>
                <a:spcPct val="90000"/>
              </a:lnSpc>
              <a:spcBef>
                <a:spcPts val="1000"/>
              </a:spcBef>
              <a:buFont typeface="Arial" panose="020B0604020202020204" pitchFamily="34" charset="0"/>
              <a:buChar char="•"/>
              <a:defRPr sz="2800"/>
            </a:lvl1pPr>
            <a:lvl2pPr marL="685800" lvl="1" indent="-228600">
              <a:lnSpc>
                <a:spcPct val="90000"/>
              </a:lnSpc>
              <a:spcBef>
                <a:spcPts val="500"/>
              </a:spcBef>
              <a:buFont typeface="Arial" panose="020B0604020202020204" pitchFamily="34" charset="0"/>
              <a:buChar char="•"/>
              <a:defRPr sz="2400"/>
            </a:lvl2pPr>
            <a:lvl3pPr marL="1143000" lvl="2" indent="-228600">
              <a:lnSpc>
                <a:spcPct val="90000"/>
              </a:lnSpc>
              <a:spcBef>
                <a:spcPts val="500"/>
              </a:spcBef>
              <a:buFont typeface="Arial" panose="020B0604020202020204" pitchFamily="34" charset="0"/>
              <a:buChar char="•"/>
              <a:defRPr sz="2000"/>
            </a:lvl3pPr>
            <a:lvl4pPr marL="1600200" lvl="3" indent="-228600">
              <a:lnSpc>
                <a:spcPct val="90000"/>
              </a:lnSpc>
              <a:spcBef>
                <a:spcPts val="500"/>
              </a:spcBef>
              <a:buFont typeface="Arial" panose="020B0604020202020204" pitchFamily="34" charset="0"/>
              <a:buChar char="•"/>
            </a:lvl4pPr>
            <a:lvl5pPr marL="2057400" lvl="4"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spcBef>
                <a:spcPts val="1400"/>
              </a:spcBef>
              <a:buNone/>
            </a:pPr>
            <a:r>
              <a:rPr lang="en-US" sz="3200" dirty="0">
                <a:latin typeface="Open Sans"/>
              </a:rPr>
              <a:t>Disease caused by SARS-CoV-2</a:t>
            </a:r>
            <a:r>
              <a:rPr lang="en-US" sz="3200" b="1" dirty="0">
                <a:latin typeface="Open Sans"/>
              </a:rPr>
              <a:t> </a:t>
            </a:r>
            <a:endParaRPr lang="en-US" sz="3200" dirty="0">
              <a:latin typeface="Open Sans"/>
            </a:endParaRPr>
          </a:p>
        </p:txBody>
      </p:sp>
      <p:sp>
        <p:nvSpPr>
          <p:cNvPr id="8" name="Rectangle 7">
            <a:extLst>
              <a:ext uri="{FF2B5EF4-FFF2-40B4-BE49-F238E27FC236}">
                <a16:creationId xmlns:a16="http://schemas.microsoft.com/office/drawing/2014/main" id="{271FE9AA-FE7D-4846-8CB3-009AAB051FD5}"/>
              </a:ext>
            </a:extLst>
          </p:cNvPr>
          <p:cNvSpPr>
            <a:spLocks/>
          </p:cNvSpPr>
          <p:nvPr/>
        </p:nvSpPr>
        <p:spPr>
          <a:xfrm>
            <a:off x="643257" y="2758159"/>
            <a:ext cx="5562007" cy="492443"/>
          </a:xfrm>
          <a:prstGeom prst="rect">
            <a:avLst/>
          </a:prstGeom>
        </p:spPr>
        <p:txBody>
          <a:bodyPr wrap="square" lIns="0" tIns="0" rIns="0" bIns="0">
            <a:spAutoFit/>
          </a:bodyPr>
          <a:lstStyle/>
          <a:p>
            <a:pPr>
              <a:spcBef>
                <a:spcPts val="1400"/>
              </a:spcBef>
            </a:pPr>
            <a:r>
              <a:rPr lang="en-US" sz="3200" dirty="0">
                <a:latin typeface="Open Sans"/>
              </a:rPr>
              <a:t>Spread primarily by droplets</a:t>
            </a:r>
          </a:p>
        </p:txBody>
      </p:sp>
      <p:sp>
        <p:nvSpPr>
          <p:cNvPr id="9" name="Rectangle 8">
            <a:extLst>
              <a:ext uri="{FF2B5EF4-FFF2-40B4-BE49-F238E27FC236}">
                <a16:creationId xmlns:a16="http://schemas.microsoft.com/office/drawing/2014/main" id="{29E59FF5-1257-4C2C-8FB4-83FFD57823DB}"/>
              </a:ext>
            </a:extLst>
          </p:cNvPr>
          <p:cNvSpPr>
            <a:spLocks/>
          </p:cNvSpPr>
          <p:nvPr/>
        </p:nvSpPr>
        <p:spPr>
          <a:xfrm>
            <a:off x="643257" y="3642498"/>
            <a:ext cx="5291666" cy="369332"/>
          </a:xfrm>
          <a:prstGeom prst="rect">
            <a:avLst/>
          </a:prstGeom>
        </p:spPr>
        <p:txBody>
          <a:bodyPr wrap="square" lIns="0" tIns="0" rIns="0" bIns="0">
            <a:spAutoFit/>
          </a:bodyPr>
          <a:lstStyle/>
          <a:p>
            <a:pPr>
              <a:spcBef>
                <a:spcPts val="1400"/>
              </a:spcBef>
            </a:pPr>
            <a:endParaRPr lang="en-US" sz="2400" b="1" dirty="0">
              <a:latin typeface="Open Sans"/>
            </a:endParaRPr>
          </a:p>
        </p:txBody>
      </p:sp>
      <p:sp>
        <p:nvSpPr>
          <p:cNvPr id="10" name="5. Source">
            <a:extLst>
              <a:ext uri="{FF2B5EF4-FFF2-40B4-BE49-F238E27FC236}">
                <a16:creationId xmlns:a16="http://schemas.microsoft.com/office/drawing/2014/main" id="{702F3B0E-0F6F-4200-888F-1BBB025A6303}"/>
              </a:ext>
            </a:extLst>
          </p:cNvPr>
          <p:cNvSpPr txBox="1">
            <a:spLocks/>
          </p:cNvSpPr>
          <p:nvPr>
            <p:custDataLst>
              <p:tags r:id="rId2"/>
            </p:custDataLst>
          </p:nvPr>
        </p:nvSpPr>
        <p:spPr>
          <a:xfrm>
            <a:off x="1745915" y="6159842"/>
            <a:ext cx="7559450" cy="276999"/>
          </a:xfrm>
          <a:prstGeom prst="rect">
            <a:avLst/>
          </a:prstGeom>
          <a:noFill/>
        </p:spPr>
        <p:txBody>
          <a:bodyPr vert="horz" wrap="square" lIns="0" tIns="0" rIns="0" bIns="0" rtlCol="0" anchor="b" anchorCtr="0">
            <a:spAutoFit/>
          </a:bodyPr>
          <a:lstStyle/>
          <a:p>
            <a:r>
              <a:rPr lang="fr-FR" b="1" dirty="0">
                <a:latin typeface="Open Sans"/>
              </a:rPr>
              <a:t> </a:t>
            </a:r>
            <a:r>
              <a:rPr lang="fr-FR" dirty="0">
                <a:latin typeface="Open Sans"/>
                <a:hlinkClick r:id="rId4"/>
              </a:rPr>
              <a:t>https://www.cdc.gov/coronavirus/2019cov/transmission/index.html</a:t>
            </a:r>
            <a:r>
              <a:rPr lang="fr-FR" dirty="0">
                <a:latin typeface="Open Sans"/>
              </a:rPr>
              <a:t> </a:t>
            </a:r>
            <a:endParaRPr lang="en-US" dirty="0">
              <a:latin typeface="Open Sans"/>
            </a:endParaRPr>
          </a:p>
        </p:txBody>
      </p:sp>
      <p:pic>
        <p:nvPicPr>
          <p:cNvPr id="12" name="Picture 11">
            <a:extLst>
              <a:ext uri="{FF2B5EF4-FFF2-40B4-BE49-F238E27FC236}">
                <a16:creationId xmlns:a16="http://schemas.microsoft.com/office/drawing/2014/main" id="{5397AE96-3A5F-499C-8AD9-8FB71189482B}"/>
              </a:ext>
            </a:extLst>
          </p:cNvPr>
          <p:cNvPicPr>
            <a:picLocks noChangeAspect="1"/>
          </p:cNvPicPr>
          <p:nvPr/>
        </p:nvPicPr>
        <p:blipFill>
          <a:blip r:embed="rId5"/>
          <a:stretch>
            <a:fillRect/>
          </a:stretch>
        </p:blipFill>
        <p:spPr>
          <a:xfrm>
            <a:off x="6500585" y="1290918"/>
            <a:ext cx="5299619" cy="4905504"/>
          </a:xfrm>
          <a:prstGeom prst="rect">
            <a:avLst/>
          </a:prstGeom>
        </p:spPr>
      </p:pic>
      <p:sp>
        <p:nvSpPr>
          <p:cNvPr id="11" name="Rectangle 10">
            <a:extLst>
              <a:ext uri="{FF2B5EF4-FFF2-40B4-BE49-F238E27FC236}">
                <a16:creationId xmlns:a16="http://schemas.microsoft.com/office/drawing/2014/main" id="{6C45423A-4B19-4A42-807F-7D3F343E34A6}"/>
              </a:ext>
            </a:extLst>
          </p:cNvPr>
          <p:cNvSpPr>
            <a:spLocks/>
          </p:cNvSpPr>
          <p:nvPr/>
        </p:nvSpPr>
        <p:spPr>
          <a:xfrm>
            <a:off x="695072" y="3951577"/>
            <a:ext cx="5562007" cy="984885"/>
          </a:xfrm>
          <a:prstGeom prst="rect">
            <a:avLst/>
          </a:prstGeom>
        </p:spPr>
        <p:txBody>
          <a:bodyPr wrap="square" lIns="0" tIns="0" rIns="0" bIns="0">
            <a:spAutoFit/>
          </a:bodyPr>
          <a:lstStyle/>
          <a:p>
            <a:pPr>
              <a:spcBef>
                <a:spcPts val="1400"/>
              </a:spcBef>
            </a:pPr>
            <a:r>
              <a:rPr lang="en-US" sz="3200" dirty="0">
                <a:latin typeface="Open Sans"/>
              </a:rPr>
              <a:t>Most droplets fall to the ground within 3 to 6 feet</a:t>
            </a:r>
          </a:p>
        </p:txBody>
      </p:sp>
    </p:spTree>
    <p:extLst>
      <p:ext uri="{BB962C8B-B14F-4D97-AF65-F5344CB8AC3E}">
        <p14:creationId xmlns:p14="http://schemas.microsoft.com/office/powerpoint/2010/main" val="316220160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A31AFD9-64D9-4D79-846C-862A566BE45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6" progId="TCLayout.ActiveDocument.1">
                  <p:embed/>
                </p:oleObj>
              </mc:Choice>
              <mc:Fallback>
                <p:oleObj name="think-cell Slide" r:id="rId5" imgW="473" imgH="476" progId="TCLayout.ActiveDocument.1">
                  <p:embed/>
                  <p:pic>
                    <p:nvPicPr>
                      <p:cNvPr id="7" name="Object 6" hidden="1">
                        <a:extLst>
                          <a:ext uri="{FF2B5EF4-FFF2-40B4-BE49-F238E27FC236}">
                            <a16:creationId xmlns:a16="http://schemas.microsoft.com/office/drawing/2014/main" id="{3A31AFD9-64D9-4D79-846C-862A566BE45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0CAC996E-646F-4525-9963-4F8C3B1F6E58}"/>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0" normalizeH="0" baseline="0" noProof="0" dirty="0">
              <a:ln>
                <a:noFill/>
              </a:ln>
              <a:solidFill>
                <a:prstClr val="white"/>
              </a:solidFill>
              <a:effectLst/>
              <a:uLnTx/>
              <a:uFillTx/>
              <a:latin typeface="Open Sans" panose="020B0606030504020204"/>
              <a:ea typeface="+mn-ea"/>
              <a:cs typeface="+mn-cs"/>
              <a:sym typeface="Open Sans" panose="020B0606030504020204"/>
            </a:endParaRPr>
          </a:p>
        </p:txBody>
      </p:sp>
      <p:sp>
        <p:nvSpPr>
          <p:cNvPr id="158" name="Rectangle 157">
            <a:extLst>
              <a:ext uri="{FF2B5EF4-FFF2-40B4-BE49-F238E27FC236}">
                <a16:creationId xmlns:a16="http://schemas.microsoft.com/office/drawing/2014/main" id="{702A6C54-0E83-4758-BB4B-35D8E3B9ABC8}"/>
              </a:ext>
            </a:extLst>
          </p:cNvPr>
          <p:cNvSpPr>
            <a:spLocks/>
          </p:cNvSpPr>
          <p:nvPr/>
        </p:nvSpPr>
        <p:spPr>
          <a:xfrm>
            <a:off x="7960441" y="4587575"/>
            <a:ext cx="3862901" cy="3693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Open Sans"/>
                <a:ea typeface="+mn-ea"/>
                <a:cs typeface="+mn-cs"/>
              </a:rPr>
              <a:t>#LetsGetNJVaccinated</a:t>
            </a:r>
          </a:p>
        </p:txBody>
      </p:sp>
      <p:sp>
        <p:nvSpPr>
          <p:cNvPr id="161" name="Rectangle 160">
            <a:extLst>
              <a:ext uri="{FF2B5EF4-FFF2-40B4-BE49-F238E27FC236}">
                <a16:creationId xmlns:a16="http://schemas.microsoft.com/office/drawing/2014/main" id="{35110E77-F616-4E76-A310-8FF22E4F3E10}"/>
              </a:ext>
            </a:extLst>
          </p:cNvPr>
          <p:cNvSpPr>
            <a:spLocks/>
          </p:cNvSpPr>
          <p:nvPr/>
        </p:nvSpPr>
        <p:spPr>
          <a:xfrm>
            <a:off x="7960441" y="3911285"/>
            <a:ext cx="3862901" cy="3693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Open Sans"/>
                <a:ea typeface="+mn-ea"/>
                <a:cs typeface="+mn-cs"/>
              </a:rPr>
              <a:t>#VaccinesWork</a:t>
            </a:r>
          </a:p>
        </p:txBody>
      </p:sp>
      <p:sp>
        <p:nvSpPr>
          <p:cNvPr id="12" name="Rectangle 11">
            <a:extLst>
              <a:ext uri="{FF2B5EF4-FFF2-40B4-BE49-F238E27FC236}">
                <a16:creationId xmlns:a16="http://schemas.microsoft.com/office/drawing/2014/main" id="{664390D4-0E9A-4891-A242-5CF1A97DB255}"/>
              </a:ext>
            </a:extLst>
          </p:cNvPr>
          <p:cNvSpPr/>
          <p:nvPr/>
        </p:nvSpPr>
        <p:spPr>
          <a:xfrm>
            <a:off x="1658952" y="1638642"/>
            <a:ext cx="4659093" cy="1477328"/>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black"/>
                </a:solidFill>
                <a:effectLst/>
                <a:uLnTx/>
                <a:uFillTx/>
                <a:latin typeface="Open Sans"/>
                <a:ea typeface="+mn-ea"/>
                <a:cs typeface="+mn-cs"/>
              </a:rPr>
              <a:t>The COVID-19 vaccine is </a:t>
            </a:r>
            <a:r>
              <a:rPr kumimoji="0" lang="en-US" sz="3200" b="1" i="0" u="none" strike="noStrike" kern="1200" cap="none" spc="0" normalizeH="0" baseline="0" noProof="0" dirty="0">
                <a:ln>
                  <a:noFill/>
                </a:ln>
                <a:solidFill>
                  <a:prstClr val="black"/>
                </a:solidFill>
                <a:effectLst/>
                <a:uLnTx/>
                <a:uFillTx/>
                <a:latin typeface="Open Sans"/>
                <a:ea typeface="+mn-ea"/>
                <a:cs typeface="+mn-cs"/>
              </a:rPr>
              <a:t>safe, effective, and free </a:t>
            </a:r>
            <a:br>
              <a:rPr kumimoji="0" lang="en-US" sz="3200" b="0" i="0" u="none" strike="noStrike" kern="1200" cap="none" spc="0" normalizeH="0" baseline="0" noProof="0" dirty="0">
                <a:ln>
                  <a:noFill/>
                </a:ln>
                <a:solidFill>
                  <a:prstClr val="black"/>
                </a:solidFill>
                <a:effectLst/>
                <a:uLnTx/>
                <a:uFillTx/>
                <a:latin typeface="Open Sans"/>
                <a:ea typeface="+mn-ea"/>
                <a:cs typeface="+mn-cs"/>
              </a:rPr>
            </a:br>
            <a:r>
              <a:rPr kumimoji="0" lang="en-US" sz="3200" b="0" i="0" u="sng" strike="noStrike" kern="1200" cap="none" spc="0" normalizeH="0" baseline="0" noProof="0" dirty="0">
                <a:ln>
                  <a:noFill/>
                </a:ln>
                <a:solidFill>
                  <a:prstClr val="black"/>
                </a:solidFill>
                <a:effectLst/>
                <a:uLnTx/>
                <a:uFillTx/>
                <a:latin typeface="Open Sans"/>
                <a:ea typeface="+mn-ea"/>
                <a:cs typeface="+mn-cs"/>
              </a:rPr>
              <a:t>for all</a:t>
            </a:r>
            <a:endParaRPr kumimoji="0" lang="en-US" sz="3200" b="0" i="0" u="none" strike="noStrike" kern="1200" cap="none" spc="0" normalizeH="0" baseline="0" noProof="0" dirty="0">
              <a:ln>
                <a:noFill/>
              </a:ln>
              <a:solidFill>
                <a:prstClr val="black"/>
              </a:solidFill>
              <a:effectLst/>
              <a:uLnTx/>
              <a:uFillTx/>
              <a:latin typeface="Open Sans"/>
              <a:ea typeface="+mn-ea"/>
              <a:cs typeface="+mn-cs"/>
            </a:endParaRPr>
          </a:p>
        </p:txBody>
      </p:sp>
      <p:sp>
        <p:nvSpPr>
          <p:cNvPr id="282" name="Speech Bubble: Rectangle 281">
            <a:extLst>
              <a:ext uri="{FF2B5EF4-FFF2-40B4-BE49-F238E27FC236}">
                <a16:creationId xmlns:a16="http://schemas.microsoft.com/office/drawing/2014/main" id="{2FE6369E-03E4-469C-9A07-7E083017A366}"/>
              </a:ext>
            </a:extLst>
          </p:cNvPr>
          <p:cNvSpPr/>
          <p:nvPr/>
        </p:nvSpPr>
        <p:spPr>
          <a:xfrm>
            <a:off x="960914" y="1060243"/>
            <a:ext cx="6341586" cy="5110069"/>
          </a:xfrm>
          <a:prstGeom prst="wedgeRectCallout">
            <a:avLst>
              <a:gd name="adj1" fmla="val 62973"/>
              <a:gd name="adj2" fmla="val -25503"/>
            </a:avLst>
          </a:prstGeom>
          <a:noFill/>
          <a:ln w="57150">
            <a:gradFill>
              <a:gsLst>
                <a:gs pos="0">
                  <a:schemeClr val="accent1"/>
                </a:gs>
                <a:gs pos="83000">
                  <a:schemeClr val="accent1">
                    <a:lumMod val="50000"/>
                  </a:schemeClr>
                </a:gs>
                <a:gs pos="100000">
                  <a:schemeClr val="accent6"/>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83" name="Rectangle 282">
            <a:extLst>
              <a:ext uri="{FF2B5EF4-FFF2-40B4-BE49-F238E27FC236}">
                <a16:creationId xmlns:a16="http://schemas.microsoft.com/office/drawing/2014/main" id="{0D038B43-A110-4A71-AF7D-1E9150AA9003}"/>
              </a:ext>
            </a:extLst>
          </p:cNvPr>
          <p:cNvSpPr>
            <a:spLocks/>
          </p:cNvSpPr>
          <p:nvPr/>
        </p:nvSpPr>
        <p:spPr>
          <a:xfrm>
            <a:off x="7960441" y="3234994"/>
            <a:ext cx="3862901" cy="3693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Open Sans"/>
                <a:ea typeface="+mn-ea"/>
                <a:cs typeface="+mn-cs"/>
              </a:rPr>
              <a:t>@NJDeptofHealth</a:t>
            </a:r>
          </a:p>
        </p:txBody>
      </p:sp>
      <p:pic>
        <p:nvPicPr>
          <p:cNvPr id="23651" name="Picture 99" descr="Resultado de imagen de instagram.com logo png black and white">
            <a:extLst>
              <a:ext uri="{FF2B5EF4-FFF2-40B4-BE49-F238E27FC236}">
                <a16:creationId xmlns:a16="http://schemas.microsoft.com/office/drawing/2014/main" id="{FECC3829-76CD-4AB0-8485-F613713723AC}"/>
              </a:ext>
            </a:extLst>
          </p:cNvPr>
          <p:cNvPicPr>
            <a:picLocks noChangeAspect="1" noChangeArrowheads="1"/>
          </p:cNvPicPr>
          <p:nvPr/>
        </p:nvPicPr>
        <p:blipFill>
          <a:blip r:embed="rId7" cstate="hqprint">
            <a:extLst>
              <a:ext uri="{28A0092B-C50C-407E-A947-70E740481C1C}">
                <a14:useLocalDpi xmlns:a14="http://schemas.microsoft.com/office/drawing/2010/main" val="0"/>
              </a:ext>
            </a:extLst>
          </a:blip>
          <a:srcRect/>
          <a:stretch>
            <a:fillRect/>
          </a:stretch>
        </p:blipFill>
        <p:spPr bwMode="auto">
          <a:xfrm>
            <a:off x="8429487" y="1822615"/>
            <a:ext cx="930467" cy="930467"/>
          </a:xfrm>
          <a:prstGeom prst="rect">
            <a:avLst/>
          </a:prstGeom>
          <a:noFill/>
          <a:extLst>
            <a:ext uri="{909E8E84-426E-40DD-AFC4-6F175D3DCCD1}">
              <a14:hiddenFill xmlns:a14="http://schemas.microsoft.com/office/drawing/2010/main">
                <a:solidFill>
                  <a:srgbClr val="FFFFFF"/>
                </a:solidFill>
              </a14:hiddenFill>
            </a:ext>
          </a:extLst>
        </p:spPr>
      </p:pic>
      <p:pic>
        <p:nvPicPr>
          <p:cNvPr id="23653" name="Picture 101" descr="Resultado de imagen de twitter  logo png black and white">
            <a:extLst>
              <a:ext uri="{FF2B5EF4-FFF2-40B4-BE49-F238E27FC236}">
                <a16:creationId xmlns:a16="http://schemas.microsoft.com/office/drawing/2014/main" id="{AA96AE31-4444-4F65-BCFD-E3A92E63302A}"/>
              </a:ext>
            </a:extLst>
          </p:cNvPr>
          <p:cNvPicPr>
            <a:picLocks noChangeAspect="1" noChangeArrowheads="1"/>
          </p:cNvPicPr>
          <p:nvPr/>
        </p:nvPicPr>
        <p:blipFill>
          <a:blip r:embed="rId8" cstate="hqprint">
            <a:extLst>
              <a:ext uri="{28A0092B-C50C-407E-A947-70E740481C1C}">
                <a14:useLocalDpi xmlns:a14="http://schemas.microsoft.com/office/drawing/2010/main" val="0"/>
              </a:ext>
            </a:extLst>
          </a:blip>
          <a:srcRect/>
          <a:stretch>
            <a:fillRect/>
          </a:stretch>
        </p:blipFill>
        <p:spPr bwMode="auto">
          <a:xfrm>
            <a:off x="9841240" y="1728151"/>
            <a:ext cx="1074099" cy="1074099"/>
          </a:xfrm>
          <a:prstGeom prst="rect">
            <a:avLst/>
          </a:prstGeom>
          <a:noFill/>
          <a:extLst>
            <a:ext uri="{909E8E84-426E-40DD-AFC4-6F175D3DCCD1}">
              <a14:hiddenFill xmlns:a14="http://schemas.microsoft.com/office/drawing/2010/main">
                <a:solidFill>
                  <a:srgbClr val="FFFFFF"/>
                </a:solidFill>
              </a14:hiddenFill>
            </a:ext>
          </a:extLst>
        </p:spPr>
      </p:pic>
      <p:pic>
        <p:nvPicPr>
          <p:cNvPr id="4" name="Graphic 3">
            <a:extLst>
              <a:ext uri="{FF2B5EF4-FFF2-40B4-BE49-F238E27FC236}">
                <a16:creationId xmlns:a16="http://schemas.microsoft.com/office/drawing/2014/main" id="{5373E0C4-254A-4915-B1E9-52F1DA9B197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4409" y="3254044"/>
            <a:ext cx="2187372" cy="2904543"/>
          </a:xfrm>
          <a:prstGeom prst="rect">
            <a:avLst/>
          </a:prstGeom>
        </p:spPr>
      </p:pic>
      <p:pic>
        <p:nvPicPr>
          <p:cNvPr id="5" name="Graphic 4">
            <a:extLst>
              <a:ext uri="{FF2B5EF4-FFF2-40B4-BE49-F238E27FC236}">
                <a16:creationId xmlns:a16="http://schemas.microsoft.com/office/drawing/2014/main" id="{94B8A552-814F-4183-AD09-D1C37B871F0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048540" y="3358298"/>
            <a:ext cx="1879559" cy="2819339"/>
          </a:xfrm>
          <a:prstGeom prst="rect">
            <a:avLst/>
          </a:prstGeom>
        </p:spPr>
      </p:pic>
      <p:grpSp>
        <p:nvGrpSpPr>
          <p:cNvPr id="11" name="Graphic 7">
            <a:extLst>
              <a:ext uri="{FF2B5EF4-FFF2-40B4-BE49-F238E27FC236}">
                <a16:creationId xmlns:a16="http://schemas.microsoft.com/office/drawing/2014/main" id="{51737E47-FDF1-426E-AE34-4A6B4EC0DBF5}"/>
              </a:ext>
            </a:extLst>
          </p:cNvPr>
          <p:cNvGrpSpPr/>
          <p:nvPr/>
        </p:nvGrpSpPr>
        <p:grpSpPr>
          <a:xfrm>
            <a:off x="3379171" y="3746372"/>
            <a:ext cx="1440512" cy="2412215"/>
            <a:chOff x="3093078" y="3547309"/>
            <a:chExt cx="1440512" cy="2412215"/>
          </a:xfrm>
          <a:solidFill>
            <a:schemeClr val="accent1"/>
          </a:solidFill>
        </p:grpSpPr>
        <p:sp>
          <p:nvSpPr>
            <p:cNvPr id="54" name="Freeform: Shape 53">
              <a:extLst>
                <a:ext uri="{FF2B5EF4-FFF2-40B4-BE49-F238E27FC236}">
                  <a16:creationId xmlns:a16="http://schemas.microsoft.com/office/drawing/2014/main" id="{6F5CF6AD-40DF-4827-96A0-8200DD1E943B}"/>
                </a:ext>
              </a:extLst>
            </p:cNvPr>
            <p:cNvSpPr/>
            <p:nvPr/>
          </p:nvSpPr>
          <p:spPr>
            <a:xfrm>
              <a:off x="4181595" y="5165368"/>
              <a:ext cx="351994" cy="794156"/>
            </a:xfrm>
            <a:custGeom>
              <a:avLst/>
              <a:gdLst>
                <a:gd name="connsiteX0" fmla="*/ 351994 w 351994"/>
                <a:gd name="connsiteY0" fmla="*/ 794156 h 794156"/>
                <a:gd name="connsiteX1" fmla="*/ 127195 w 351994"/>
                <a:gd name="connsiteY1" fmla="*/ 794156 h 794156"/>
                <a:gd name="connsiteX2" fmla="*/ 78548 w 351994"/>
                <a:gd name="connsiteY2" fmla="*/ 472218 h 794156"/>
                <a:gd name="connsiteX3" fmla="*/ 32690 w 351994"/>
                <a:gd name="connsiteY3" fmla="*/ 236884 h 794156"/>
                <a:gd name="connsiteX4" fmla="*/ 0 w 351994"/>
                <a:gd name="connsiteY4" fmla="*/ 36563 h 794156"/>
                <a:gd name="connsiteX5" fmla="*/ 111702 w 351994"/>
                <a:gd name="connsiteY5" fmla="*/ 13014 h 794156"/>
                <a:gd name="connsiteX6" fmla="*/ 176772 w 351994"/>
                <a:gd name="connsiteY6" fmla="*/ 9296 h 794156"/>
                <a:gd name="connsiteX7" fmla="*/ 275460 w 351994"/>
                <a:gd name="connsiteY7" fmla="*/ 0 h 794156"/>
                <a:gd name="connsiteX8" fmla="*/ 351994 w 351994"/>
                <a:gd name="connsiteY8" fmla="*/ 794156 h 794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1994" h="794156">
                  <a:moveTo>
                    <a:pt x="351994" y="794156"/>
                  </a:moveTo>
                  <a:lnTo>
                    <a:pt x="127195" y="794156"/>
                  </a:lnTo>
                  <a:cubicBezTo>
                    <a:pt x="105196" y="617694"/>
                    <a:pt x="89393" y="525048"/>
                    <a:pt x="78548" y="472218"/>
                  </a:cubicBezTo>
                  <a:cubicBezTo>
                    <a:pt x="76224" y="460288"/>
                    <a:pt x="37957" y="266010"/>
                    <a:pt x="32690" y="236884"/>
                  </a:cubicBezTo>
                  <a:cubicBezTo>
                    <a:pt x="17507" y="151519"/>
                    <a:pt x="6662" y="81647"/>
                    <a:pt x="0" y="36563"/>
                  </a:cubicBezTo>
                  <a:cubicBezTo>
                    <a:pt x="46323" y="21380"/>
                    <a:pt x="84745" y="15493"/>
                    <a:pt x="111702" y="13014"/>
                  </a:cubicBezTo>
                  <a:cubicBezTo>
                    <a:pt x="132927" y="11000"/>
                    <a:pt x="144547" y="11310"/>
                    <a:pt x="176772" y="9296"/>
                  </a:cubicBezTo>
                  <a:cubicBezTo>
                    <a:pt x="218912" y="6817"/>
                    <a:pt x="252841" y="2789"/>
                    <a:pt x="275460" y="0"/>
                  </a:cubicBezTo>
                  <a:cubicBezTo>
                    <a:pt x="293122" y="158490"/>
                    <a:pt x="343783" y="691440"/>
                    <a:pt x="351994" y="794156"/>
                  </a:cubicBezTo>
                  <a:close/>
                </a:path>
              </a:pathLst>
            </a:custGeom>
            <a:solidFill>
              <a:srgbClr val="C5996D"/>
            </a:solidFill>
            <a:ln w="154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2" name="Freeform: Shape 61">
              <a:extLst>
                <a:ext uri="{FF2B5EF4-FFF2-40B4-BE49-F238E27FC236}">
                  <a16:creationId xmlns:a16="http://schemas.microsoft.com/office/drawing/2014/main" id="{8A82154B-227C-4320-85E9-96B6DB9C1562}"/>
                </a:ext>
              </a:extLst>
            </p:cNvPr>
            <p:cNvSpPr/>
            <p:nvPr/>
          </p:nvSpPr>
          <p:spPr>
            <a:xfrm>
              <a:off x="3093078" y="5035385"/>
              <a:ext cx="362374" cy="924140"/>
            </a:xfrm>
            <a:custGeom>
              <a:avLst/>
              <a:gdLst>
                <a:gd name="connsiteX0" fmla="*/ 362374 w 362374"/>
                <a:gd name="connsiteY0" fmla="*/ 71266 h 924140"/>
                <a:gd name="connsiteX1" fmla="*/ 223095 w 362374"/>
                <a:gd name="connsiteY1" fmla="*/ 924140 h 924140"/>
                <a:gd name="connsiteX2" fmla="*/ 0 w 362374"/>
                <a:gd name="connsiteY2" fmla="*/ 924140 h 924140"/>
                <a:gd name="connsiteX3" fmla="*/ 76999 w 362374"/>
                <a:gd name="connsiteY3" fmla="*/ 305361 h 924140"/>
                <a:gd name="connsiteX4" fmla="*/ 98843 w 362374"/>
                <a:gd name="connsiteY4" fmla="*/ 0 h 924140"/>
                <a:gd name="connsiteX5" fmla="*/ 362374 w 362374"/>
                <a:gd name="connsiteY5" fmla="*/ 71266 h 924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2374" h="924140">
                  <a:moveTo>
                    <a:pt x="362374" y="71266"/>
                  </a:moveTo>
                  <a:cubicBezTo>
                    <a:pt x="356642" y="104731"/>
                    <a:pt x="262447" y="674243"/>
                    <a:pt x="223095" y="924140"/>
                  </a:cubicBezTo>
                  <a:lnTo>
                    <a:pt x="0" y="924140"/>
                  </a:lnTo>
                  <a:cubicBezTo>
                    <a:pt x="11000" y="847451"/>
                    <a:pt x="68168" y="397853"/>
                    <a:pt x="76999" y="305361"/>
                  </a:cubicBezTo>
                  <a:cubicBezTo>
                    <a:pt x="89083" y="178476"/>
                    <a:pt x="95435" y="73126"/>
                    <a:pt x="98843" y="0"/>
                  </a:cubicBezTo>
                  <a:cubicBezTo>
                    <a:pt x="186687" y="23704"/>
                    <a:pt x="274531" y="47563"/>
                    <a:pt x="362374" y="71266"/>
                  </a:cubicBezTo>
                  <a:close/>
                </a:path>
              </a:pathLst>
            </a:custGeom>
            <a:solidFill>
              <a:srgbClr val="C5996D"/>
            </a:solidFill>
            <a:ln w="154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160" name="Graphic 7">
              <a:extLst>
                <a:ext uri="{FF2B5EF4-FFF2-40B4-BE49-F238E27FC236}">
                  <a16:creationId xmlns:a16="http://schemas.microsoft.com/office/drawing/2014/main" id="{51737E47-FDF1-426E-AE34-4A6B4EC0DBF5}"/>
                </a:ext>
              </a:extLst>
            </p:cNvPr>
            <p:cNvGrpSpPr/>
            <p:nvPr/>
          </p:nvGrpSpPr>
          <p:grpSpPr>
            <a:xfrm>
              <a:off x="3125260" y="4356184"/>
              <a:ext cx="1406553" cy="1603340"/>
              <a:chOff x="3125260" y="4356184"/>
              <a:chExt cx="1406553" cy="1603340"/>
            </a:xfrm>
            <a:solidFill>
              <a:schemeClr val="accent1"/>
            </a:solidFill>
          </p:grpSpPr>
          <p:sp>
            <p:nvSpPr>
              <p:cNvPr id="239" name="Freeform: Shape 238">
                <a:extLst>
                  <a:ext uri="{FF2B5EF4-FFF2-40B4-BE49-F238E27FC236}">
                    <a16:creationId xmlns:a16="http://schemas.microsoft.com/office/drawing/2014/main" id="{32CB251C-281E-4FD1-88E6-0DCF839A2746}"/>
                  </a:ext>
                </a:extLst>
              </p:cNvPr>
              <p:cNvSpPr/>
              <p:nvPr/>
            </p:nvSpPr>
            <p:spPr>
              <a:xfrm>
                <a:off x="3125260" y="4356184"/>
                <a:ext cx="1406553" cy="1603340"/>
              </a:xfrm>
              <a:custGeom>
                <a:avLst/>
                <a:gdLst>
                  <a:gd name="connsiteX0" fmla="*/ 1396400 w 1406553"/>
                  <a:gd name="connsiteY0" fmla="*/ 785171 h 1603340"/>
                  <a:gd name="connsiteX1" fmla="*/ 1299880 w 1406553"/>
                  <a:gd name="connsiteY1" fmla="*/ 819409 h 1603340"/>
                  <a:gd name="connsiteX2" fmla="*/ 1215755 w 1406553"/>
                  <a:gd name="connsiteY2" fmla="*/ 835522 h 1603340"/>
                  <a:gd name="connsiteX3" fmla="*/ 1217924 w 1406553"/>
                  <a:gd name="connsiteY3" fmla="*/ 1603341 h 1603340"/>
                  <a:gd name="connsiteX4" fmla="*/ 175110 w 1406553"/>
                  <a:gd name="connsiteY4" fmla="*/ 1603341 h 1603340"/>
                  <a:gd name="connsiteX5" fmla="*/ 176349 w 1406553"/>
                  <a:gd name="connsiteY5" fmla="*/ 809804 h 1603340"/>
                  <a:gd name="connsiteX6" fmla="*/ 35520 w 1406553"/>
                  <a:gd name="connsiteY6" fmla="*/ 780678 h 1603340"/>
                  <a:gd name="connsiteX7" fmla="*/ 9338 w 1406553"/>
                  <a:gd name="connsiteY7" fmla="*/ 769368 h 1603340"/>
                  <a:gd name="connsiteX8" fmla="*/ 5774 w 1406553"/>
                  <a:gd name="connsiteY8" fmla="*/ 706158 h 1603340"/>
                  <a:gd name="connsiteX9" fmla="*/ 244827 w 1406553"/>
                  <a:gd name="connsiteY9" fmla="*/ 106280 h 1603340"/>
                  <a:gd name="connsiteX10" fmla="*/ 277671 w 1406553"/>
                  <a:gd name="connsiteY10" fmla="*/ 96829 h 1603340"/>
                  <a:gd name="connsiteX11" fmla="*/ 334065 w 1406553"/>
                  <a:gd name="connsiteY11" fmla="*/ 80717 h 1603340"/>
                  <a:gd name="connsiteX12" fmla="*/ 456767 w 1406553"/>
                  <a:gd name="connsiteY12" fmla="*/ 43999 h 1603340"/>
                  <a:gd name="connsiteX13" fmla="*/ 577146 w 1406553"/>
                  <a:gd name="connsiteY13" fmla="*/ 2014 h 1603340"/>
                  <a:gd name="connsiteX14" fmla="*/ 871662 w 1406553"/>
                  <a:gd name="connsiteY14" fmla="*/ 0 h 1603340"/>
                  <a:gd name="connsiteX15" fmla="*/ 991266 w 1406553"/>
                  <a:gd name="connsiteY15" fmla="*/ 62436 h 1603340"/>
                  <a:gd name="connsiteX16" fmla="*/ 1096771 w 1406553"/>
                  <a:gd name="connsiteY16" fmla="*/ 106125 h 1603340"/>
                  <a:gd name="connsiteX17" fmla="*/ 1202276 w 1406553"/>
                  <a:gd name="connsiteY17" fmla="*/ 144857 h 1603340"/>
                  <a:gd name="connsiteX18" fmla="*/ 1251388 w 1406553"/>
                  <a:gd name="connsiteY18" fmla="*/ 173518 h 1603340"/>
                  <a:gd name="connsiteX19" fmla="*/ 1309641 w 1406553"/>
                  <a:gd name="connsiteY19" fmla="*/ 274686 h 1603340"/>
                  <a:gd name="connsiteX20" fmla="*/ 1403837 w 1406553"/>
                  <a:gd name="connsiteY20" fmla="*/ 725679 h 1603340"/>
                  <a:gd name="connsiteX21" fmla="*/ 1396400 w 1406553"/>
                  <a:gd name="connsiteY21" fmla="*/ 785171 h 1603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406553" h="1603340">
                    <a:moveTo>
                      <a:pt x="1396400" y="785171"/>
                    </a:moveTo>
                    <a:cubicBezTo>
                      <a:pt x="1381527" y="804382"/>
                      <a:pt x="1351936" y="810889"/>
                      <a:pt x="1299880" y="819409"/>
                    </a:cubicBezTo>
                    <a:cubicBezTo>
                      <a:pt x="1253867" y="827001"/>
                      <a:pt x="1234036" y="832578"/>
                      <a:pt x="1215755" y="835522"/>
                    </a:cubicBezTo>
                    <a:cubicBezTo>
                      <a:pt x="1226910" y="1055673"/>
                      <a:pt x="1211882" y="1368006"/>
                      <a:pt x="1217924" y="1603341"/>
                    </a:cubicBezTo>
                    <a:lnTo>
                      <a:pt x="175110" y="1603341"/>
                    </a:lnTo>
                    <a:cubicBezTo>
                      <a:pt x="169687" y="1359641"/>
                      <a:pt x="186109" y="1038941"/>
                      <a:pt x="176349" y="809804"/>
                    </a:cubicBezTo>
                    <a:cubicBezTo>
                      <a:pt x="105238" y="794931"/>
                      <a:pt x="68675" y="785016"/>
                      <a:pt x="35520" y="780678"/>
                    </a:cubicBezTo>
                    <a:cubicBezTo>
                      <a:pt x="29943" y="779903"/>
                      <a:pt x="17859" y="778509"/>
                      <a:pt x="9338" y="769368"/>
                    </a:cubicBezTo>
                    <a:cubicBezTo>
                      <a:pt x="-7240" y="751396"/>
                      <a:pt x="2676" y="717622"/>
                      <a:pt x="5774" y="706158"/>
                    </a:cubicBezTo>
                    <a:cubicBezTo>
                      <a:pt x="53802" y="532020"/>
                      <a:pt x="79520" y="161124"/>
                      <a:pt x="244827" y="106280"/>
                    </a:cubicBezTo>
                    <a:cubicBezTo>
                      <a:pt x="250869" y="104266"/>
                      <a:pt x="256911" y="102717"/>
                      <a:pt x="277671" y="96829"/>
                    </a:cubicBezTo>
                    <a:cubicBezTo>
                      <a:pt x="300601" y="90322"/>
                      <a:pt x="326938" y="82731"/>
                      <a:pt x="334065" y="80717"/>
                    </a:cubicBezTo>
                    <a:cubicBezTo>
                      <a:pt x="360402" y="73126"/>
                      <a:pt x="409204" y="59182"/>
                      <a:pt x="456767" y="43999"/>
                    </a:cubicBezTo>
                    <a:cubicBezTo>
                      <a:pt x="486978" y="34394"/>
                      <a:pt x="528188" y="20605"/>
                      <a:pt x="577146" y="2014"/>
                    </a:cubicBezTo>
                    <a:cubicBezTo>
                      <a:pt x="675369" y="1239"/>
                      <a:pt x="773438" y="620"/>
                      <a:pt x="871662" y="0"/>
                    </a:cubicBezTo>
                    <a:cubicBezTo>
                      <a:pt x="919225" y="27887"/>
                      <a:pt x="960435" y="48337"/>
                      <a:pt x="991266" y="62436"/>
                    </a:cubicBezTo>
                    <a:cubicBezTo>
                      <a:pt x="1029223" y="79787"/>
                      <a:pt x="1056800" y="92491"/>
                      <a:pt x="1096771" y="106125"/>
                    </a:cubicBezTo>
                    <a:cubicBezTo>
                      <a:pt x="1137827" y="120069"/>
                      <a:pt x="1162615" y="125026"/>
                      <a:pt x="1202276" y="144857"/>
                    </a:cubicBezTo>
                    <a:cubicBezTo>
                      <a:pt x="1213431" y="149040"/>
                      <a:pt x="1232487" y="157406"/>
                      <a:pt x="1251388" y="173518"/>
                    </a:cubicBezTo>
                    <a:cubicBezTo>
                      <a:pt x="1291050" y="207293"/>
                      <a:pt x="1303289" y="252376"/>
                      <a:pt x="1309641" y="274686"/>
                    </a:cubicBezTo>
                    <a:cubicBezTo>
                      <a:pt x="1337683" y="375543"/>
                      <a:pt x="1351626" y="425895"/>
                      <a:pt x="1403837" y="725679"/>
                    </a:cubicBezTo>
                    <a:cubicBezTo>
                      <a:pt x="1406315" y="739932"/>
                      <a:pt x="1410963" y="766270"/>
                      <a:pt x="1396400" y="785171"/>
                    </a:cubicBezTo>
                    <a:close/>
                  </a:path>
                </a:pathLst>
              </a:custGeom>
              <a:solidFill>
                <a:srgbClr val="4E80AD"/>
              </a:solidFill>
              <a:ln w="154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 name="Freeform: Shape 239">
                <a:extLst>
                  <a:ext uri="{FF2B5EF4-FFF2-40B4-BE49-F238E27FC236}">
                    <a16:creationId xmlns:a16="http://schemas.microsoft.com/office/drawing/2014/main" id="{5411070A-4B37-48C8-9C33-2DD253B66943}"/>
                  </a:ext>
                </a:extLst>
              </p:cNvPr>
              <p:cNvSpPr/>
              <p:nvPr/>
            </p:nvSpPr>
            <p:spPr>
              <a:xfrm>
                <a:off x="3295567" y="4810275"/>
                <a:ext cx="15027" cy="347501"/>
              </a:xfrm>
              <a:custGeom>
                <a:avLst/>
                <a:gdLst>
                  <a:gd name="connsiteX0" fmla="*/ 7437 w 15027"/>
                  <a:gd name="connsiteY0" fmla="*/ 347502 h 347501"/>
                  <a:gd name="connsiteX1" fmla="*/ 0 w 15027"/>
                  <a:gd name="connsiteY1" fmla="*/ 340065 h 347501"/>
                  <a:gd name="connsiteX2" fmla="*/ 0 w 15027"/>
                  <a:gd name="connsiteY2" fmla="*/ 7591 h 347501"/>
                  <a:gd name="connsiteX3" fmla="*/ 6352 w 15027"/>
                  <a:gd name="connsiteY3" fmla="*/ 0 h 347501"/>
                  <a:gd name="connsiteX4" fmla="*/ 15028 w 15027"/>
                  <a:gd name="connsiteY4" fmla="*/ 7436 h 347501"/>
                  <a:gd name="connsiteX5" fmla="*/ 15028 w 15027"/>
                  <a:gd name="connsiteY5" fmla="*/ 339910 h 347501"/>
                  <a:gd name="connsiteX6" fmla="*/ 8676 w 15027"/>
                  <a:gd name="connsiteY6" fmla="*/ 347502 h 347501"/>
                  <a:gd name="connsiteX7" fmla="*/ 7437 w 15027"/>
                  <a:gd name="connsiteY7" fmla="*/ 347502 h 347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027" h="347501">
                    <a:moveTo>
                      <a:pt x="7437" y="347502"/>
                    </a:moveTo>
                    <a:cubicBezTo>
                      <a:pt x="3873" y="346882"/>
                      <a:pt x="0" y="343783"/>
                      <a:pt x="0" y="340065"/>
                    </a:cubicBezTo>
                    <a:lnTo>
                      <a:pt x="0" y="7591"/>
                    </a:lnTo>
                    <a:cubicBezTo>
                      <a:pt x="0" y="3408"/>
                      <a:pt x="2324" y="0"/>
                      <a:pt x="6352" y="0"/>
                    </a:cubicBezTo>
                    <a:cubicBezTo>
                      <a:pt x="10535" y="0"/>
                      <a:pt x="14873" y="3253"/>
                      <a:pt x="15028" y="7436"/>
                    </a:cubicBezTo>
                    <a:lnTo>
                      <a:pt x="15028" y="339910"/>
                    </a:lnTo>
                    <a:cubicBezTo>
                      <a:pt x="15028" y="344093"/>
                      <a:pt x="12704" y="347502"/>
                      <a:pt x="8676" y="347502"/>
                    </a:cubicBezTo>
                    <a:cubicBezTo>
                      <a:pt x="8211" y="347502"/>
                      <a:pt x="7746" y="347502"/>
                      <a:pt x="7437" y="347502"/>
                    </a:cubicBezTo>
                    <a:close/>
                  </a:path>
                </a:pathLst>
              </a:custGeom>
              <a:solidFill>
                <a:srgbClr val="3A7099"/>
              </a:solidFill>
              <a:ln w="154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1" name="Freeform: Shape 240">
                <a:extLst>
                  <a:ext uri="{FF2B5EF4-FFF2-40B4-BE49-F238E27FC236}">
                    <a16:creationId xmlns:a16="http://schemas.microsoft.com/office/drawing/2014/main" id="{19A0594B-A848-464C-BB95-1EBBA76956AE}"/>
                  </a:ext>
                </a:extLst>
              </p:cNvPr>
              <p:cNvSpPr/>
              <p:nvPr/>
            </p:nvSpPr>
            <p:spPr>
              <a:xfrm>
                <a:off x="4328156" y="4837697"/>
                <a:ext cx="15182" cy="347501"/>
              </a:xfrm>
              <a:custGeom>
                <a:avLst/>
                <a:gdLst>
                  <a:gd name="connsiteX0" fmla="*/ 7436 w 15182"/>
                  <a:gd name="connsiteY0" fmla="*/ 347347 h 347501"/>
                  <a:gd name="connsiteX1" fmla="*/ 0 w 15182"/>
                  <a:gd name="connsiteY1" fmla="*/ 339910 h 347501"/>
                  <a:gd name="connsiteX2" fmla="*/ 0 w 15182"/>
                  <a:gd name="connsiteY2" fmla="*/ 7591 h 347501"/>
                  <a:gd name="connsiteX3" fmla="*/ 6507 w 15182"/>
                  <a:gd name="connsiteY3" fmla="*/ 0 h 347501"/>
                  <a:gd name="connsiteX4" fmla="*/ 15183 w 15182"/>
                  <a:gd name="connsiteY4" fmla="*/ 7437 h 347501"/>
                  <a:gd name="connsiteX5" fmla="*/ 15183 w 15182"/>
                  <a:gd name="connsiteY5" fmla="*/ 339910 h 347501"/>
                  <a:gd name="connsiteX6" fmla="*/ 8676 w 15182"/>
                  <a:gd name="connsiteY6" fmla="*/ 347502 h 347501"/>
                  <a:gd name="connsiteX7" fmla="*/ 7436 w 15182"/>
                  <a:gd name="connsiteY7" fmla="*/ 347347 h 347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182" h="347501">
                    <a:moveTo>
                      <a:pt x="7436" y="347347"/>
                    </a:moveTo>
                    <a:cubicBezTo>
                      <a:pt x="3873" y="346727"/>
                      <a:pt x="0" y="343783"/>
                      <a:pt x="0" y="339910"/>
                    </a:cubicBezTo>
                    <a:lnTo>
                      <a:pt x="0" y="7591"/>
                    </a:lnTo>
                    <a:cubicBezTo>
                      <a:pt x="0" y="3408"/>
                      <a:pt x="2324" y="0"/>
                      <a:pt x="6507" y="0"/>
                    </a:cubicBezTo>
                    <a:cubicBezTo>
                      <a:pt x="10690" y="0"/>
                      <a:pt x="15028" y="3253"/>
                      <a:pt x="15183" y="7437"/>
                    </a:cubicBezTo>
                    <a:lnTo>
                      <a:pt x="15183" y="339910"/>
                    </a:lnTo>
                    <a:cubicBezTo>
                      <a:pt x="15183" y="344093"/>
                      <a:pt x="12859" y="347502"/>
                      <a:pt x="8676" y="347502"/>
                    </a:cubicBezTo>
                    <a:cubicBezTo>
                      <a:pt x="8211" y="347502"/>
                      <a:pt x="7901" y="347502"/>
                      <a:pt x="7436" y="347347"/>
                    </a:cubicBezTo>
                    <a:close/>
                  </a:path>
                </a:pathLst>
              </a:custGeom>
              <a:solidFill>
                <a:srgbClr val="3A7099"/>
              </a:solidFill>
              <a:ln w="154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45" name="Graphic 7">
              <a:extLst>
                <a:ext uri="{FF2B5EF4-FFF2-40B4-BE49-F238E27FC236}">
                  <a16:creationId xmlns:a16="http://schemas.microsoft.com/office/drawing/2014/main" id="{51737E47-FDF1-426E-AE34-4A6B4EC0DBF5}"/>
                </a:ext>
              </a:extLst>
            </p:cNvPr>
            <p:cNvGrpSpPr/>
            <p:nvPr/>
          </p:nvGrpSpPr>
          <p:grpSpPr>
            <a:xfrm>
              <a:off x="3516499" y="3547309"/>
              <a:ext cx="698974" cy="1116095"/>
              <a:chOff x="3516499" y="3547309"/>
              <a:chExt cx="698974" cy="1116095"/>
            </a:xfrm>
            <a:solidFill>
              <a:schemeClr val="accent1"/>
            </a:solidFill>
          </p:grpSpPr>
          <p:sp>
            <p:nvSpPr>
              <p:cNvPr id="246" name="Freeform: Shape 245">
                <a:extLst>
                  <a:ext uri="{FF2B5EF4-FFF2-40B4-BE49-F238E27FC236}">
                    <a16:creationId xmlns:a16="http://schemas.microsoft.com/office/drawing/2014/main" id="{81325324-5830-4A1C-BBE3-EFBFCC0C5731}"/>
                  </a:ext>
                </a:extLst>
              </p:cNvPr>
              <p:cNvSpPr/>
              <p:nvPr/>
            </p:nvSpPr>
            <p:spPr>
              <a:xfrm>
                <a:off x="3530220" y="3547309"/>
                <a:ext cx="685253" cy="760443"/>
              </a:xfrm>
              <a:custGeom>
                <a:avLst/>
                <a:gdLst>
                  <a:gd name="connsiteX0" fmla="*/ 14470 w 685253"/>
                  <a:gd name="connsiteY0" fmla="*/ 385459 h 760443"/>
                  <a:gd name="connsiteX1" fmla="*/ 17258 w 685253"/>
                  <a:gd name="connsiteY1" fmla="*/ 246025 h 760443"/>
                  <a:gd name="connsiteX2" fmla="*/ 113933 w 685253"/>
                  <a:gd name="connsiteY2" fmla="*/ 43380 h 760443"/>
                  <a:gd name="connsiteX3" fmla="*/ 329591 w 685253"/>
                  <a:gd name="connsiteY3" fmla="*/ 17352 h 760443"/>
                  <a:gd name="connsiteX4" fmla="*/ 480181 w 685253"/>
                  <a:gd name="connsiteY4" fmla="*/ 11775 h 760443"/>
                  <a:gd name="connsiteX5" fmla="*/ 572207 w 685253"/>
                  <a:gd name="connsiteY5" fmla="*/ 82267 h 760443"/>
                  <a:gd name="connsiteX6" fmla="*/ 612798 w 685253"/>
                  <a:gd name="connsiteY6" fmla="*/ 158956 h 760443"/>
                  <a:gd name="connsiteX7" fmla="*/ 639910 w 685253"/>
                  <a:gd name="connsiteY7" fmla="*/ 290644 h 760443"/>
                  <a:gd name="connsiteX8" fmla="*/ 621319 w 685253"/>
                  <a:gd name="connsiteY8" fmla="*/ 396149 h 760443"/>
                  <a:gd name="connsiteX9" fmla="*/ 654938 w 685253"/>
                  <a:gd name="connsiteY9" fmla="*/ 588259 h 760443"/>
                  <a:gd name="connsiteX10" fmla="*/ 683600 w 685253"/>
                  <a:gd name="connsiteY10" fmla="*/ 684933 h 760443"/>
                  <a:gd name="connsiteX11" fmla="*/ 346324 w 685253"/>
                  <a:gd name="connsiteY11" fmla="*/ 760383 h 760443"/>
                  <a:gd name="connsiteX12" fmla="*/ 3470 w 685253"/>
                  <a:gd name="connsiteY12" fmla="*/ 687722 h 760443"/>
                  <a:gd name="connsiteX13" fmla="*/ 40962 w 685253"/>
                  <a:gd name="connsiteY13" fmla="*/ 450838 h 760443"/>
                  <a:gd name="connsiteX14" fmla="*/ 14470 w 685253"/>
                  <a:gd name="connsiteY14" fmla="*/ 385459 h 760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85253" h="760443">
                    <a:moveTo>
                      <a:pt x="14470" y="385459"/>
                    </a:moveTo>
                    <a:cubicBezTo>
                      <a:pt x="10132" y="352614"/>
                      <a:pt x="7188" y="303657"/>
                      <a:pt x="17258" y="246025"/>
                    </a:cubicBezTo>
                    <a:cubicBezTo>
                      <a:pt x="28568" y="180645"/>
                      <a:pt x="43286" y="94971"/>
                      <a:pt x="113933" y="43380"/>
                    </a:cubicBezTo>
                    <a:cubicBezTo>
                      <a:pt x="200692" y="-19985"/>
                      <a:pt x="311930" y="11930"/>
                      <a:pt x="329591" y="17352"/>
                    </a:cubicBezTo>
                    <a:cubicBezTo>
                      <a:pt x="346479" y="10225"/>
                      <a:pt x="410154" y="-14408"/>
                      <a:pt x="480181" y="11775"/>
                    </a:cubicBezTo>
                    <a:cubicBezTo>
                      <a:pt x="530532" y="30521"/>
                      <a:pt x="559658" y="66464"/>
                      <a:pt x="572207" y="82267"/>
                    </a:cubicBezTo>
                    <a:cubicBezTo>
                      <a:pt x="593432" y="109069"/>
                      <a:pt x="602728" y="133083"/>
                      <a:pt x="612798" y="158956"/>
                    </a:cubicBezTo>
                    <a:cubicBezTo>
                      <a:pt x="621784" y="181885"/>
                      <a:pt x="640065" y="230067"/>
                      <a:pt x="639910" y="290644"/>
                    </a:cubicBezTo>
                    <a:cubicBezTo>
                      <a:pt x="639756" y="343939"/>
                      <a:pt x="625502" y="341615"/>
                      <a:pt x="621319" y="396149"/>
                    </a:cubicBezTo>
                    <a:cubicBezTo>
                      <a:pt x="616207" y="462768"/>
                      <a:pt x="632474" y="519161"/>
                      <a:pt x="654938" y="588259"/>
                    </a:cubicBezTo>
                    <a:cubicBezTo>
                      <a:pt x="676008" y="653018"/>
                      <a:pt x="690262" y="662779"/>
                      <a:pt x="683600" y="684933"/>
                    </a:cubicBezTo>
                    <a:cubicBezTo>
                      <a:pt x="660671" y="760538"/>
                      <a:pt x="459575" y="760847"/>
                      <a:pt x="346324" y="760383"/>
                    </a:cubicBezTo>
                    <a:cubicBezTo>
                      <a:pt x="177918" y="759298"/>
                      <a:pt x="28413" y="758523"/>
                      <a:pt x="3470" y="687722"/>
                    </a:cubicBezTo>
                    <a:cubicBezTo>
                      <a:pt x="-17755" y="627920"/>
                      <a:pt x="66370" y="563935"/>
                      <a:pt x="40962" y="450838"/>
                    </a:cubicBezTo>
                    <a:cubicBezTo>
                      <a:pt x="34610" y="422177"/>
                      <a:pt x="23301" y="400022"/>
                      <a:pt x="14470" y="385459"/>
                    </a:cubicBezTo>
                    <a:close/>
                  </a:path>
                </a:pathLst>
              </a:custGeom>
              <a:solidFill>
                <a:srgbClr val="754435"/>
              </a:solidFill>
              <a:ln w="154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8" name="Freeform: Shape 247">
                <a:extLst>
                  <a:ext uri="{FF2B5EF4-FFF2-40B4-BE49-F238E27FC236}">
                    <a16:creationId xmlns:a16="http://schemas.microsoft.com/office/drawing/2014/main" id="{CA5F3236-1F41-4024-84C3-F7C68A0E3109}"/>
                  </a:ext>
                </a:extLst>
              </p:cNvPr>
              <p:cNvSpPr/>
              <p:nvPr/>
            </p:nvSpPr>
            <p:spPr>
              <a:xfrm>
                <a:off x="3702406" y="4191651"/>
                <a:ext cx="294516" cy="471753"/>
              </a:xfrm>
              <a:custGeom>
                <a:avLst/>
                <a:gdLst>
                  <a:gd name="connsiteX0" fmla="*/ 294516 w 294516"/>
                  <a:gd name="connsiteY0" fmla="*/ 155 h 471753"/>
                  <a:gd name="connsiteX1" fmla="*/ 294516 w 294516"/>
                  <a:gd name="connsiteY1" fmla="*/ 164378 h 471753"/>
                  <a:gd name="connsiteX2" fmla="*/ 211321 w 294516"/>
                  <a:gd name="connsiteY2" fmla="*/ 375079 h 471753"/>
                  <a:gd name="connsiteX3" fmla="*/ 155547 w 294516"/>
                  <a:gd name="connsiteY3" fmla="*/ 471753 h 471753"/>
                  <a:gd name="connsiteX4" fmla="*/ 73745 w 294516"/>
                  <a:gd name="connsiteY4" fmla="*/ 345333 h 471753"/>
                  <a:gd name="connsiteX5" fmla="*/ 0 w 294516"/>
                  <a:gd name="connsiteY5" fmla="*/ 166392 h 471753"/>
                  <a:gd name="connsiteX6" fmla="*/ 0 w 294516"/>
                  <a:gd name="connsiteY6" fmla="*/ 0 h 471753"/>
                  <a:gd name="connsiteX7" fmla="*/ 294516 w 294516"/>
                  <a:gd name="connsiteY7" fmla="*/ 155 h 471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4516" h="471753">
                    <a:moveTo>
                      <a:pt x="294516" y="155"/>
                    </a:moveTo>
                    <a:cubicBezTo>
                      <a:pt x="294516" y="54844"/>
                      <a:pt x="294516" y="109688"/>
                      <a:pt x="294516" y="164378"/>
                    </a:cubicBezTo>
                    <a:cubicBezTo>
                      <a:pt x="276545" y="227123"/>
                      <a:pt x="250362" y="299009"/>
                      <a:pt x="211321" y="375079"/>
                    </a:cubicBezTo>
                    <a:cubicBezTo>
                      <a:pt x="193194" y="410402"/>
                      <a:pt x="174293" y="442627"/>
                      <a:pt x="155547" y="471753"/>
                    </a:cubicBezTo>
                    <a:cubicBezTo>
                      <a:pt x="129054" y="437204"/>
                      <a:pt x="100548" y="395064"/>
                      <a:pt x="73745" y="345333"/>
                    </a:cubicBezTo>
                    <a:cubicBezTo>
                      <a:pt x="38267" y="279334"/>
                      <a:pt x="15183" y="217827"/>
                      <a:pt x="0" y="166392"/>
                    </a:cubicBezTo>
                    <a:cubicBezTo>
                      <a:pt x="0" y="110928"/>
                      <a:pt x="0" y="55464"/>
                      <a:pt x="0" y="0"/>
                    </a:cubicBezTo>
                    <a:cubicBezTo>
                      <a:pt x="98224" y="155"/>
                      <a:pt x="196293" y="155"/>
                      <a:pt x="294516" y="155"/>
                    </a:cubicBezTo>
                    <a:close/>
                  </a:path>
                </a:pathLst>
              </a:custGeom>
              <a:solidFill>
                <a:srgbClr val="C5996D"/>
              </a:solidFill>
              <a:ln w="154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9" name="Freeform: Shape 248">
                <a:extLst>
                  <a:ext uri="{FF2B5EF4-FFF2-40B4-BE49-F238E27FC236}">
                    <a16:creationId xmlns:a16="http://schemas.microsoft.com/office/drawing/2014/main" id="{7E9D10A0-5C33-4B91-BAD1-369CB62E4377}"/>
                  </a:ext>
                </a:extLst>
              </p:cNvPr>
              <p:cNvSpPr/>
              <p:nvPr/>
            </p:nvSpPr>
            <p:spPr>
              <a:xfrm>
                <a:off x="3835333" y="4216905"/>
                <a:ext cx="161434" cy="85092"/>
              </a:xfrm>
              <a:custGeom>
                <a:avLst/>
                <a:gdLst>
                  <a:gd name="connsiteX0" fmla="*/ 161434 w 161434"/>
                  <a:gd name="connsiteY0" fmla="*/ 0 h 85092"/>
                  <a:gd name="connsiteX1" fmla="*/ 161434 w 161434"/>
                  <a:gd name="connsiteY1" fmla="*/ 43689 h 85092"/>
                  <a:gd name="connsiteX2" fmla="*/ 72041 w 161434"/>
                  <a:gd name="connsiteY2" fmla="*/ 83351 h 85092"/>
                  <a:gd name="connsiteX3" fmla="*/ 0 w 161434"/>
                  <a:gd name="connsiteY3" fmla="*/ 79013 h 85092"/>
                  <a:gd name="connsiteX4" fmla="*/ 9760 w 161434"/>
                  <a:gd name="connsiteY4" fmla="*/ 79633 h 85092"/>
                  <a:gd name="connsiteX5" fmla="*/ 146561 w 161434"/>
                  <a:gd name="connsiteY5" fmla="*/ 14873 h 85092"/>
                  <a:gd name="connsiteX6" fmla="*/ 161434 w 161434"/>
                  <a:gd name="connsiteY6" fmla="*/ 0 h 85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1434" h="85092">
                    <a:moveTo>
                      <a:pt x="161434" y="0"/>
                    </a:moveTo>
                    <a:lnTo>
                      <a:pt x="161434" y="43689"/>
                    </a:lnTo>
                    <a:cubicBezTo>
                      <a:pt x="147955" y="54689"/>
                      <a:pt x="117435" y="76999"/>
                      <a:pt x="72041" y="83351"/>
                    </a:cubicBezTo>
                    <a:cubicBezTo>
                      <a:pt x="41211" y="87689"/>
                      <a:pt x="15338" y="83041"/>
                      <a:pt x="0" y="79013"/>
                    </a:cubicBezTo>
                    <a:cubicBezTo>
                      <a:pt x="3099" y="79323"/>
                      <a:pt x="6662" y="79633"/>
                      <a:pt x="9760" y="79633"/>
                    </a:cubicBezTo>
                    <a:cubicBezTo>
                      <a:pt x="72971" y="80872"/>
                      <a:pt x="119604" y="39661"/>
                      <a:pt x="146561" y="14873"/>
                    </a:cubicBezTo>
                    <a:cubicBezTo>
                      <a:pt x="151674" y="10070"/>
                      <a:pt x="156786" y="5268"/>
                      <a:pt x="161434" y="0"/>
                    </a:cubicBezTo>
                    <a:close/>
                  </a:path>
                </a:pathLst>
              </a:custGeom>
              <a:solidFill>
                <a:srgbClr val="EF9673"/>
              </a:solidFill>
              <a:ln w="154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0" name="Freeform: Shape 249">
                <a:extLst>
                  <a:ext uri="{FF2B5EF4-FFF2-40B4-BE49-F238E27FC236}">
                    <a16:creationId xmlns:a16="http://schemas.microsoft.com/office/drawing/2014/main" id="{0A0ADEF4-C6EB-4470-97EB-9752DA37CA4B}"/>
                  </a:ext>
                </a:extLst>
              </p:cNvPr>
              <p:cNvSpPr/>
              <p:nvPr/>
            </p:nvSpPr>
            <p:spPr>
              <a:xfrm>
                <a:off x="3595912" y="3592767"/>
                <a:ext cx="507324" cy="703642"/>
              </a:xfrm>
              <a:custGeom>
                <a:avLst/>
                <a:gdLst>
                  <a:gd name="connsiteX0" fmla="*/ 400856 w 507324"/>
                  <a:gd name="connsiteY0" fmla="*/ 624138 h 703642"/>
                  <a:gd name="connsiteX1" fmla="*/ 386137 w 507324"/>
                  <a:gd name="connsiteY1" fmla="*/ 638856 h 703642"/>
                  <a:gd name="connsiteX2" fmla="*/ 249337 w 507324"/>
                  <a:gd name="connsiteY2" fmla="*/ 703615 h 703642"/>
                  <a:gd name="connsiteX3" fmla="*/ 239576 w 507324"/>
                  <a:gd name="connsiteY3" fmla="*/ 702995 h 703642"/>
                  <a:gd name="connsiteX4" fmla="*/ 121057 w 507324"/>
                  <a:gd name="connsiteY4" fmla="*/ 638856 h 703642"/>
                  <a:gd name="connsiteX5" fmla="*/ 214 w 507324"/>
                  <a:gd name="connsiteY5" fmla="*/ 285312 h 703642"/>
                  <a:gd name="connsiteX6" fmla="*/ 60636 w 507324"/>
                  <a:gd name="connsiteY6" fmla="*/ 75541 h 703642"/>
                  <a:gd name="connsiteX7" fmla="*/ 180549 w 507324"/>
                  <a:gd name="connsiteY7" fmla="*/ 11401 h 703642"/>
                  <a:gd name="connsiteX8" fmla="*/ 246238 w 507324"/>
                  <a:gd name="connsiteY8" fmla="*/ 91 h 703642"/>
                  <a:gd name="connsiteX9" fmla="*/ 326800 w 507324"/>
                  <a:gd name="connsiteY9" fmla="*/ 11401 h 703642"/>
                  <a:gd name="connsiteX10" fmla="*/ 447024 w 507324"/>
                  <a:gd name="connsiteY10" fmla="*/ 75541 h 703642"/>
                  <a:gd name="connsiteX11" fmla="*/ 507136 w 507324"/>
                  <a:gd name="connsiteY11" fmla="*/ 285312 h 703642"/>
                  <a:gd name="connsiteX12" fmla="*/ 400856 w 507324"/>
                  <a:gd name="connsiteY12" fmla="*/ 624138 h 703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7324" h="703642">
                    <a:moveTo>
                      <a:pt x="400856" y="624138"/>
                    </a:moveTo>
                    <a:cubicBezTo>
                      <a:pt x="396053" y="629405"/>
                      <a:pt x="391095" y="634208"/>
                      <a:pt x="386137" y="638856"/>
                    </a:cubicBezTo>
                    <a:cubicBezTo>
                      <a:pt x="359025" y="663644"/>
                      <a:pt x="312547" y="704855"/>
                      <a:pt x="249337" y="703615"/>
                    </a:cubicBezTo>
                    <a:cubicBezTo>
                      <a:pt x="246238" y="703615"/>
                      <a:pt x="242675" y="703305"/>
                      <a:pt x="239576" y="702995"/>
                    </a:cubicBezTo>
                    <a:cubicBezTo>
                      <a:pt x="185507" y="698038"/>
                      <a:pt x="146465" y="662714"/>
                      <a:pt x="121057" y="638856"/>
                    </a:cubicBezTo>
                    <a:cubicBezTo>
                      <a:pt x="-3814" y="521886"/>
                      <a:pt x="-716" y="344029"/>
                      <a:pt x="214" y="285312"/>
                    </a:cubicBezTo>
                    <a:cubicBezTo>
                      <a:pt x="1453" y="212961"/>
                      <a:pt x="3003" y="134258"/>
                      <a:pt x="60636" y="75541"/>
                    </a:cubicBezTo>
                    <a:cubicBezTo>
                      <a:pt x="111607" y="23330"/>
                      <a:pt x="180549" y="11401"/>
                      <a:pt x="180549" y="11401"/>
                    </a:cubicBezTo>
                    <a:cubicBezTo>
                      <a:pt x="196971" y="6443"/>
                      <a:pt x="219281" y="1021"/>
                      <a:pt x="246238" y="91"/>
                    </a:cubicBezTo>
                    <a:cubicBezTo>
                      <a:pt x="280477" y="-838"/>
                      <a:pt x="308519" y="5514"/>
                      <a:pt x="326800" y="11401"/>
                    </a:cubicBezTo>
                    <a:cubicBezTo>
                      <a:pt x="326800" y="11401"/>
                      <a:pt x="395743" y="23330"/>
                      <a:pt x="447024" y="75541"/>
                    </a:cubicBezTo>
                    <a:cubicBezTo>
                      <a:pt x="504657" y="134413"/>
                      <a:pt x="505896" y="212961"/>
                      <a:pt x="507136" y="285312"/>
                    </a:cubicBezTo>
                    <a:cubicBezTo>
                      <a:pt x="508220" y="345734"/>
                      <a:pt x="508220" y="507787"/>
                      <a:pt x="400856" y="624138"/>
                    </a:cubicBezTo>
                    <a:close/>
                  </a:path>
                </a:pathLst>
              </a:custGeom>
              <a:solidFill>
                <a:srgbClr val="C5996D"/>
              </a:solidFill>
              <a:ln w="154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 name="Freeform: Shape 250">
                <a:extLst>
                  <a:ext uri="{FF2B5EF4-FFF2-40B4-BE49-F238E27FC236}">
                    <a16:creationId xmlns:a16="http://schemas.microsoft.com/office/drawing/2014/main" id="{BB8E8045-15A6-4F10-87F6-9C9A5F165EAB}"/>
                  </a:ext>
                </a:extLst>
              </p:cNvPr>
              <p:cNvSpPr/>
              <p:nvPr/>
            </p:nvSpPr>
            <p:spPr>
              <a:xfrm>
                <a:off x="3824024" y="3941289"/>
                <a:ext cx="60348" cy="151670"/>
              </a:xfrm>
              <a:custGeom>
                <a:avLst/>
                <a:gdLst>
                  <a:gd name="connsiteX0" fmla="*/ 2634 w 60348"/>
                  <a:gd name="connsiteY0" fmla="*/ 151519 h 151670"/>
                  <a:gd name="connsiteX1" fmla="*/ 0 w 60348"/>
                  <a:gd name="connsiteY1" fmla="*/ 148730 h 151670"/>
                  <a:gd name="connsiteX2" fmla="*/ 2789 w 60348"/>
                  <a:gd name="connsiteY2" fmla="*/ 146096 h 151670"/>
                  <a:gd name="connsiteX3" fmla="*/ 51436 w 60348"/>
                  <a:gd name="connsiteY3" fmla="*/ 130139 h 151670"/>
                  <a:gd name="connsiteX4" fmla="*/ 54689 w 60348"/>
                  <a:gd name="connsiteY4" fmla="*/ 119449 h 151670"/>
                  <a:gd name="connsiteX5" fmla="*/ 54534 w 60348"/>
                  <a:gd name="connsiteY5" fmla="*/ 100548 h 151670"/>
                  <a:gd name="connsiteX6" fmla="*/ 52365 w 60348"/>
                  <a:gd name="connsiteY6" fmla="*/ 2789 h 151670"/>
                  <a:gd name="connsiteX7" fmla="*/ 54999 w 60348"/>
                  <a:gd name="connsiteY7" fmla="*/ 0 h 151670"/>
                  <a:gd name="connsiteX8" fmla="*/ 57788 w 60348"/>
                  <a:gd name="connsiteY8" fmla="*/ 2634 h 151670"/>
                  <a:gd name="connsiteX9" fmla="*/ 59957 w 60348"/>
                  <a:gd name="connsiteY9" fmla="*/ 100393 h 151670"/>
                  <a:gd name="connsiteX10" fmla="*/ 60112 w 60348"/>
                  <a:gd name="connsiteY10" fmla="*/ 119914 h 151670"/>
                  <a:gd name="connsiteX11" fmla="*/ 56548 w 60348"/>
                  <a:gd name="connsiteY11" fmla="*/ 132153 h 151670"/>
                  <a:gd name="connsiteX12" fmla="*/ 2634 w 60348"/>
                  <a:gd name="connsiteY12" fmla="*/ 151519 h 151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348" h="151670">
                    <a:moveTo>
                      <a:pt x="2634" y="151519"/>
                    </a:moveTo>
                    <a:cubicBezTo>
                      <a:pt x="1239" y="151519"/>
                      <a:pt x="0" y="150124"/>
                      <a:pt x="0" y="148730"/>
                    </a:cubicBezTo>
                    <a:cubicBezTo>
                      <a:pt x="0" y="147181"/>
                      <a:pt x="1239" y="146096"/>
                      <a:pt x="2789" y="146096"/>
                    </a:cubicBezTo>
                    <a:cubicBezTo>
                      <a:pt x="26802" y="146716"/>
                      <a:pt x="46788" y="140209"/>
                      <a:pt x="51436" y="130139"/>
                    </a:cubicBezTo>
                    <a:cubicBezTo>
                      <a:pt x="52210" y="128435"/>
                      <a:pt x="54224" y="124561"/>
                      <a:pt x="54689" y="119449"/>
                    </a:cubicBezTo>
                    <a:cubicBezTo>
                      <a:pt x="54999" y="114801"/>
                      <a:pt x="54844" y="108914"/>
                      <a:pt x="54534" y="100548"/>
                    </a:cubicBezTo>
                    <a:lnTo>
                      <a:pt x="52365" y="2789"/>
                    </a:lnTo>
                    <a:cubicBezTo>
                      <a:pt x="52365" y="1239"/>
                      <a:pt x="53450" y="0"/>
                      <a:pt x="54999" y="0"/>
                    </a:cubicBezTo>
                    <a:cubicBezTo>
                      <a:pt x="56548" y="0"/>
                      <a:pt x="57788" y="1084"/>
                      <a:pt x="57788" y="2634"/>
                    </a:cubicBezTo>
                    <a:lnTo>
                      <a:pt x="59957" y="100393"/>
                    </a:lnTo>
                    <a:cubicBezTo>
                      <a:pt x="60267" y="108914"/>
                      <a:pt x="60576" y="114956"/>
                      <a:pt x="60112" y="119914"/>
                    </a:cubicBezTo>
                    <a:cubicBezTo>
                      <a:pt x="59647" y="126111"/>
                      <a:pt x="57323" y="130604"/>
                      <a:pt x="56548" y="132153"/>
                    </a:cubicBezTo>
                    <a:cubicBezTo>
                      <a:pt x="50816" y="144547"/>
                      <a:pt x="29126" y="152913"/>
                      <a:pt x="2634" y="151519"/>
                    </a:cubicBezTo>
                    <a:close/>
                  </a:path>
                </a:pathLst>
              </a:custGeom>
              <a:solidFill>
                <a:srgbClr val="EF9673"/>
              </a:solidFill>
              <a:ln w="154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2" name="Freeform: Shape 251">
                <a:extLst>
                  <a:ext uri="{FF2B5EF4-FFF2-40B4-BE49-F238E27FC236}">
                    <a16:creationId xmlns:a16="http://schemas.microsoft.com/office/drawing/2014/main" id="{AE44F444-ACF5-4F2C-89AA-0EC9A01FE9F6}"/>
                  </a:ext>
                </a:extLst>
              </p:cNvPr>
              <p:cNvSpPr/>
              <p:nvPr/>
            </p:nvSpPr>
            <p:spPr>
              <a:xfrm>
                <a:off x="3676533" y="4051133"/>
                <a:ext cx="77463" cy="77463"/>
              </a:xfrm>
              <a:custGeom>
                <a:avLst/>
                <a:gdLst>
                  <a:gd name="connsiteX0" fmla="*/ 77464 w 77463"/>
                  <a:gd name="connsiteY0" fmla="*/ 38732 h 77463"/>
                  <a:gd name="connsiteX1" fmla="*/ 38732 w 77463"/>
                  <a:gd name="connsiteY1" fmla="*/ 77464 h 77463"/>
                  <a:gd name="connsiteX2" fmla="*/ 0 w 77463"/>
                  <a:gd name="connsiteY2" fmla="*/ 38732 h 77463"/>
                  <a:gd name="connsiteX3" fmla="*/ 38732 w 77463"/>
                  <a:gd name="connsiteY3" fmla="*/ 0 h 77463"/>
                  <a:gd name="connsiteX4" fmla="*/ 77464 w 77463"/>
                  <a:gd name="connsiteY4" fmla="*/ 38732 h 77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463" h="77463">
                    <a:moveTo>
                      <a:pt x="77464" y="38732"/>
                    </a:moveTo>
                    <a:cubicBezTo>
                      <a:pt x="77464" y="60112"/>
                      <a:pt x="60112" y="77464"/>
                      <a:pt x="38732" y="77464"/>
                    </a:cubicBezTo>
                    <a:cubicBezTo>
                      <a:pt x="17352" y="77464"/>
                      <a:pt x="0" y="60112"/>
                      <a:pt x="0" y="38732"/>
                    </a:cubicBezTo>
                    <a:cubicBezTo>
                      <a:pt x="0" y="17352"/>
                      <a:pt x="17352" y="0"/>
                      <a:pt x="38732" y="0"/>
                    </a:cubicBezTo>
                    <a:cubicBezTo>
                      <a:pt x="60112" y="0"/>
                      <a:pt x="77464" y="17352"/>
                      <a:pt x="77464" y="38732"/>
                    </a:cubicBezTo>
                    <a:close/>
                  </a:path>
                </a:pathLst>
              </a:custGeom>
              <a:solidFill>
                <a:srgbClr val="F29886"/>
              </a:solidFill>
              <a:ln w="154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3" name="Freeform: Shape 252">
                <a:extLst>
                  <a:ext uri="{FF2B5EF4-FFF2-40B4-BE49-F238E27FC236}">
                    <a16:creationId xmlns:a16="http://schemas.microsoft.com/office/drawing/2014/main" id="{BCDDC03A-01A0-45BE-9985-BEA53C8F5923}"/>
                  </a:ext>
                </a:extLst>
              </p:cNvPr>
              <p:cNvSpPr/>
              <p:nvPr/>
            </p:nvSpPr>
            <p:spPr>
              <a:xfrm>
                <a:off x="3954317" y="4051133"/>
                <a:ext cx="77463" cy="77463"/>
              </a:xfrm>
              <a:custGeom>
                <a:avLst/>
                <a:gdLst>
                  <a:gd name="connsiteX0" fmla="*/ 77464 w 77463"/>
                  <a:gd name="connsiteY0" fmla="*/ 38732 h 77463"/>
                  <a:gd name="connsiteX1" fmla="*/ 38732 w 77463"/>
                  <a:gd name="connsiteY1" fmla="*/ 77464 h 77463"/>
                  <a:gd name="connsiteX2" fmla="*/ 0 w 77463"/>
                  <a:gd name="connsiteY2" fmla="*/ 38732 h 77463"/>
                  <a:gd name="connsiteX3" fmla="*/ 38732 w 77463"/>
                  <a:gd name="connsiteY3" fmla="*/ 0 h 77463"/>
                  <a:gd name="connsiteX4" fmla="*/ 77464 w 77463"/>
                  <a:gd name="connsiteY4" fmla="*/ 38732 h 77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463" h="77463">
                    <a:moveTo>
                      <a:pt x="77464" y="38732"/>
                    </a:moveTo>
                    <a:cubicBezTo>
                      <a:pt x="77464" y="60112"/>
                      <a:pt x="60112" y="77464"/>
                      <a:pt x="38732" y="77464"/>
                    </a:cubicBezTo>
                    <a:cubicBezTo>
                      <a:pt x="17352" y="77464"/>
                      <a:pt x="0" y="60112"/>
                      <a:pt x="0" y="38732"/>
                    </a:cubicBezTo>
                    <a:cubicBezTo>
                      <a:pt x="0" y="17352"/>
                      <a:pt x="17352" y="0"/>
                      <a:pt x="38732" y="0"/>
                    </a:cubicBezTo>
                    <a:cubicBezTo>
                      <a:pt x="60112" y="0"/>
                      <a:pt x="77464" y="17352"/>
                      <a:pt x="77464" y="38732"/>
                    </a:cubicBezTo>
                    <a:close/>
                  </a:path>
                </a:pathLst>
              </a:custGeom>
              <a:solidFill>
                <a:srgbClr val="F29886"/>
              </a:solidFill>
              <a:ln w="154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254" name="Graphic 7">
                <a:extLst>
                  <a:ext uri="{FF2B5EF4-FFF2-40B4-BE49-F238E27FC236}">
                    <a16:creationId xmlns:a16="http://schemas.microsoft.com/office/drawing/2014/main" id="{51737E47-FDF1-426E-AE34-4A6B4EC0DBF5}"/>
                  </a:ext>
                </a:extLst>
              </p:cNvPr>
              <p:cNvGrpSpPr/>
              <p:nvPr/>
            </p:nvGrpSpPr>
            <p:grpSpPr>
              <a:xfrm>
                <a:off x="3677674" y="3880472"/>
                <a:ext cx="343833" cy="32522"/>
                <a:chOff x="3677674" y="3880472"/>
                <a:chExt cx="343833" cy="32522"/>
              </a:xfrm>
              <a:solidFill>
                <a:srgbClr val="754435"/>
              </a:solidFill>
            </p:grpSpPr>
            <p:sp>
              <p:nvSpPr>
                <p:cNvPr id="256" name="Freeform: Shape 255">
                  <a:extLst>
                    <a:ext uri="{FF2B5EF4-FFF2-40B4-BE49-F238E27FC236}">
                      <a16:creationId xmlns:a16="http://schemas.microsoft.com/office/drawing/2014/main" id="{11C9E9DE-E716-4DA9-9B98-DDE580A789F6}"/>
                    </a:ext>
                  </a:extLst>
                </p:cNvPr>
                <p:cNvSpPr/>
                <p:nvPr/>
              </p:nvSpPr>
              <p:spPr>
                <a:xfrm>
                  <a:off x="3677674" y="3880783"/>
                  <a:ext cx="98017" cy="31969"/>
                </a:xfrm>
                <a:custGeom>
                  <a:avLst/>
                  <a:gdLst>
                    <a:gd name="connsiteX0" fmla="*/ 2578 w 98017"/>
                    <a:gd name="connsiteY0" fmla="*/ 28436 h 31969"/>
                    <a:gd name="connsiteX1" fmla="*/ 99 w 98017"/>
                    <a:gd name="connsiteY1" fmla="*/ 23943 h 31969"/>
                    <a:gd name="connsiteX2" fmla="*/ 2113 w 98017"/>
                    <a:gd name="connsiteY2" fmla="*/ 16042 h 31969"/>
                    <a:gd name="connsiteX3" fmla="*/ 95069 w 98017"/>
                    <a:gd name="connsiteY3" fmla="*/ 4112 h 31969"/>
                    <a:gd name="connsiteX4" fmla="*/ 98013 w 98017"/>
                    <a:gd name="connsiteY4" fmla="*/ 9535 h 31969"/>
                    <a:gd name="connsiteX5" fmla="*/ 93520 w 98017"/>
                    <a:gd name="connsiteY5" fmla="*/ 17591 h 31969"/>
                    <a:gd name="connsiteX6" fmla="*/ 2578 w 98017"/>
                    <a:gd name="connsiteY6" fmla="*/ 28436 h 3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017" h="31969">
                      <a:moveTo>
                        <a:pt x="2578" y="28436"/>
                      </a:moveTo>
                      <a:cubicBezTo>
                        <a:pt x="564" y="26267"/>
                        <a:pt x="99" y="23943"/>
                        <a:pt x="99" y="23943"/>
                      </a:cubicBezTo>
                      <a:cubicBezTo>
                        <a:pt x="99" y="23943"/>
                        <a:pt x="-676" y="20380"/>
                        <a:pt x="2113" y="16042"/>
                      </a:cubicBezTo>
                      <a:cubicBezTo>
                        <a:pt x="9240" y="4577"/>
                        <a:pt x="84689" y="-6113"/>
                        <a:pt x="95069" y="4112"/>
                      </a:cubicBezTo>
                      <a:cubicBezTo>
                        <a:pt x="97858" y="6746"/>
                        <a:pt x="98013" y="9535"/>
                        <a:pt x="98013" y="9535"/>
                      </a:cubicBezTo>
                      <a:cubicBezTo>
                        <a:pt x="98168" y="13408"/>
                        <a:pt x="94759" y="16352"/>
                        <a:pt x="93520" y="17591"/>
                      </a:cubicBezTo>
                      <a:cubicBezTo>
                        <a:pt x="79886" y="29520"/>
                        <a:pt x="10634" y="36647"/>
                        <a:pt x="2578" y="28436"/>
                      </a:cubicBezTo>
                      <a:close/>
                    </a:path>
                  </a:pathLst>
                </a:custGeom>
                <a:solidFill>
                  <a:srgbClr val="754435"/>
                </a:solidFill>
                <a:ln w="154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 name="Freeform: Shape 259">
                  <a:extLst>
                    <a:ext uri="{FF2B5EF4-FFF2-40B4-BE49-F238E27FC236}">
                      <a16:creationId xmlns:a16="http://schemas.microsoft.com/office/drawing/2014/main" id="{6C008718-3DF2-4E75-95A6-0EC8D12318C1}"/>
                    </a:ext>
                  </a:extLst>
                </p:cNvPr>
                <p:cNvSpPr/>
                <p:nvPr/>
              </p:nvSpPr>
              <p:spPr>
                <a:xfrm>
                  <a:off x="3923777" y="3880472"/>
                  <a:ext cx="97730" cy="32522"/>
                </a:xfrm>
                <a:custGeom>
                  <a:avLst/>
                  <a:gdLst>
                    <a:gd name="connsiteX0" fmla="*/ 94990 w 97730"/>
                    <a:gd name="connsiteY0" fmla="*/ 29057 h 32522"/>
                    <a:gd name="connsiteX1" fmla="*/ 97624 w 97730"/>
                    <a:gd name="connsiteY1" fmla="*/ 24564 h 32522"/>
                    <a:gd name="connsiteX2" fmla="*/ 95765 w 97730"/>
                    <a:gd name="connsiteY2" fmla="*/ 16663 h 32522"/>
                    <a:gd name="connsiteX3" fmla="*/ 2963 w 97730"/>
                    <a:gd name="connsiteY3" fmla="*/ 3804 h 32522"/>
                    <a:gd name="connsiteX4" fmla="*/ 20 w 97730"/>
                    <a:gd name="connsiteY4" fmla="*/ 9227 h 32522"/>
                    <a:gd name="connsiteX5" fmla="*/ 4513 w 97730"/>
                    <a:gd name="connsiteY5" fmla="*/ 17283 h 32522"/>
                    <a:gd name="connsiteX6" fmla="*/ 94990 w 97730"/>
                    <a:gd name="connsiteY6" fmla="*/ 29057 h 32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730" h="32522">
                      <a:moveTo>
                        <a:pt x="94990" y="29057"/>
                      </a:moveTo>
                      <a:cubicBezTo>
                        <a:pt x="97004" y="27043"/>
                        <a:pt x="97624" y="24564"/>
                        <a:pt x="97624" y="24564"/>
                      </a:cubicBezTo>
                      <a:cubicBezTo>
                        <a:pt x="97624" y="24564"/>
                        <a:pt x="98399" y="21001"/>
                        <a:pt x="95765" y="16663"/>
                      </a:cubicBezTo>
                      <a:cubicBezTo>
                        <a:pt x="88638" y="5199"/>
                        <a:pt x="13344" y="-6111"/>
                        <a:pt x="2963" y="3804"/>
                      </a:cubicBezTo>
                      <a:cubicBezTo>
                        <a:pt x="175" y="6438"/>
                        <a:pt x="20" y="9227"/>
                        <a:pt x="20" y="9227"/>
                      </a:cubicBezTo>
                      <a:cubicBezTo>
                        <a:pt x="-290" y="13100"/>
                        <a:pt x="3118" y="16198"/>
                        <a:pt x="4513" y="17283"/>
                      </a:cubicBezTo>
                      <a:cubicBezTo>
                        <a:pt x="17681" y="29522"/>
                        <a:pt x="86779" y="37423"/>
                        <a:pt x="94990" y="29057"/>
                      </a:cubicBezTo>
                      <a:close/>
                    </a:path>
                  </a:pathLst>
                </a:custGeom>
                <a:solidFill>
                  <a:srgbClr val="754435"/>
                </a:solidFill>
                <a:ln w="154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61" name="Graphic 7">
                <a:extLst>
                  <a:ext uri="{FF2B5EF4-FFF2-40B4-BE49-F238E27FC236}">
                    <a16:creationId xmlns:a16="http://schemas.microsoft.com/office/drawing/2014/main" id="{51737E47-FDF1-426E-AE34-4A6B4EC0DBF5}"/>
                  </a:ext>
                </a:extLst>
              </p:cNvPr>
              <p:cNvGrpSpPr/>
              <p:nvPr/>
            </p:nvGrpSpPr>
            <p:grpSpPr>
              <a:xfrm>
                <a:off x="3725335" y="3946712"/>
                <a:ext cx="257643" cy="37802"/>
                <a:chOff x="3725335" y="3946712"/>
                <a:chExt cx="257643" cy="37802"/>
              </a:xfrm>
              <a:solidFill>
                <a:srgbClr val="232323"/>
              </a:solidFill>
            </p:grpSpPr>
            <p:sp>
              <p:nvSpPr>
                <p:cNvPr id="262" name="Freeform: Shape 261">
                  <a:extLst>
                    <a:ext uri="{FF2B5EF4-FFF2-40B4-BE49-F238E27FC236}">
                      <a16:creationId xmlns:a16="http://schemas.microsoft.com/office/drawing/2014/main" id="{63610CB9-C61E-4C9E-A598-FF18D7E2C75A}"/>
                    </a:ext>
                  </a:extLst>
                </p:cNvPr>
                <p:cNvSpPr/>
                <p:nvPr/>
              </p:nvSpPr>
              <p:spPr>
                <a:xfrm>
                  <a:off x="3947965" y="3946712"/>
                  <a:ext cx="35013" cy="37802"/>
                </a:xfrm>
                <a:custGeom>
                  <a:avLst/>
                  <a:gdLst>
                    <a:gd name="connsiteX0" fmla="*/ 0 w 35013"/>
                    <a:gd name="connsiteY0" fmla="*/ 18901 h 37802"/>
                    <a:gd name="connsiteX1" fmla="*/ 17507 w 35013"/>
                    <a:gd name="connsiteY1" fmla="*/ 37802 h 37802"/>
                    <a:gd name="connsiteX2" fmla="*/ 35013 w 35013"/>
                    <a:gd name="connsiteY2" fmla="*/ 18901 h 37802"/>
                    <a:gd name="connsiteX3" fmla="*/ 17507 w 35013"/>
                    <a:gd name="connsiteY3" fmla="*/ 0 h 37802"/>
                    <a:gd name="connsiteX4" fmla="*/ 0 w 35013"/>
                    <a:gd name="connsiteY4" fmla="*/ 18901 h 378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13" h="37802">
                      <a:moveTo>
                        <a:pt x="0" y="18901"/>
                      </a:moveTo>
                      <a:cubicBezTo>
                        <a:pt x="0" y="29281"/>
                        <a:pt x="7901" y="37802"/>
                        <a:pt x="17507" y="37802"/>
                      </a:cubicBezTo>
                      <a:cubicBezTo>
                        <a:pt x="27112" y="37802"/>
                        <a:pt x="35013" y="29281"/>
                        <a:pt x="35013" y="18901"/>
                      </a:cubicBezTo>
                      <a:cubicBezTo>
                        <a:pt x="35013" y="8521"/>
                        <a:pt x="27112" y="0"/>
                        <a:pt x="17507" y="0"/>
                      </a:cubicBezTo>
                      <a:cubicBezTo>
                        <a:pt x="7901" y="0"/>
                        <a:pt x="0" y="8521"/>
                        <a:pt x="0" y="18901"/>
                      </a:cubicBezTo>
                      <a:close/>
                    </a:path>
                  </a:pathLst>
                </a:custGeom>
                <a:solidFill>
                  <a:srgbClr val="232323"/>
                </a:solidFill>
                <a:ln w="154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3" name="Freeform: Shape 262">
                  <a:extLst>
                    <a:ext uri="{FF2B5EF4-FFF2-40B4-BE49-F238E27FC236}">
                      <a16:creationId xmlns:a16="http://schemas.microsoft.com/office/drawing/2014/main" id="{125AFAF2-EAC4-4EA6-BA60-74FA734882B4}"/>
                    </a:ext>
                  </a:extLst>
                </p:cNvPr>
                <p:cNvSpPr/>
                <p:nvPr/>
              </p:nvSpPr>
              <p:spPr>
                <a:xfrm>
                  <a:off x="3725335" y="3946712"/>
                  <a:ext cx="35013" cy="37802"/>
                </a:xfrm>
                <a:custGeom>
                  <a:avLst/>
                  <a:gdLst>
                    <a:gd name="connsiteX0" fmla="*/ 35014 w 35013"/>
                    <a:gd name="connsiteY0" fmla="*/ 18901 h 37802"/>
                    <a:gd name="connsiteX1" fmla="*/ 17507 w 35013"/>
                    <a:gd name="connsiteY1" fmla="*/ 37802 h 37802"/>
                    <a:gd name="connsiteX2" fmla="*/ 0 w 35013"/>
                    <a:gd name="connsiteY2" fmla="*/ 18901 h 37802"/>
                    <a:gd name="connsiteX3" fmla="*/ 17507 w 35013"/>
                    <a:gd name="connsiteY3" fmla="*/ 0 h 37802"/>
                    <a:gd name="connsiteX4" fmla="*/ 35014 w 35013"/>
                    <a:gd name="connsiteY4" fmla="*/ 18901 h 378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13" h="37802">
                      <a:moveTo>
                        <a:pt x="35014" y="18901"/>
                      </a:moveTo>
                      <a:cubicBezTo>
                        <a:pt x="35014" y="29340"/>
                        <a:pt x="27176" y="37802"/>
                        <a:pt x="17507" y="37802"/>
                      </a:cubicBezTo>
                      <a:cubicBezTo>
                        <a:pt x="7838" y="37802"/>
                        <a:pt x="0" y="29340"/>
                        <a:pt x="0" y="18901"/>
                      </a:cubicBezTo>
                      <a:cubicBezTo>
                        <a:pt x="0" y="8462"/>
                        <a:pt x="7838" y="0"/>
                        <a:pt x="17507" y="0"/>
                      </a:cubicBezTo>
                      <a:cubicBezTo>
                        <a:pt x="27175" y="0"/>
                        <a:pt x="35014" y="8462"/>
                        <a:pt x="35014" y="18901"/>
                      </a:cubicBezTo>
                      <a:close/>
                    </a:path>
                  </a:pathLst>
                </a:custGeom>
                <a:solidFill>
                  <a:srgbClr val="232323"/>
                </a:solidFill>
                <a:ln w="154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264" name="Freeform: Shape 263">
                <a:extLst>
                  <a:ext uri="{FF2B5EF4-FFF2-40B4-BE49-F238E27FC236}">
                    <a16:creationId xmlns:a16="http://schemas.microsoft.com/office/drawing/2014/main" id="{AB3758F9-49A6-4AA5-8858-F30297DBD942}"/>
                  </a:ext>
                </a:extLst>
              </p:cNvPr>
              <p:cNvSpPr/>
              <p:nvPr/>
            </p:nvSpPr>
            <p:spPr>
              <a:xfrm>
                <a:off x="3587712" y="3578438"/>
                <a:ext cx="526683" cy="354330"/>
              </a:xfrm>
              <a:custGeom>
                <a:avLst/>
                <a:gdLst>
                  <a:gd name="connsiteX0" fmla="*/ 150947 w 526683"/>
                  <a:gd name="connsiteY0" fmla="*/ 138981 h 354330"/>
                  <a:gd name="connsiteX1" fmla="*/ 121511 w 526683"/>
                  <a:gd name="connsiteY1" fmla="*/ 185614 h 354330"/>
                  <a:gd name="connsiteX2" fmla="*/ 37385 w 526683"/>
                  <a:gd name="connsiteY2" fmla="*/ 269585 h 354330"/>
                  <a:gd name="connsiteX3" fmla="*/ 17864 w 526683"/>
                  <a:gd name="connsiteY3" fmla="*/ 340697 h 354330"/>
                  <a:gd name="connsiteX4" fmla="*/ 5935 w 526683"/>
                  <a:gd name="connsiteY4" fmla="*/ 194910 h 354330"/>
                  <a:gd name="connsiteX5" fmla="*/ 117792 w 526683"/>
                  <a:gd name="connsiteY5" fmla="*/ 40448 h 354330"/>
                  <a:gd name="connsiteX6" fmla="*/ 314860 w 526683"/>
                  <a:gd name="connsiteY6" fmla="*/ 5434 h 354330"/>
                  <a:gd name="connsiteX7" fmla="*/ 493336 w 526683"/>
                  <a:gd name="connsiteY7" fmla="*/ 120390 h 354330"/>
                  <a:gd name="connsiteX8" fmla="*/ 503561 w 526683"/>
                  <a:gd name="connsiteY8" fmla="*/ 354330 h 354330"/>
                  <a:gd name="connsiteX9" fmla="*/ 423619 w 526683"/>
                  <a:gd name="connsiteY9" fmla="*/ 279345 h 354330"/>
                  <a:gd name="connsiteX10" fmla="*/ 164425 w 526683"/>
                  <a:gd name="connsiteY10" fmla="*/ 171981 h 354330"/>
                  <a:gd name="connsiteX11" fmla="*/ 150947 w 526683"/>
                  <a:gd name="connsiteY11" fmla="*/ 138981 h 354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26683" h="354330">
                    <a:moveTo>
                      <a:pt x="150947" y="138981"/>
                    </a:moveTo>
                    <a:cubicBezTo>
                      <a:pt x="145679" y="149981"/>
                      <a:pt x="136384" y="167023"/>
                      <a:pt x="121511" y="185614"/>
                    </a:cubicBezTo>
                    <a:cubicBezTo>
                      <a:pt x="87272" y="228374"/>
                      <a:pt x="58920" y="234571"/>
                      <a:pt x="37385" y="269585"/>
                    </a:cubicBezTo>
                    <a:cubicBezTo>
                      <a:pt x="28864" y="283528"/>
                      <a:pt x="18794" y="305993"/>
                      <a:pt x="17864" y="340697"/>
                    </a:cubicBezTo>
                    <a:cubicBezTo>
                      <a:pt x="9189" y="318852"/>
                      <a:pt x="-9558" y="262923"/>
                      <a:pt x="5935" y="194910"/>
                    </a:cubicBezTo>
                    <a:cubicBezTo>
                      <a:pt x="26230" y="105517"/>
                      <a:pt x="91610" y="57180"/>
                      <a:pt x="117792" y="40448"/>
                    </a:cubicBezTo>
                    <a:cubicBezTo>
                      <a:pt x="203312" y="-14241"/>
                      <a:pt x="290846" y="786"/>
                      <a:pt x="314860" y="5434"/>
                    </a:cubicBezTo>
                    <a:cubicBezTo>
                      <a:pt x="339803" y="10082"/>
                      <a:pt x="437872" y="28673"/>
                      <a:pt x="493336" y="120390"/>
                    </a:cubicBezTo>
                    <a:cubicBezTo>
                      <a:pt x="559025" y="229149"/>
                      <a:pt x="508209" y="344415"/>
                      <a:pt x="503561" y="354330"/>
                    </a:cubicBezTo>
                    <a:cubicBezTo>
                      <a:pt x="474125" y="314824"/>
                      <a:pt x="444224" y="292204"/>
                      <a:pt x="423619" y="279345"/>
                    </a:cubicBezTo>
                    <a:cubicBezTo>
                      <a:pt x="318888" y="213656"/>
                      <a:pt x="209664" y="243867"/>
                      <a:pt x="164425" y="171981"/>
                    </a:cubicBezTo>
                    <a:cubicBezTo>
                      <a:pt x="156214" y="158657"/>
                      <a:pt x="152651" y="146108"/>
                      <a:pt x="150947" y="138981"/>
                    </a:cubicBezTo>
                    <a:close/>
                  </a:path>
                </a:pathLst>
              </a:custGeom>
              <a:solidFill>
                <a:srgbClr val="754435"/>
              </a:solidFill>
              <a:ln w="154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265" name="Graphic 7">
                <a:extLst>
                  <a:ext uri="{FF2B5EF4-FFF2-40B4-BE49-F238E27FC236}">
                    <a16:creationId xmlns:a16="http://schemas.microsoft.com/office/drawing/2014/main" id="{51737E47-FDF1-426E-AE34-4A6B4EC0DBF5}"/>
                  </a:ext>
                </a:extLst>
              </p:cNvPr>
              <p:cNvGrpSpPr/>
              <p:nvPr/>
            </p:nvGrpSpPr>
            <p:grpSpPr>
              <a:xfrm>
                <a:off x="3516499" y="3890252"/>
                <a:ext cx="127964" cy="192176"/>
                <a:chOff x="3516499" y="3890252"/>
                <a:chExt cx="127964" cy="192176"/>
              </a:xfrm>
              <a:solidFill>
                <a:schemeClr val="accent1"/>
              </a:solidFill>
            </p:grpSpPr>
            <p:sp>
              <p:nvSpPr>
                <p:cNvPr id="276" name="Freeform: Shape 275">
                  <a:extLst>
                    <a:ext uri="{FF2B5EF4-FFF2-40B4-BE49-F238E27FC236}">
                      <a16:creationId xmlns:a16="http://schemas.microsoft.com/office/drawing/2014/main" id="{CFF6A2F9-F019-4F88-9C91-181FD1A36C4C}"/>
                    </a:ext>
                  </a:extLst>
                </p:cNvPr>
                <p:cNvSpPr/>
                <p:nvPr/>
              </p:nvSpPr>
              <p:spPr>
                <a:xfrm>
                  <a:off x="3516499" y="3890252"/>
                  <a:ext cx="127964" cy="192176"/>
                </a:xfrm>
                <a:custGeom>
                  <a:avLst/>
                  <a:gdLst>
                    <a:gd name="connsiteX0" fmla="*/ 123161 w 127964"/>
                    <a:gd name="connsiteY0" fmla="*/ 192176 h 192176"/>
                    <a:gd name="connsiteX1" fmla="*/ 459 w 127964"/>
                    <a:gd name="connsiteY1" fmla="*/ 59404 h 192176"/>
                    <a:gd name="connsiteX2" fmla="*/ 42289 w 127964"/>
                    <a:gd name="connsiteY2" fmla="*/ 2391 h 192176"/>
                    <a:gd name="connsiteX3" fmla="*/ 127964 w 127964"/>
                    <a:gd name="connsiteY3" fmla="*/ 46080 h 192176"/>
                    <a:gd name="connsiteX4" fmla="*/ 123161 w 127964"/>
                    <a:gd name="connsiteY4" fmla="*/ 192176 h 1921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964" h="192176">
                      <a:moveTo>
                        <a:pt x="123161" y="192176"/>
                      </a:moveTo>
                      <a:cubicBezTo>
                        <a:pt x="43064" y="161656"/>
                        <a:pt x="-5273" y="106966"/>
                        <a:pt x="459" y="59404"/>
                      </a:cubicBezTo>
                      <a:cubicBezTo>
                        <a:pt x="2938" y="38953"/>
                        <a:pt x="16417" y="10602"/>
                        <a:pt x="42289" y="2391"/>
                      </a:cubicBezTo>
                      <a:cubicBezTo>
                        <a:pt x="70331" y="-6595"/>
                        <a:pt x="106584" y="10137"/>
                        <a:pt x="127964" y="46080"/>
                      </a:cubicBezTo>
                      <a:lnTo>
                        <a:pt x="123161" y="192176"/>
                      </a:lnTo>
                      <a:close/>
                    </a:path>
                  </a:pathLst>
                </a:custGeom>
                <a:solidFill>
                  <a:srgbClr val="C5996D"/>
                </a:solidFill>
                <a:ln w="154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 name="Freeform: Shape 276">
                  <a:extLst>
                    <a:ext uri="{FF2B5EF4-FFF2-40B4-BE49-F238E27FC236}">
                      <a16:creationId xmlns:a16="http://schemas.microsoft.com/office/drawing/2014/main" id="{37F1435B-E5D0-4B8D-ACF7-FE360032B852}"/>
                    </a:ext>
                  </a:extLst>
                </p:cNvPr>
                <p:cNvSpPr/>
                <p:nvPr/>
              </p:nvSpPr>
              <p:spPr>
                <a:xfrm>
                  <a:off x="3544985" y="3938486"/>
                  <a:ext cx="52755" cy="59995"/>
                </a:xfrm>
                <a:custGeom>
                  <a:avLst/>
                  <a:gdLst>
                    <a:gd name="connsiteX0" fmla="*/ 40916 w 52755"/>
                    <a:gd name="connsiteY0" fmla="*/ 18141 h 59995"/>
                    <a:gd name="connsiteX1" fmla="*/ 2649 w 52755"/>
                    <a:gd name="connsiteY1" fmla="*/ 15 h 59995"/>
                    <a:gd name="connsiteX2" fmla="*/ 15 w 52755"/>
                    <a:gd name="connsiteY2" fmla="*/ 2339 h 59995"/>
                    <a:gd name="connsiteX3" fmla="*/ 2339 w 52755"/>
                    <a:gd name="connsiteY3" fmla="*/ 5127 h 59995"/>
                    <a:gd name="connsiteX4" fmla="*/ 37042 w 52755"/>
                    <a:gd name="connsiteY4" fmla="*/ 21550 h 59995"/>
                    <a:gd name="connsiteX5" fmla="*/ 46648 w 52755"/>
                    <a:gd name="connsiteY5" fmla="*/ 38901 h 59995"/>
                    <a:gd name="connsiteX6" fmla="*/ 31775 w 52755"/>
                    <a:gd name="connsiteY6" fmla="*/ 34873 h 59995"/>
                    <a:gd name="connsiteX7" fmla="*/ 13184 w 52755"/>
                    <a:gd name="connsiteY7" fmla="*/ 43859 h 59995"/>
                    <a:gd name="connsiteX8" fmla="*/ 13493 w 52755"/>
                    <a:gd name="connsiteY8" fmla="*/ 47732 h 59995"/>
                    <a:gd name="connsiteX9" fmla="*/ 17367 w 52755"/>
                    <a:gd name="connsiteY9" fmla="*/ 47422 h 59995"/>
                    <a:gd name="connsiteX10" fmla="*/ 32240 w 52755"/>
                    <a:gd name="connsiteY10" fmla="*/ 39676 h 59995"/>
                    <a:gd name="connsiteX11" fmla="*/ 47887 w 52755"/>
                    <a:gd name="connsiteY11" fmla="*/ 44014 h 59995"/>
                    <a:gd name="connsiteX12" fmla="*/ 48662 w 52755"/>
                    <a:gd name="connsiteY12" fmla="*/ 58112 h 59995"/>
                    <a:gd name="connsiteX13" fmla="*/ 50211 w 52755"/>
                    <a:gd name="connsiteY13" fmla="*/ 59972 h 59995"/>
                    <a:gd name="connsiteX14" fmla="*/ 52225 w 52755"/>
                    <a:gd name="connsiteY14" fmla="*/ 58422 h 59995"/>
                    <a:gd name="connsiteX15" fmla="*/ 40916 w 52755"/>
                    <a:gd name="connsiteY15" fmla="*/ 18141 h 59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2755" h="59995">
                      <a:moveTo>
                        <a:pt x="40916" y="18141"/>
                      </a:moveTo>
                      <a:cubicBezTo>
                        <a:pt x="31465" y="6832"/>
                        <a:pt x="17057" y="944"/>
                        <a:pt x="2649" y="15"/>
                      </a:cubicBezTo>
                      <a:cubicBezTo>
                        <a:pt x="1254" y="-140"/>
                        <a:pt x="15" y="944"/>
                        <a:pt x="15" y="2339"/>
                      </a:cubicBezTo>
                      <a:cubicBezTo>
                        <a:pt x="-140" y="3733"/>
                        <a:pt x="944" y="4972"/>
                        <a:pt x="2339" y="5127"/>
                      </a:cubicBezTo>
                      <a:cubicBezTo>
                        <a:pt x="15353" y="6057"/>
                        <a:pt x="28366" y="11789"/>
                        <a:pt x="37042" y="21550"/>
                      </a:cubicBezTo>
                      <a:cubicBezTo>
                        <a:pt x="41535" y="26507"/>
                        <a:pt x="44789" y="32395"/>
                        <a:pt x="46648" y="38901"/>
                      </a:cubicBezTo>
                      <a:cubicBezTo>
                        <a:pt x="42000" y="36423"/>
                        <a:pt x="37042" y="34718"/>
                        <a:pt x="31775" y="34873"/>
                      </a:cubicBezTo>
                      <a:cubicBezTo>
                        <a:pt x="24648" y="35183"/>
                        <a:pt x="17831" y="38592"/>
                        <a:pt x="13184" y="43859"/>
                      </a:cubicBezTo>
                      <a:cubicBezTo>
                        <a:pt x="12254" y="44944"/>
                        <a:pt x="12254" y="46803"/>
                        <a:pt x="13493" y="47732"/>
                      </a:cubicBezTo>
                      <a:cubicBezTo>
                        <a:pt x="14578" y="48662"/>
                        <a:pt x="16282" y="48507"/>
                        <a:pt x="17367" y="47422"/>
                      </a:cubicBezTo>
                      <a:cubicBezTo>
                        <a:pt x="21085" y="43085"/>
                        <a:pt x="26507" y="40141"/>
                        <a:pt x="32240" y="39676"/>
                      </a:cubicBezTo>
                      <a:cubicBezTo>
                        <a:pt x="37662" y="39211"/>
                        <a:pt x="43239" y="41070"/>
                        <a:pt x="47887" y="44014"/>
                      </a:cubicBezTo>
                      <a:cubicBezTo>
                        <a:pt x="48817" y="48662"/>
                        <a:pt x="49127" y="53310"/>
                        <a:pt x="48662" y="58112"/>
                      </a:cubicBezTo>
                      <a:cubicBezTo>
                        <a:pt x="48507" y="59042"/>
                        <a:pt x="49282" y="59972"/>
                        <a:pt x="50211" y="59972"/>
                      </a:cubicBezTo>
                      <a:cubicBezTo>
                        <a:pt x="51141" y="60126"/>
                        <a:pt x="52070" y="59507"/>
                        <a:pt x="52225" y="58422"/>
                      </a:cubicBezTo>
                      <a:cubicBezTo>
                        <a:pt x="54239" y="44324"/>
                        <a:pt x="50521" y="29141"/>
                        <a:pt x="40916" y="18141"/>
                      </a:cubicBezTo>
                      <a:close/>
                    </a:path>
                  </a:pathLst>
                </a:custGeom>
                <a:solidFill>
                  <a:srgbClr val="EF9673"/>
                </a:solidFill>
                <a:ln w="154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79" name="Graphic 7">
                <a:extLst>
                  <a:ext uri="{FF2B5EF4-FFF2-40B4-BE49-F238E27FC236}">
                    <a16:creationId xmlns:a16="http://schemas.microsoft.com/office/drawing/2014/main" id="{51737E47-FDF1-426E-AE34-4A6B4EC0DBF5}"/>
                  </a:ext>
                </a:extLst>
              </p:cNvPr>
              <p:cNvGrpSpPr/>
              <p:nvPr/>
            </p:nvGrpSpPr>
            <p:grpSpPr>
              <a:xfrm>
                <a:off x="4054555" y="3890252"/>
                <a:ext cx="127964" cy="192176"/>
                <a:chOff x="4054555" y="3890252"/>
                <a:chExt cx="127964" cy="192176"/>
              </a:xfrm>
              <a:solidFill>
                <a:schemeClr val="accent1"/>
              </a:solidFill>
            </p:grpSpPr>
            <p:sp>
              <p:nvSpPr>
                <p:cNvPr id="285" name="Freeform: Shape 284">
                  <a:extLst>
                    <a:ext uri="{FF2B5EF4-FFF2-40B4-BE49-F238E27FC236}">
                      <a16:creationId xmlns:a16="http://schemas.microsoft.com/office/drawing/2014/main" id="{E536424D-7567-43A0-95BC-F2112B873882}"/>
                    </a:ext>
                  </a:extLst>
                </p:cNvPr>
                <p:cNvSpPr/>
                <p:nvPr/>
              </p:nvSpPr>
              <p:spPr>
                <a:xfrm>
                  <a:off x="4054555" y="3890252"/>
                  <a:ext cx="127964" cy="192176"/>
                </a:xfrm>
                <a:custGeom>
                  <a:avLst/>
                  <a:gdLst>
                    <a:gd name="connsiteX0" fmla="*/ 4803 w 127964"/>
                    <a:gd name="connsiteY0" fmla="*/ 192176 h 192176"/>
                    <a:gd name="connsiteX1" fmla="*/ 127505 w 127964"/>
                    <a:gd name="connsiteY1" fmla="*/ 59404 h 192176"/>
                    <a:gd name="connsiteX2" fmla="*/ 85675 w 127964"/>
                    <a:gd name="connsiteY2" fmla="*/ 2391 h 192176"/>
                    <a:gd name="connsiteX3" fmla="*/ 0 w 127964"/>
                    <a:gd name="connsiteY3" fmla="*/ 46080 h 192176"/>
                    <a:gd name="connsiteX4" fmla="*/ 4803 w 127964"/>
                    <a:gd name="connsiteY4" fmla="*/ 192176 h 1921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964" h="192176">
                      <a:moveTo>
                        <a:pt x="4803" y="192176"/>
                      </a:moveTo>
                      <a:cubicBezTo>
                        <a:pt x="84900" y="161656"/>
                        <a:pt x="133237" y="106966"/>
                        <a:pt x="127505" y="59404"/>
                      </a:cubicBezTo>
                      <a:cubicBezTo>
                        <a:pt x="125026" y="38953"/>
                        <a:pt x="111548" y="10602"/>
                        <a:pt x="85675" y="2391"/>
                      </a:cubicBezTo>
                      <a:cubicBezTo>
                        <a:pt x="57633" y="-6595"/>
                        <a:pt x="21380" y="10137"/>
                        <a:pt x="0" y="46080"/>
                      </a:cubicBezTo>
                      <a:lnTo>
                        <a:pt x="4803" y="192176"/>
                      </a:lnTo>
                      <a:close/>
                    </a:path>
                  </a:pathLst>
                </a:custGeom>
                <a:solidFill>
                  <a:srgbClr val="C5996D"/>
                </a:solidFill>
                <a:ln w="154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6" name="Freeform: Shape 285">
                  <a:extLst>
                    <a:ext uri="{FF2B5EF4-FFF2-40B4-BE49-F238E27FC236}">
                      <a16:creationId xmlns:a16="http://schemas.microsoft.com/office/drawing/2014/main" id="{C9BD01C1-33DA-4FEA-88EA-59ED3F4D0E58}"/>
                    </a:ext>
                  </a:extLst>
                </p:cNvPr>
                <p:cNvSpPr/>
                <p:nvPr/>
              </p:nvSpPr>
              <p:spPr>
                <a:xfrm>
                  <a:off x="4101363" y="3938346"/>
                  <a:ext cx="52513" cy="60111"/>
                </a:xfrm>
                <a:custGeom>
                  <a:avLst/>
                  <a:gdLst>
                    <a:gd name="connsiteX0" fmla="*/ 50021 w 52513"/>
                    <a:gd name="connsiteY0" fmla="*/ 0 h 60111"/>
                    <a:gd name="connsiteX1" fmla="*/ 11754 w 52513"/>
                    <a:gd name="connsiteY1" fmla="*/ 18126 h 60111"/>
                    <a:gd name="connsiteX2" fmla="*/ 599 w 52513"/>
                    <a:gd name="connsiteY2" fmla="*/ 58562 h 60111"/>
                    <a:gd name="connsiteX3" fmla="*/ 2458 w 52513"/>
                    <a:gd name="connsiteY3" fmla="*/ 60112 h 60111"/>
                    <a:gd name="connsiteX4" fmla="*/ 4008 w 52513"/>
                    <a:gd name="connsiteY4" fmla="*/ 58098 h 60111"/>
                    <a:gd name="connsiteX5" fmla="*/ 4782 w 52513"/>
                    <a:gd name="connsiteY5" fmla="*/ 43999 h 60111"/>
                    <a:gd name="connsiteX6" fmla="*/ 20430 w 52513"/>
                    <a:gd name="connsiteY6" fmla="*/ 39661 h 60111"/>
                    <a:gd name="connsiteX7" fmla="*/ 35303 w 52513"/>
                    <a:gd name="connsiteY7" fmla="*/ 47408 h 60111"/>
                    <a:gd name="connsiteX8" fmla="*/ 39176 w 52513"/>
                    <a:gd name="connsiteY8" fmla="*/ 47563 h 60111"/>
                    <a:gd name="connsiteX9" fmla="*/ 39331 w 52513"/>
                    <a:gd name="connsiteY9" fmla="*/ 43689 h 60111"/>
                    <a:gd name="connsiteX10" fmla="*/ 20740 w 52513"/>
                    <a:gd name="connsiteY10" fmla="*/ 34704 h 60111"/>
                    <a:gd name="connsiteX11" fmla="*/ 5867 w 52513"/>
                    <a:gd name="connsiteY11" fmla="*/ 38732 h 60111"/>
                    <a:gd name="connsiteX12" fmla="*/ 15472 w 52513"/>
                    <a:gd name="connsiteY12" fmla="*/ 21380 h 60111"/>
                    <a:gd name="connsiteX13" fmla="*/ 50021 w 52513"/>
                    <a:gd name="connsiteY13" fmla="*/ 4958 h 60111"/>
                    <a:gd name="connsiteX14" fmla="*/ 52500 w 52513"/>
                    <a:gd name="connsiteY14" fmla="*/ 2324 h 60111"/>
                    <a:gd name="connsiteX15" fmla="*/ 50021 w 52513"/>
                    <a:gd name="connsiteY15" fmla="*/ 0 h 60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2513" h="60111">
                      <a:moveTo>
                        <a:pt x="50021" y="0"/>
                      </a:moveTo>
                      <a:cubicBezTo>
                        <a:pt x="35613" y="930"/>
                        <a:pt x="21205" y="6817"/>
                        <a:pt x="11754" y="18126"/>
                      </a:cubicBezTo>
                      <a:cubicBezTo>
                        <a:pt x="2149" y="29126"/>
                        <a:pt x="-1570" y="44464"/>
                        <a:pt x="599" y="58562"/>
                      </a:cubicBezTo>
                      <a:cubicBezTo>
                        <a:pt x="754" y="59492"/>
                        <a:pt x="1529" y="60112"/>
                        <a:pt x="2458" y="60112"/>
                      </a:cubicBezTo>
                      <a:cubicBezTo>
                        <a:pt x="3388" y="59957"/>
                        <a:pt x="4163" y="59182"/>
                        <a:pt x="4008" y="58098"/>
                      </a:cubicBezTo>
                      <a:cubicBezTo>
                        <a:pt x="3543" y="53450"/>
                        <a:pt x="4008" y="48647"/>
                        <a:pt x="4782" y="43999"/>
                      </a:cubicBezTo>
                      <a:cubicBezTo>
                        <a:pt x="9430" y="41056"/>
                        <a:pt x="15008" y="39197"/>
                        <a:pt x="20430" y="39661"/>
                      </a:cubicBezTo>
                      <a:cubicBezTo>
                        <a:pt x="26162" y="40126"/>
                        <a:pt x="31430" y="43070"/>
                        <a:pt x="35303" y="47408"/>
                      </a:cubicBezTo>
                      <a:cubicBezTo>
                        <a:pt x="36232" y="48492"/>
                        <a:pt x="38092" y="48647"/>
                        <a:pt x="39176" y="47563"/>
                      </a:cubicBezTo>
                      <a:cubicBezTo>
                        <a:pt x="40261" y="46478"/>
                        <a:pt x="40416" y="44774"/>
                        <a:pt x="39331" y="43689"/>
                      </a:cubicBezTo>
                      <a:cubicBezTo>
                        <a:pt x="34683" y="38422"/>
                        <a:pt x="27866" y="35014"/>
                        <a:pt x="20740" y="34704"/>
                      </a:cubicBezTo>
                      <a:cubicBezTo>
                        <a:pt x="15317" y="34549"/>
                        <a:pt x="10360" y="36253"/>
                        <a:pt x="5867" y="38732"/>
                      </a:cubicBezTo>
                      <a:cubicBezTo>
                        <a:pt x="7726" y="32380"/>
                        <a:pt x="10979" y="26338"/>
                        <a:pt x="15472" y="21380"/>
                      </a:cubicBezTo>
                      <a:cubicBezTo>
                        <a:pt x="24148" y="11774"/>
                        <a:pt x="37162" y="6042"/>
                        <a:pt x="50021" y="4958"/>
                      </a:cubicBezTo>
                      <a:cubicBezTo>
                        <a:pt x="51415" y="4803"/>
                        <a:pt x="52655" y="3718"/>
                        <a:pt x="52500" y="2324"/>
                      </a:cubicBezTo>
                      <a:cubicBezTo>
                        <a:pt x="52500" y="1084"/>
                        <a:pt x="51415" y="0"/>
                        <a:pt x="50021" y="0"/>
                      </a:cubicBezTo>
                      <a:close/>
                    </a:path>
                  </a:pathLst>
                </a:custGeom>
                <a:solidFill>
                  <a:srgbClr val="EF9673"/>
                </a:solidFill>
                <a:ln w="154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287" name="Freeform: Shape 286">
                <a:extLst>
                  <a:ext uri="{FF2B5EF4-FFF2-40B4-BE49-F238E27FC236}">
                    <a16:creationId xmlns:a16="http://schemas.microsoft.com/office/drawing/2014/main" id="{2A21FDF7-6601-44F1-9AE6-4849BC2C5D5E}"/>
                  </a:ext>
                </a:extLst>
              </p:cNvPr>
              <p:cNvSpPr/>
              <p:nvPr/>
            </p:nvSpPr>
            <p:spPr>
              <a:xfrm>
                <a:off x="3790180" y="4148692"/>
                <a:ext cx="118691" cy="43114"/>
              </a:xfrm>
              <a:custGeom>
                <a:avLst/>
                <a:gdLst>
                  <a:gd name="connsiteX0" fmla="*/ 118434 w 118691"/>
                  <a:gd name="connsiteY0" fmla="*/ 9805 h 43114"/>
                  <a:gd name="connsiteX1" fmla="*/ 90702 w 118691"/>
                  <a:gd name="connsiteY1" fmla="*/ 37072 h 43114"/>
                  <a:gd name="connsiteX2" fmla="*/ 58632 w 118691"/>
                  <a:gd name="connsiteY2" fmla="*/ 43114 h 43114"/>
                  <a:gd name="connsiteX3" fmla="*/ 28886 w 118691"/>
                  <a:gd name="connsiteY3" fmla="*/ 38157 h 43114"/>
                  <a:gd name="connsiteX4" fmla="*/ 225 w 118691"/>
                  <a:gd name="connsiteY4" fmla="*/ 11974 h 43114"/>
                  <a:gd name="connsiteX5" fmla="*/ 6886 w 118691"/>
                  <a:gd name="connsiteY5" fmla="*/ 4383 h 43114"/>
                  <a:gd name="connsiteX6" fmla="*/ 60491 w 118691"/>
                  <a:gd name="connsiteY6" fmla="*/ 7946 h 43114"/>
                  <a:gd name="connsiteX7" fmla="*/ 111307 w 118691"/>
                  <a:gd name="connsiteY7" fmla="*/ 2369 h 43114"/>
                  <a:gd name="connsiteX8" fmla="*/ 118434 w 118691"/>
                  <a:gd name="connsiteY8" fmla="*/ 9805 h 43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691" h="43114">
                    <a:moveTo>
                      <a:pt x="118434" y="9805"/>
                    </a:moveTo>
                    <a:cubicBezTo>
                      <a:pt x="121068" y="19720"/>
                      <a:pt x="102941" y="31805"/>
                      <a:pt x="90702" y="37072"/>
                    </a:cubicBezTo>
                    <a:cubicBezTo>
                      <a:pt x="77068" y="42960"/>
                      <a:pt x="64674" y="43114"/>
                      <a:pt x="58632" y="43114"/>
                    </a:cubicBezTo>
                    <a:cubicBezTo>
                      <a:pt x="52900" y="43114"/>
                      <a:pt x="41590" y="43114"/>
                      <a:pt x="28886" y="38157"/>
                    </a:cubicBezTo>
                    <a:cubicBezTo>
                      <a:pt x="16337" y="33354"/>
                      <a:pt x="-2254" y="21889"/>
                      <a:pt x="225" y="11974"/>
                    </a:cubicBezTo>
                    <a:cubicBezTo>
                      <a:pt x="1154" y="7946"/>
                      <a:pt x="5182" y="5467"/>
                      <a:pt x="6886" y="4383"/>
                    </a:cubicBezTo>
                    <a:cubicBezTo>
                      <a:pt x="20985" y="-3983"/>
                      <a:pt x="34309" y="8721"/>
                      <a:pt x="60491" y="7946"/>
                    </a:cubicBezTo>
                    <a:cubicBezTo>
                      <a:pt x="85589" y="7326"/>
                      <a:pt x="97364" y="-5068"/>
                      <a:pt x="111307" y="2369"/>
                    </a:cubicBezTo>
                    <a:cubicBezTo>
                      <a:pt x="112857" y="3298"/>
                      <a:pt x="117349" y="5622"/>
                      <a:pt x="118434" y="9805"/>
                    </a:cubicBezTo>
                    <a:close/>
                  </a:path>
                </a:pathLst>
              </a:custGeom>
              <a:solidFill>
                <a:srgbClr val="FFFFFF"/>
              </a:solidFill>
              <a:ln w="154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88" name="Graphic 7">
              <a:extLst>
                <a:ext uri="{FF2B5EF4-FFF2-40B4-BE49-F238E27FC236}">
                  <a16:creationId xmlns:a16="http://schemas.microsoft.com/office/drawing/2014/main" id="{51737E47-FDF1-426E-AE34-4A6B4EC0DBF5}"/>
                </a:ext>
              </a:extLst>
            </p:cNvPr>
            <p:cNvGrpSpPr/>
            <p:nvPr/>
          </p:nvGrpSpPr>
          <p:grpSpPr>
            <a:xfrm>
              <a:off x="4010298" y="4908305"/>
              <a:ext cx="214267" cy="203113"/>
              <a:chOff x="4010298" y="4908305"/>
              <a:chExt cx="214267" cy="203113"/>
            </a:xfrm>
            <a:solidFill>
              <a:schemeClr val="accent1"/>
            </a:solidFill>
          </p:grpSpPr>
          <p:sp>
            <p:nvSpPr>
              <p:cNvPr id="289" name="Freeform: Shape 288">
                <a:extLst>
                  <a:ext uri="{FF2B5EF4-FFF2-40B4-BE49-F238E27FC236}">
                    <a16:creationId xmlns:a16="http://schemas.microsoft.com/office/drawing/2014/main" id="{093DCD99-D20B-4C56-AABE-0137FFC6E438}"/>
                  </a:ext>
                </a:extLst>
              </p:cNvPr>
              <p:cNvSpPr/>
              <p:nvPr/>
            </p:nvSpPr>
            <p:spPr>
              <a:xfrm>
                <a:off x="4010298" y="4952189"/>
                <a:ext cx="214267" cy="159230"/>
              </a:xfrm>
              <a:custGeom>
                <a:avLst/>
                <a:gdLst>
                  <a:gd name="connsiteX0" fmla="*/ 213903 w 214267"/>
                  <a:gd name="connsiteY0" fmla="*/ 144857 h 159230"/>
                  <a:gd name="connsiteX1" fmla="*/ 210494 w 214267"/>
                  <a:gd name="connsiteY1" fmla="*/ 43380 h 159230"/>
                  <a:gd name="connsiteX2" fmla="*/ 204607 w 214267"/>
                  <a:gd name="connsiteY2" fmla="*/ 2324 h 159230"/>
                  <a:gd name="connsiteX3" fmla="*/ 182298 w 214267"/>
                  <a:gd name="connsiteY3" fmla="*/ 465 h 159230"/>
                  <a:gd name="connsiteX4" fmla="*/ 155805 w 214267"/>
                  <a:gd name="connsiteY4" fmla="*/ 465 h 159230"/>
                  <a:gd name="connsiteX5" fmla="*/ 129467 w 214267"/>
                  <a:gd name="connsiteY5" fmla="*/ 0 h 159230"/>
                  <a:gd name="connsiteX6" fmla="*/ 72764 w 214267"/>
                  <a:gd name="connsiteY6" fmla="*/ 930 h 159230"/>
                  <a:gd name="connsiteX7" fmla="*/ 66722 w 214267"/>
                  <a:gd name="connsiteY7" fmla="*/ 775 h 159230"/>
                  <a:gd name="connsiteX8" fmla="*/ 10638 w 214267"/>
                  <a:gd name="connsiteY8" fmla="*/ 2014 h 159230"/>
                  <a:gd name="connsiteX9" fmla="*/ 3667 w 214267"/>
                  <a:gd name="connsiteY9" fmla="*/ 4493 h 159230"/>
                  <a:gd name="connsiteX10" fmla="*/ 1033 w 214267"/>
                  <a:gd name="connsiteY10" fmla="*/ 12084 h 159230"/>
                  <a:gd name="connsiteX11" fmla="*/ 103 w 214267"/>
                  <a:gd name="connsiteY11" fmla="*/ 140519 h 159230"/>
                  <a:gd name="connsiteX12" fmla="*/ 4751 w 214267"/>
                  <a:gd name="connsiteY12" fmla="*/ 153843 h 159230"/>
                  <a:gd name="connsiteX13" fmla="*/ 11103 w 214267"/>
                  <a:gd name="connsiteY13" fmla="*/ 155237 h 159230"/>
                  <a:gd name="connsiteX14" fmla="*/ 188185 w 214267"/>
                  <a:gd name="connsiteY14" fmla="*/ 158955 h 159230"/>
                  <a:gd name="connsiteX15" fmla="*/ 210959 w 214267"/>
                  <a:gd name="connsiteY15" fmla="*/ 153223 h 159230"/>
                  <a:gd name="connsiteX16" fmla="*/ 213903 w 214267"/>
                  <a:gd name="connsiteY16" fmla="*/ 144857 h 159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14267" h="159230">
                    <a:moveTo>
                      <a:pt x="213903" y="144857"/>
                    </a:moveTo>
                    <a:cubicBezTo>
                      <a:pt x="215607" y="118829"/>
                      <a:pt x="210804" y="70337"/>
                      <a:pt x="210494" y="43380"/>
                    </a:cubicBezTo>
                    <a:cubicBezTo>
                      <a:pt x="210339" y="21225"/>
                      <a:pt x="213128" y="7746"/>
                      <a:pt x="204607" y="2324"/>
                    </a:cubicBezTo>
                    <a:cubicBezTo>
                      <a:pt x="203213" y="1394"/>
                      <a:pt x="201354" y="775"/>
                      <a:pt x="182298" y="465"/>
                    </a:cubicBezTo>
                    <a:cubicBezTo>
                      <a:pt x="171143" y="310"/>
                      <a:pt x="162467" y="465"/>
                      <a:pt x="155805" y="465"/>
                    </a:cubicBezTo>
                    <a:cubicBezTo>
                      <a:pt x="149608" y="465"/>
                      <a:pt x="140622" y="465"/>
                      <a:pt x="129467" y="0"/>
                    </a:cubicBezTo>
                    <a:cubicBezTo>
                      <a:pt x="129467" y="0"/>
                      <a:pt x="98947" y="310"/>
                      <a:pt x="72764" y="930"/>
                    </a:cubicBezTo>
                    <a:cubicBezTo>
                      <a:pt x="70905" y="620"/>
                      <a:pt x="68891" y="620"/>
                      <a:pt x="66722" y="775"/>
                    </a:cubicBezTo>
                    <a:cubicBezTo>
                      <a:pt x="38370" y="1394"/>
                      <a:pt x="17455" y="1704"/>
                      <a:pt x="10638" y="2014"/>
                    </a:cubicBezTo>
                    <a:cubicBezTo>
                      <a:pt x="9244" y="2169"/>
                      <a:pt x="5991" y="2324"/>
                      <a:pt x="3667" y="4493"/>
                    </a:cubicBezTo>
                    <a:cubicBezTo>
                      <a:pt x="1033" y="6972"/>
                      <a:pt x="1033" y="10845"/>
                      <a:pt x="1033" y="12084"/>
                    </a:cubicBezTo>
                    <a:cubicBezTo>
                      <a:pt x="-207" y="77619"/>
                      <a:pt x="-52" y="98534"/>
                      <a:pt x="103" y="140519"/>
                    </a:cubicBezTo>
                    <a:cubicBezTo>
                      <a:pt x="103" y="142998"/>
                      <a:pt x="103" y="150744"/>
                      <a:pt x="4751" y="153843"/>
                    </a:cubicBezTo>
                    <a:cubicBezTo>
                      <a:pt x="7230" y="155547"/>
                      <a:pt x="10174" y="155237"/>
                      <a:pt x="11103" y="155237"/>
                    </a:cubicBezTo>
                    <a:cubicBezTo>
                      <a:pt x="23807" y="154307"/>
                      <a:pt x="159833" y="156631"/>
                      <a:pt x="188185" y="158955"/>
                    </a:cubicBezTo>
                    <a:cubicBezTo>
                      <a:pt x="192523" y="159265"/>
                      <a:pt x="205382" y="160505"/>
                      <a:pt x="210959" y="153223"/>
                    </a:cubicBezTo>
                    <a:cubicBezTo>
                      <a:pt x="213593" y="149969"/>
                      <a:pt x="213903" y="146561"/>
                      <a:pt x="213903" y="144857"/>
                    </a:cubicBezTo>
                    <a:close/>
                  </a:path>
                </a:pathLst>
              </a:custGeom>
              <a:solidFill>
                <a:srgbClr val="FFFFFF"/>
              </a:solidFill>
              <a:ln w="154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0" name="Freeform: Shape 289">
                <a:extLst>
                  <a:ext uri="{FF2B5EF4-FFF2-40B4-BE49-F238E27FC236}">
                    <a16:creationId xmlns:a16="http://schemas.microsoft.com/office/drawing/2014/main" id="{3574FF44-3A22-4F7D-B5CE-796A142CF80F}"/>
                  </a:ext>
                </a:extLst>
              </p:cNvPr>
              <p:cNvSpPr/>
              <p:nvPr/>
            </p:nvSpPr>
            <p:spPr>
              <a:xfrm>
                <a:off x="4094443" y="4908305"/>
                <a:ext cx="40426" cy="87766"/>
              </a:xfrm>
              <a:custGeom>
                <a:avLst/>
                <a:gdLst>
                  <a:gd name="connsiteX0" fmla="*/ 4886 w 40426"/>
                  <a:gd name="connsiteY0" fmla="*/ 80447 h 87766"/>
                  <a:gd name="connsiteX1" fmla="*/ 84 w 40426"/>
                  <a:gd name="connsiteY1" fmla="*/ 43264 h 87766"/>
                  <a:gd name="connsiteX2" fmla="*/ 4886 w 40426"/>
                  <a:gd name="connsiteY2" fmla="*/ 6082 h 87766"/>
                  <a:gd name="connsiteX3" fmla="*/ 21309 w 40426"/>
                  <a:gd name="connsiteY3" fmla="*/ 39 h 87766"/>
                  <a:gd name="connsiteX4" fmla="*/ 36956 w 40426"/>
                  <a:gd name="connsiteY4" fmla="*/ 6082 h 87766"/>
                  <a:gd name="connsiteX5" fmla="*/ 39900 w 40426"/>
                  <a:gd name="connsiteY5" fmla="*/ 45278 h 87766"/>
                  <a:gd name="connsiteX6" fmla="*/ 36956 w 40426"/>
                  <a:gd name="connsiteY6" fmla="*/ 80447 h 87766"/>
                  <a:gd name="connsiteX7" fmla="*/ 4886 w 40426"/>
                  <a:gd name="connsiteY7" fmla="*/ 80447 h 87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426" h="87766">
                    <a:moveTo>
                      <a:pt x="4886" y="80447"/>
                    </a:moveTo>
                    <a:cubicBezTo>
                      <a:pt x="858" y="75489"/>
                      <a:pt x="548" y="64799"/>
                      <a:pt x="84" y="43264"/>
                    </a:cubicBezTo>
                    <a:cubicBezTo>
                      <a:pt x="-536" y="13673"/>
                      <a:pt x="2408" y="8715"/>
                      <a:pt x="4886" y="6082"/>
                    </a:cubicBezTo>
                    <a:cubicBezTo>
                      <a:pt x="10464" y="-115"/>
                      <a:pt x="18520" y="-115"/>
                      <a:pt x="21309" y="39"/>
                    </a:cubicBezTo>
                    <a:cubicBezTo>
                      <a:pt x="24407" y="39"/>
                      <a:pt x="31999" y="194"/>
                      <a:pt x="36956" y="6082"/>
                    </a:cubicBezTo>
                    <a:cubicBezTo>
                      <a:pt x="41449" y="11504"/>
                      <a:pt x="40520" y="18166"/>
                      <a:pt x="39900" y="45278"/>
                    </a:cubicBezTo>
                    <a:cubicBezTo>
                      <a:pt x="39280" y="73010"/>
                      <a:pt x="40055" y="76264"/>
                      <a:pt x="36956" y="80447"/>
                    </a:cubicBezTo>
                    <a:cubicBezTo>
                      <a:pt x="29675" y="90207"/>
                      <a:pt x="13098" y="90207"/>
                      <a:pt x="4886" y="80447"/>
                    </a:cubicBezTo>
                    <a:close/>
                  </a:path>
                </a:pathLst>
              </a:custGeom>
              <a:solidFill>
                <a:srgbClr val="302C38"/>
              </a:solidFill>
              <a:ln w="154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291" name="Freeform: Shape 290">
            <a:extLst>
              <a:ext uri="{FF2B5EF4-FFF2-40B4-BE49-F238E27FC236}">
                <a16:creationId xmlns:a16="http://schemas.microsoft.com/office/drawing/2014/main" id="{FFEAF34E-EC37-46E8-A45A-EB228C0E729E}"/>
              </a:ext>
            </a:extLst>
          </p:cNvPr>
          <p:cNvSpPr/>
          <p:nvPr/>
        </p:nvSpPr>
        <p:spPr>
          <a:xfrm>
            <a:off x="3866540" y="4071639"/>
            <a:ext cx="517611" cy="411021"/>
          </a:xfrm>
          <a:custGeom>
            <a:avLst/>
            <a:gdLst>
              <a:gd name="connsiteX0" fmla="*/ 517612 w 517611"/>
              <a:gd name="connsiteY0" fmla="*/ 8211 h 411021"/>
              <a:gd name="connsiteX1" fmla="*/ 498555 w 517611"/>
              <a:gd name="connsiteY1" fmla="*/ 0 h 411021"/>
              <a:gd name="connsiteX2" fmla="*/ 450838 w 517611"/>
              <a:gd name="connsiteY2" fmla="*/ 109998 h 411021"/>
              <a:gd name="connsiteX3" fmla="*/ 325967 w 517611"/>
              <a:gd name="connsiteY3" fmla="*/ 163913 h 411021"/>
              <a:gd name="connsiteX4" fmla="*/ 269728 w 517611"/>
              <a:gd name="connsiteY4" fmla="*/ 121773 h 411021"/>
              <a:gd name="connsiteX5" fmla="*/ 195518 w 517611"/>
              <a:gd name="connsiteY5" fmla="*/ 163913 h 411021"/>
              <a:gd name="connsiteX6" fmla="*/ 65224 w 517611"/>
              <a:gd name="connsiteY6" fmla="*/ 109998 h 411021"/>
              <a:gd name="connsiteX7" fmla="*/ 17507 w 517611"/>
              <a:gd name="connsiteY7" fmla="*/ 0 h 411021"/>
              <a:gd name="connsiteX8" fmla="*/ 0 w 517611"/>
              <a:gd name="connsiteY8" fmla="*/ 6197 h 411021"/>
              <a:gd name="connsiteX9" fmla="*/ 49577 w 517611"/>
              <a:gd name="connsiteY9" fmla="*/ 121773 h 411021"/>
              <a:gd name="connsiteX10" fmla="*/ 51126 w 517611"/>
              <a:gd name="connsiteY10" fmla="*/ 197067 h 411021"/>
              <a:gd name="connsiteX11" fmla="*/ 27732 w 517611"/>
              <a:gd name="connsiteY11" fmla="*/ 186222 h 411021"/>
              <a:gd name="connsiteX12" fmla="*/ 257954 w 517611"/>
              <a:gd name="connsiteY12" fmla="*/ 411022 h 411021"/>
              <a:gd name="connsiteX13" fmla="*/ 494372 w 517611"/>
              <a:gd name="connsiteY13" fmla="*/ 186222 h 411021"/>
              <a:gd name="connsiteX14" fmla="*/ 470978 w 517611"/>
              <a:gd name="connsiteY14" fmla="*/ 197067 h 411021"/>
              <a:gd name="connsiteX15" fmla="*/ 466486 w 517611"/>
              <a:gd name="connsiteY15" fmla="*/ 121773 h 411021"/>
              <a:gd name="connsiteX16" fmla="*/ 517612 w 517611"/>
              <a:gd name="connsiteY16" fmla="*/ 8211 h 411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17611" h="411021">
                <a:moveTo>
                  <a:pt x="517612" y="8211"/>
                </a:moveTo>
                <a:cubicBezTo>
                  <a:pt x="517612" y="8211"/>
                  <a:pt x="508161" y="0"/>
                  <a:pt x="498555" y="0"/>
                </a:cubicBezTo>
                <a:cubicBezTo>
                  <a:pt x="466795" y="0"/>
                  <a:pt x="461683" y="98224"/>
                  <a:pt x="450838" y="109998"/>
                </a:cubicBezTo>
                <a:cubicBezTo>
                  <a:pt x="439993" y="121618"/>
                  <a:pt x="361910" y="172589"/>
                  <a:pt x="325967" y="163913"/>
                </a:cubicBezTo>
                <a:cubicBezTo>
                  <a:pt x="293897" y="156167"/>
                  <a:pt x="307375" y="121773"/>
                  <a:pt x="269728" y="121773"/>
                </a:cubicBezTo>
                <a:cubicBezTo>
                  <a:pt x="232236" y="121773"/>
                  <a:pt x="225884" y="151054"/>
                  <a:pt x="195518" y="163913"/>
                </a:cubicBezTo>
                <a:cubicBezTo>
                  <a:pt x="165152" y="176927"/>
                  <a:pt x="76069" y="121618"/>
                  <a:pt x="65224" y="109998"/>
                </a:cubicBezTo>
                <a:cubicBezTo>
                  <a:pt x="54379" y="98224"/>
                  <a:pt x="49267" y="0"/>
                  <a:pt x="17507" y="0"/>
                </a:cubicBezTo>
                <a:cubicBezTo>
                  <a:pt x="7901" y="0"/>
                  <a:pt x="0" y="6197"/>
                  <a:pt x="0" y="6197"/>
                </a:cubicBezTo>
                <a:cubicBezTo>
                  <a:pt x="21845" y="14253"/>
                  <a:pt x="36253" y="15028"/>
                  <a:pt x="49577" y="121773"/>
                </a:cubicBezTo>
                <a:lnTo>
                  <a:pt x="51126" y="197067"/>
                </a:lnTo>
                <a:lnTo>
                  <a:pt x="27732" y="186222"/>
                </a:lnTo>
                <a:cubicBezTo>
                  <a:pt x="30366" y="192884"/>
                  <a:pt x="110308" y="411022"/>
                  <a:pt x="257954" y="411022"/>
                </a:cubicBezTo>
                <a:cubicBezTo>
                  <a:pt x="424965" y="411022"/>
                  <a:pt x="491739" y="192884"/>
                  <a:pt x="494372" y="186222"/>
                </a:cubicBezTo>
                <a:lnTo>
                  <a:pt x="470978" y="197067"/>
                </a:lnTo>
                <a:lnTo>
                  <a:pt x="466486" y="121773"/>
                </a:lnTo>
                <a:cubicBezTo>
                  <a:pt x="479809" y="15028"/>
                  <a:pt x="494682" y="18436"/>
                  <a:pt x="517612" y="8211"/>
                </a:cubicBezTo>
                <a:close/>
              </a:path>
            </a:pathLst>
          </a:custGeom>
          <a:solidFill>
            <a:srgbClr val="E6E9F0"/>
          </a:solidFill>
          <a:ln w="154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2" name="Freeform: Shape 291">
            <a:extLst>
              <a:ext uri="{FF2B5EF4-FFF2-40B4-BE49-F238E27FC236}">
                <a16:creationId xmlns:a16="http://schemas.microsoft.com/office/drawing/2014/main" id="{6CBA0463-03D7-4A4D-9863-BF3317535D13}"/>
              </a:ext>
            </a:extLst>
          </p:cNvPr>
          <p:cNvSpPr/>
          <p:nvPr/>
        </p:nvSpPr>
        <p:spPr>
          <a:xfrm>
            <a:off x="1082584" y="3674648"/>
            <a:ext cx="517611" cy="411021"/>
          </a:xfrm>
          <a:custGeom>
            <a:avLst/>
            <a:gdLst>
              <a:gd name="connsiteX0" fmla="*/ 517612 w 517611"/>
              <a:gd name="connsiteY0" fmla="*/ 8211 h 411021"/>
              <a:gd name="connsiteX1" fmla="*/ 498555 w 517611"/>
              <a:gd name="connsiteY1" fmla="*/ 0 h 411021"/>
              <a:gd name="connsiteX2" fmla="*/ 450838 w 517611"/>
              <a:gd name="connsiteY2" fmla="*/ 109998 h 411021"/>
              <a:gd name="connsiteX3" fmla="*/ 325967 w 517611"/>
              <a:gd name="connsiteY3" fmla="*/ 163913 h 411021"/>
              <a:gd name="connsiteX4" fmla="*/ 269728 w 517611"/>
              <a:gd name="connsiteY4" fmla="*/ 121773 h 411021"/>
              <a:gd name="connsiteX5" fmla="*/ 195518 w 517611"/>
              <a:gd name="connsiteY5" fmla="*/ 163913 h 411021"/>
              <a:gd name="connsiteX6" fmla="*/ 65224 w 517611"/>
              <a:gd name="connsiteY6" fmla="*/ 109998 h 411021"/>
              <a:gd name="connsiteX7" fmla="*/ 17507 w 517611"/>
              <a:gd name="connsiteY7" fmla="*/ 0 h 411021"/>
              <a:gd name="connsiteX8" fmla="*/ 0 w 517611"/>
              <a:gd name="connsiteY8" fmla="*/ 6197 h 411021"/>
              <a:gd name="connsiteX9" fmla="*/ 49577 w 517611"/>
              <a:gd name="connsiteY9" fmla="*/ 121773 h 411021"/>
              <a:gd name="connsiteX10" fmla="*/ 51126 w 517611"/>
              <a:gd name="connsiteY10" fmla="*/ 197067 h 411021"/>
              <a:gd name="connsiteX11" fmla="*/ 27732 w 517611"/>
              <a:gd name="connsiteY11" fmla="*/ 186222 h 411021"/>
              <a:gd name="connsiteX12" fmla="*/ 257954 w 517611"/>
              <a:gd name="connsiteY12" fmla="*/ 411022 h 411021"/>
              <a:gd name="connsiteX13" fmla="*/ 494372 w 517611"/>
              <a:gd name="connsiteY13" fmla="*/ 186222 h 411021"/>
              <a:gd name="connsiteX14" fmla="*/ 470978 w 517611"/>
              <a:gd name="connsiteY14" fmla="*/ 197067 h 411021"/>
              <a:gd name="connsiteX15" fmla="*/ 466486 w 517611"/>
              <a:gd name="connsiteY15" fmla="*/ 121773 h 411021"/>
              <a:gd name="connsiteX16" fmla="*/ 517612 w 517611"/>
              <a:gd name="connsiteY16" fmla="*/ 8211 h 411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17611" h="411021">
                <a:moveTo>
                  <a:pt x="517612" y="8211"/>
                </a:moveTo>
                <a:cubicBezTo>
                  <a:pt x="517612" y="8211"/>
                  <a:pt x="508161" y="0"/>
                  <a:pt x="498555" y="0"/>
                </a:cubicBezTo>
                <a:cubicBezTo>
                  <a:pt x="466795" y="0"/>
                  <a:pt x="461683" y="98224"/>
                  <a:pt x="450838" y="109998"/>
                </a:cubicBezTo>
                <a:cubicBezTo>
                  <a:pt x="439993" y="121618"/>
                  <a:pt x="361910" y="172589"/>
                  <a:pt x="325967" y="163913"/>
                </a:cubicBezTo>
                <a:cubicBezTo>
                  <a:pt x="293897" y="156167"/>
                  <a:pt x="307375" y="121773"/>
                  <a:pt x="269728" y="121773"/>
                </a:cubicBezTo>
                <a:cubicBezTo>
                  <a:pt x="232236" y="121773"/>
                  <a:pt x="225884" y="151054"/>
                  <a:pt x="195518" y="163913"/>
                </a:cubicBezTo>
                <a:cubicBezTo>
                  <a:pt x="165152" y="176927"/>
                  <a:pt x="76069" y="121618"/>
                  <a:pt x="65224" y="109998"/>
                </a:cubicBezTo>
                <a:cubicBezTo>
                  <a:pt x="54379" y="98224"/>
                  <a:pt x="49267" y="0"/>
                  <a:pt x="17507" y="0"/>
                </a:cubicBezTo>
                <a:cubicBezTo>
                  <a:pt x="7901" y="0"/>
                  <a:pt x="0" y="6197"/>
                  <a:pt x="0" y="6197"/>
                </a:cubicBezTo>
                <a:cubicBezTo>
                  <a:pt x="21845" y="14253"/>
                  <a:pt x="36253" y="15028"/>
                  <a:pt x="49577" y="121773"/>
                </a:cubicBezTo>
                <a:lnTo>
                  <a:pt x="51126" y="197067"/>
                </a:lnTo>
                <a:lnTo>
                  <a:pt x="27732" y="186222"/>
                </a:lnTo>
                <a:cubicBezTo>
                  <a:pt x="30366" y="192884"/>
                  <a:pt x="110308" y="411022"/>
                  <a:pt x="257954" y="411022"/>
                </a:cubicBezTo>
                <a:cubicBezTo>
                  <a:pt x="424965" y="411022"/>
                  <a:pt x="491739" y="192884"/>
                  <a:pt x="494372" y="186222"/>
                </a:cubicBezTo>
                <a:lnTo>
                  <a:pt x="470978" y="197067"/>
                </a:lnTo>
                <a:lnTo>
                  <a:pt x="466486" y="121773"/>
                </a:lnTo>
                <a:cubicBezTo>
                  <a:pt x="479809" y="15028"/>
                  <a:pt x="494682" y="18436"/>
                  <a:pt x="517612" y="8211"/>
                </a:cubicBezTo>
                <a:close/>
              </a:path>
            </a:pathLst>
          </a:custGeom>
          <a:solidFill>
            <a:srgbClr val="E6E9F0"/>
          </a:solidFill>
          <a:ln w="154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5FD1DB90-3780-4E6B-8F11-B03DFD5152FE}"/>
              </a:ext>
            </a:extLst>
          </p:cNvPr>
          <p:cNvSpPr>
            <a:spLocks noGrp="1"/>
          </p:cNvSpPr>
          <p:nvPr>
            <p:ph type="title"/>
          </p:nvPr>
        </p:nvSpPr>
        <p:spPr>
          <a:xfrm>
            <a:off x="1841379" y="272410"/>
            <a:ext cx="4486994" cy="1329595"/>
          </a:xfrm>
          <a:solidFill>
            <a:schemeClr val="bg1"/>
          </a:solidFill>
          <a:ln/>
        </p:spPr>
        <p:txBody>
          <a:bodyPr wrap="square" lIns="0" tIns="0" rIns="0" bIns="0" anchor="ctr" anchorCtr="0">
            <a:spAutoFit/>
          </a:bodyPr>
          <a:lstStyle/>
          <a:p>
            <a:pPr algn="ctr"/>
            <a:r>
              <a:rPr lang="en-US" sz="4800" dirty="0">
                <a:solidFill>
                  <a:schemeClr val="accent1"/>
                </a:solidFill>
              </a:rPr>
              <a:t>Help us </a:t>
            </a:r>
            <a:r>
              <a:rPr lang="en-US" sz="4800" b="1" dirty="0">
                <a:solidFill>
                  <a:schemeClr val="accent1"/>
                </a:solidFill>
              </a:rPr>
              <a:t>spread the word!</a:t>
            </a:r>
          </a:p>
        </p:txBody>
      </p:sp>
    </p:spTree>
    <p:extLst>
      <p:ext uri="{BB962C8B-B14F-4D97-AF65-F5344CB8AC3E}">
        <p14:creationId xmlns:p14="http://schemas.microsoft.com/office/powerpoint/2010/main" val="27262966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06814C-F389-40D4-804C-8289BA95CB04}"/>
              </a:ext>
            </a:extLst>
          </p:cNvPr>
          <p:cNvSpPr>
            <a:spLocks noGrp="1"/>
          </p:cNvSpPr>
          <p:nvPr>
            <p:ph idx="1"/>
          </p:nvPr>
        </p:nvSpPr>
        <p:spPr>
          <a:xfrm>
            <a:off x="838200" y="3009417"/>
            <a:ext cx="10515600" cy="3167545"/>
          </a:xfrm>
        </p:spPr>
        <p:txBody>
          <a:bodyPr>
            <a:normAutofit/>
          </a:bodyPr>
          <a:lstStyle/>
          <a:p>
            <a:pPr marL="0" indent="0" algn="ctr">
              <a:buNone/>
            </a:pPr>
            <a:r>
              <a:rPr lang="en-US" sz="8000" dirty="0"/>
              <a:t>Thank you</a:t>
            </a:r>
          </a:p>
        </p:txBody>
      </p:sp>
    </p:spTree>
    <p:extLst>
      <p:ext uri="{BB962C8B-B14F-4D97-AF65-F5344CB8AC3E}">
        <p14:creationId xmlns:p14="http://schemas.microsoft.com/office/powerpoint/2010/main" val="39273187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8DB5E3-1630-44B8-BEB2-AEEC95595BB9}"/>
              </a:ext>
            </a:extLst>
          </p:cNvPr>
          <p:cNvSpPr>
            <a:spLocks noGrp="1"/>
          </p:cNvSpPr>
          <p:nvPr>
            <p:ph type="title"/>
          </p:nvPr>
        </p:nvSpPr>
        <p:spPr>
          <a:xfrm>
            <a:off x="838200" y="480872"/>
            <a:ext cx="10515600" cy="1325563"/>
          </a:xfrm>
        </p:spPr>
        <p:txBody>
          <a:bodyPr>
            <a:normAutofit/>
          </a:bodyPr>
          <a:lstStyle/>
          <a:p>
            <a:pPr algn="ctr"/>
            <a:r>
              <a:rPr lang="en-US" sz="5400" dirty="0"/>
              <a:t>Transmission</a:t>
            </a:r>
          </a:p>
        </p:txBody>
      </p:sp>
      <p:pic>
        <p:nvPicPr>
          <p:cNvPr id="3" name="Content Placeholder 3">
            <a:extLst>
              <a:ext uri="{FF2B5EF4-FFF2-40B4-BE49-F238E27FC236}">
                <a16:creationId xmlns:a16="http://schemas.microsoft.com/office/drawing/2014/main" id="{6CA6D150-BB89-4B78-BBD5-B0FD200015C5}"/>
              </a:ext>
            </a:extLst>
          </p:cNvPr>
          <p:cNvPicPr>
            <a:picLocks noChangeAspect="1"/>
          </p:cNvPicPr>
          <p:nvPr/>
        </p:nvPicPr>
        <p:blipFill>
          <a:blip r:embed="rId2"/>
          <a:stretch>
            <a:fillRect/>
          </a:stretch>
        </p:blipFill>
        <p:spPr>
          <a:xfrm>
            <a:off x="2762250" y="1901031"/>
            <a:ext cx="6667500" cy="4200525"/>
          </a:xfrm>
          <a:prstGeom prst="rect">
            <a:avLst/>
          </a:prstGeom>
        </p:spPr>
      </p:pic>
    </p:spTree>
    <p:extLst>
      <p:ext uri="{BB962C8B-B14F-4D97-AF65-F5344CB8AC3E}">
        <p14:creationId xmlns:p14="http://schemas.microsoft.com/office/powerpoint/2010/main" val="24634609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7F0F58-B5ED-412E-9630-A60A13608D49}"/>
              </a:ext>
            </a:extLst>
          </p:cNvPr>
          <p:cNvSpPr>
            <a:spLocks noGrp="1"/>
          </p:cNvSpPr>
          <p:nvPr>
            <p:ph type="title"/>
          </p:nvPr>
        </p:nvSpPr>
        <p:spPr>
          <a:xfrm>
            <a:off x="643256" y="653957"/>
            <a:ext cx="11046906" cy="747897"/>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p>
            <a:pPr>
              <a:spcBef>
                <a:spcPts val="0"/>
              </a:spcBef>
            </a:pPr>
            <a:r>
              <a:rPr lang="en-US" sz="5400" b="1" dirty="0"/>
              <a:t>How to help prevent the spread</a:t>
            </a:r>
          </a:p>
        </p:txBody>
      </p:sp>
      <p:sp>
        <p:nvSpPr>
          <p:cNvPr id="92" name="TextBox 91">
            <a:extLst>
              <a:ext uri="{FF2B5EF4-FFF2-40B4-BE49-F238E27FC236}">
                <a16:creationId xmlns:a16="http://schemas.microsoft.com/office/drawing/2014/main" id="{F7A2511A-C7E4-47DC-A4C2-A27B96119267}"/>
              </a:ext>
            </a:extLst>
          </p:cNvPr>
          <p:cNvSpPr txBox="1">
            <a:spLocks/>
          </p:cNvSpPr>
          <p:nvPr/>
        </p:nvSpPr>
        <p:spPr>
          <a:xfrm>
            <a:off x="643256" y="3387876"/>
            <a:ext cx="1905000" cy="1938992"/>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noAutofit/>
          </a:bodyPr>
          <a:lstStyle>
            <a:lvl1pPr marL="228600" lvl="0" indent="-228600">
              <a:lnSpc>
                <a:spcPct val="90000"/>
              </a:lnSpc>
              <a:spcBef>
                <a:spcPts val="1000"/>
              </a:spcBef>
              <a:buFont typeface="Arial" panose="020B0604020202020204" pitchFamily="34" charset="0"/>
              <a:buChar char="•"/>
              <a:defRPr sz="2800"/>
            </a:lvl1pPr>
            <a:lvl2pPr marL="685800" lvl="1" indent="-228600">
              <a:lnSpc>
                <a:spcPct val="90000"/>
              </a:lnSpc>
              <a:spcBef>
                <a:spcPts val="500"/>
              </a:spcBef>
              <a:buFont typeface="Arial" panose="020B0604020202020204" pitchFamily="34" charset="0"/>
              <a:buChar char="•"/>
              <a:defRPr sz="2400"/>
            </a:lvl2pPr>
            <a:lvl3pPr marL="1143000" lvl="2" indent="-228600">
              <a:lnSpc>
                <a:spcPct val="90000"/>
              </a:lnSpc>
              <a:spcBef>
                <a:spcPts val="500"/>
              </a:spcBef>
              <a:buFont typeface="Arial" panose="020B0604020202020204" pitchFamily="34" charset="0"/>
              <a:buChar char="•"/>
              <a:defRPr sz="2000"/>
            </a:lvl3pPr>
            <a:lvl4pPr marL="1600200" lvl="3" indent="-228600">
              <a:lnSpc>
                <a:spcPct val="90000"/>
              </a:lnSpc>
              <a:spcBef>
                <a:spcPts val="500"/>
              </a:spcBef>
              <a:buFont typeface="Arial" panose="020B0604020202020204" pitchFamily="34" charset="0"/>
              <a:buChar char="•"/>
            </a:lvl4pPr>
            <a:lvl5pPr marL="2057400" lvl="4"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lgn="ctr">
              <a:buSzPct val="100000"/>
              <a:buFont typeface="Arial" panose="020B0604020202020204" pitchFamily="34" charset="0"/>
              <a:buNone/>
            </a:pPr>
            <a:r>
              <a:rPr lang="en-US" dirty="0">
                <a:solidFill>
                  <a:srgbClr val="000000"/>
                </a:solidFill>
                <a:latin typeface="Open Sans"/>
                <a:sym typeface="Calibri" panose="020F0502020204030204" pitchFamily="34" charset="0"/>
              </a:rPr>
              <a:t>Wear a mask that covers your nose and mouth</a:t>
            </a:r>
          </a:p>
        </p:txBody>
      </p:sp>
      <p:sp>
        <p:nvSpPr>
          <p:cNvPr id="93" name="TextBox 92">
            <a:extLst>
              <a:ext uri="{FF2B5EF4-FFF2-40B4-BE49-F238E27FC236}">
                <a16:creationId xmlns:a16="http://schemas.microsoft.com/office/drawing/2014/main" id="{CBB8C6C2-81FB-40B2-8E80-CE9B28707B31}"/>
              </a:ext>
            </a:extLst>
          </p:cNvPr>
          <p:cNvSpPr txBox="1">
            <a:spLocks/>
          </p:cNvSpPr>
          <p:nvPr/>
        </p:nvSpPr>
        <p:spPr>
          <a:xfrm>
            <a:off x="2850992" y="3387876"/>
            <a:ext cx="1905000" cy="2326791"/>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spAutoFit/>
          </a:bodyPr>
          <a:lstStyle>
            <a:lvl1pPr marL="228600" lvl="0" indent="-228600">
              <a:lnSpc>
                <a:spcPct val="90000"/>
              </a:lnSpc>
              <a:spcBef>
                <a:spcPts val="1000"/>
              </a:spcBef>
              <a:buFont typeface="Arial" panose="020B0604020202020204" pitchFamily="34" charset="0"/>
              <a:buChar char="•"/>
              <a:defRPr sz="2800"/>
            </a:lvl1pPr>
            <a:lvl2pPr marL="685800" lvl="1" indent="-228600">
              <a:lnSpc>
                <a:spcPct val="90000"/>
              </a:lnSpc>
              <a:spcBef>
                <a:spcPts val="500"/>
              </a:spcBef>
              <a:buFont typeface="Arial" panose="020B0604020202020204" pitchFamily="34" charset="0"/>
              <a:buChar char="•"/>
              <a:defRPr sz="2400"/>
            </a:lvl2pPr>
            <a:lvl3pPr marL="1143000" lvl="2" indent="-228600">
              <a:lnSpc>
                <a:spcPct val="90000"/>
              </a:lnSpc>
              <a:spcBef>
                <a:spcPts val="500"/>
              </a:spcBef>
              <a:buFont typeface="Arial" panose="020B0604020202020204" pitchFamily="34" charset="0"/>
              <a:buChar char="•"/>
              <a:defRPr sz="2000"/>
            </a:lvl3pPr>
            <a:lvl4pPr marL="1600200" lvl="3" indent="-228600">
              <a:lnSpc>
                <a:spcPct val="90000"/>
              </a:lnSpc>
              <a:spcBef>
                <a:spcPts val="500"/>
              </a:spcBef>
              <a:buFont typeface="Arial" panose="020B0604020202020204" pitchFamily="34" charset="0"/>
              <a:buChar char="•"/>
            </a:lvl4pPr>
            <a:lvl5pPr marL="2057400" lvl="4"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lgn="ctr">
              <a:buSzPct val="100000"/>
              <a:buFont typeface="Arial" panose="020B0604020202020204" pitchFamily="34" charset="0"/>
              <a:buNone/>
            </a:pPr>
            <a:r>
              <a:rPr lang="en-US" dirty="0">
                <a:solidFill>
                  <a:srgbClr val="000000"/>
                </a:solidFill>
                <a:latin typeface="Open Sans"/>
                <a:sym typeface="Calibri" panose="020F0502020204030204" pitchFamily="34" charset="0"/>
              </a:rPr>
              <a:t>Stay at least 6 feet (about 2 arms lengths) from others</a:t>
            </a:r>
          </a:p>
        </p:txBody>
      </p:sp>
      <p:sp>
        <p:nvSpPr>
          <p:cNvPr id="94" name="TextBox 93">
            <a:extLst>
              <a:ext uri="{FF2B5EF4-FFF2-40B4-BE49-F238E27FC236}">
                <a16:creationId xmlns:a16="http://schemas.microsoft.com/office/drawing/2014/main" id="{9EEED883-F0CB-427E-8C92-FAAC8F1EC16A}"/>
              </a:ext>
            </a:extLst>
          </p:cNvPr>
          <p:cNvSpPr txBox="1">
            <a:spLocks/>
          </p:cNvSpPr>
          <p:nvPr/>
        </p:nvSpPr>
        <p:spPr>
          <a:xfrm>
            <a:off x="7266464" y="3387876"/>
            <a:ext cx="1905000" cy="775597"/>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spAutoFit/>
          </a:bodyPr>
          <a:lstStyle>
            <a:lvl1pPr marL="228600" lvl="0" indent="-228600">
              <a:lnSpc>
                <a:spcPct val="90000"/>
              </a:lnSpc>
              <a:spcBef>
                <a:spcPts val="1000"/>
              </a:spcBef>
              <a:buFont typeface="Arial" panose="020B0604020202020204" pitchFamily="34" charset="0"/>
              <a:buChar char="•"/>
              <a:defRPr sz="2800"/>
            </a:lvl1pPr>
            <a:lvl2pPr marL="685800" lvl="1" indent="-228600">
              <a:lnSpc>
                <a:spcPct val="90000"/>
              </a:lnSpc>
              <a:spcBef>
                <a:spcPts val="500"/>
              </a:spcBef>
              <a:buFont typeface="Arial" panose="020B0604020202020204" pitchFamily="34" charset="0"/>
              <a:buChar char="•"/>
              <a:defRPr sz="2400"/>
            </a:lvl2pPr>
            <a:lvl3pPr marL="1143000" lvl="2" indent="-228600">
              <a:lnSpc>
                <a:spcPct val="90000"/>
              </a:lnSpc>
              <a:spcBef>
                <a:spcPts val="500"/>
              </a:spcBef>
              <a:buFont typeface="Arial" panose="020B0604020202020204" pitchFamily="34" charset="0"/>
              <a:buChar char="•"/>
              <a:defRPr sz="2000"/>
            </a:lvl3pPr>
            <a:lvl4pPr marL="1600200" lvl="3" indent="-228600">
              <a:lnSpc>
                <a:spcPct val="90000"/>
              </a:lnSpc>
              <a:spcBef>
                <a:spcPts val="500"/>
              </a:spcBef>
              <a:buFont typeface="Arial" panose="020B0604020202020204" pitchFamily="34" charset="0"/>
              <a:buChar char="•"/>
            </a:lvl4pPr>
            <a:lvl5pPr marL="2057400" lvl="4"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lgn="ctr">
              <a:buSzPct val="100000"/>
              <a:buFont typeface="Arial" panose="020B0604020202020204" pitchFamily="34" charset="0"/>
              <a:buNone/>
            </a:pPr>
            <a:r>
              <a:rPr lang="en-US" dirty="0">
                <a:solidFill>
                  <a:srgbClr val="000000"/>
                </a:solidFill>
                <a:latin typeface="Open Sans"/>
                <a:sym typeface="Calibri" panose="020F0502020204030204" pitchFamily="34" charset="0"/>
              </a:rPr>
              <a:t>Wash your hands often</a:t>
            </a:r>
          </a:p>
        </p:txBody>
      </p:sp>
      <p:sp>
        <p:nvSpPr>
          <p:cNvPr id="95" name="TextBox 94">
            <a:extLst>
              <a:ext uri="{FF2B5EF4-FFF2-40B4-BE49-F238E27FC236}">
                <a16:creationId xmlns:a16="http://schemas.microsoft.com/office/drawing/2014/main" id="{EB29BE36-4C27-4B8F-B8A4-AD87EF62F373}"/>
              </a:ext>
            </a:extLst>
          </p:cNvPr>
          <p:cNvSpPr txBox="1">
            <a:spLocks/>
          </p:cNvSpPr>
          <p:nvPr/>
        </p:nvSpPr>
        <p:spPr>
          <a:xfrm>
            <a:off x="5058728" y="3387876"/>
            <a:ext cx="1905000" cy="1163395"/>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spAutoFit/>
          </a:bodyPr>
          <a:lstStyle>
            <a:lvl1pPr marL="228600" lvl="0" indent="-228600">
              <a:lnSpc>
                <a:spcPct val="90000"/>
              </a:lnSpc>
              <a:spcBef>
                <a:spcPts val="1000"/>
              </a:spcBef>
              <a:buFont typeface="Arial" panose="020B0604020202020204" pitchFamily="34" charset="0"/>
              <a:buChar char="•"/>
              <a:defRPr sz="2800"/>
            </a:lvl1pPr>
            <a:lvl2pPr marL="685800" lvl="1" indent="-228600">
              <a:lnSpc>
                <a:spcPct val="90000"/>
              </a:lnSpc>
              <a:spcBef>
                <a:spcPts val="500"/>
              </a:spcBef>
              <a:buFont typeface="Arial" panose="020B0604020202020204" pitchFamily="34" charset="0"/>
              <a:buChar char="•"/>
              <a:defRPr sz="2400"/>
            </a:lvl2pPr>
            <a:lvl3pPr marL="1143000" lvl="2" indent="-228600">
              <a:lnSpc>
                <a:spcPct val="90000"/>
              </a:lnSpc>
              <a:spcBef>
                <a:spcPts val="500"/>
              </a:spcBef>
              <a:buFont typeface="Arial" panose="020B0604020202020204" pitchFamily="34" charset="0"/>
              <a:buChar char="•"/>
              <a:defRPr sz="2000"/>
            </a:lvl3pPr>
            <a:lvl4pPr marL="1600200" lvl="3" indent="-228600">
              <a:lnSpc>
                <a:spcPct val="90000"/>
              </a:lnSpc>
              <a:spcBef>
                <a:spcPts val="500"/>
              </a:spcBef>
              <a:buFont typeface="Arial" panose="020B0604020202020204" pitchFamily="34" charset="0"/>
              <a:buChar char="•"/>
            </a:lvl4pPr>
            <a:lvl5pPr marL="2057400" lvl="4"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lgn="ctr">
              <a:buSzPct val="100000"/>
              <a:buFont typeface="Arial" panose="020B0604020202020204" pitchFamily="34" charset="0"/>
              <a:buNone/>
            </a:pPr>
            <a:r>
              <a:rPr lang="en-US" dirty="0">
                <a:solidFill>
                  <a:srgbClr val="000000"/>
                </a:solidFill>
                <a:latin typeface="Open Sans"/>
                <a:sym typeface="Calibri" panose="020F0502020204030204" pitchFamily="34" charset="0"/>
              </a:rPr>
              <a:t>Avoid crowds and sick people</a:t>
            </a:r>
          </a:p>
        </p:txBody>
      </p:sp>
      <p:sp>
        <p:nvSpPr>
          <p:cNvPr id="96" name="TextBox 95">
            <a:extLst>
              <a:ext uri="{FF2B5EF4-FFF2-40B4-BE49-F238E27FC236}">
                <a16:creationId xmlns:a16="http://schemas.microsoft.com/office/drawing/2014/main" id="{D25426B3-485E-4BA8-8AEF-71B25A8A5031}"/>
              </a:ext>
            </a:extLst>
          </p:cNvPr>
          <p:cNvSpPr txBox="1">
            <a:spLocks/>
          </p:cNvSpPr>
          <p:nvPr/>
        </p:nvSpPr>
        <p:spPr>
          <a:xfrm>
            <a:off x="9474200" y="3387876"/>
            <a:ext cx="1905000" cy="775597"/>
          </a:xfrm>
          <a:prstGeom prst="rect">
            <a:avLst/>
          </a:prstGeom>
          <a:noFill/>
        </p:spPr>
        <p:txBody>
          <a:bodyPr vert="horz" lIns="0" tIns="0" rIns="0" bIns="0" rtlCol="0">
            <a:spAutoFit/>
          </a:bodyPr>
          <a:lstStyle>
            <a:lvl1pPr marL="228600" lvl="0" indent="-228600">
              <a:lnSpc>
                <a:spcPct val="90000"/>
              </a:lnSpc>
              <a:spcBef>
                <a:spcPts val="1000"/>
              </a:spcBef>
              <a:buFont typeface="Arial" panose="020B0604020202020204" pitchFamily="34" charset="0"/>
              <a:buChar char="•"/>
              <a:defRPr sz="2800"/>
            </a:lvl1pPr>
            <a:lvl2pPr marL="685800" lvl="1" indent="-228600">
              <a:lnSpc>
                <a:spcPct val="90000"/>
              </a:lnSpc>
              <a:spcBef>
                <a:spcPts val="500"/>
              </a:spcBef>
              <a:buFont typeface="Arial" panose="020B0604020202020204" pitchFamily="34" charset="0"/>
              <a:buChar char="•"/>
              <a:defRPr sz="2400"/>
            </a:lvl2pPr>
            <a:lvl3pPr marL="1143000" lvl="2" indent="-228600">
              <a:lnSpc>
                <a:spcPct val="90000"/>
              </a:lnSpc>
              <a:spcBef>
                <a:spcPts val="500"/>
              </a:spcBef>
              <a:buFont typeface="Arial" panose="020B0604020202020204" pitchFamily="34" charset="0"/>
              <a:buChar char="•"/>
              <a:defRPr sz="2000"/>
            </a:lvl3pPr>
            <a:lvl4pPr marL="1600200" lvl="3" indent="-228600">
              <a:lnSpc>
                <a:spcPct val="90000"/>
              </a:lnSpc>
              <a:spcBef>
                <a:spcPts val="500"/>
              </a:spcBef>
              <a:buFont typeface="Arial" panose="020B0604020202020204" pitchFamily="34" charset="0"/>
              <a:buChar char="•"/>
            </a:lvl4pPr>
            <a:lvl5pPr marL="2057400" lvl="4"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lgn="ctr">
              <a:buSzPct val="100000"/>
              <a:buFont typeface="Arial" panose="020B0604020202020204" pitchFamily="34" charset="0"/>
              <a:buNone/>
            </a:pPr>
            <a:r>
              <a:rPr lang="en-US" dirty="0">
                <a:solidFill>
                  <a:srgbClr val="000000"/>
                </a:solidFill>
                <a:latin typeface="Open Sans"/>
                <a:sym typeface="Calibri" panose="020F0502020204030204" pitchFamily="34" charset="0"/>
              </a:rPr>
              <a:t>Get vaccinated</a:t>
            </a:r>
          </a:p>
        </p:txBody>
      </p:sp>
      <p:sp>
        <p:nvSpPr>
          <p:cNvPr id="97" name="5. Source">
            <a:extLst>
              <a:ext uri="{FF2B5EF4-FFF2-40B4-BE49-F238E27FC236}">
                <a16:creationId xmlns:a16="http://schemas.microsoft.com/office/drawing/2014/main" id="{1642FC93-11B7-44F2-B070-BC5C04383BB0}"/>
              </a:ext>
            </a:extLst>
          </p:cNvPr>
          <p:cNvSpPr txBox="1">
            <a:spLocks/>
          </p:cNvSpPr>
          <p:nvPr>
            <p:custDataLst>
              <p:tags r:id="rId1"/>
            </p:custDataLst>
          </p:nvPr>
        </p:nvSpPr>
        <p:spPr>
          <a:xfrm>
            <a:off x="1751614" y="6235395"/>
            <a:ext cx="8740389" cy="276999"/>
          </a:xfrm>
          <a:prstGeom prst="rect">
            <a:avLst/>
          </a:prstGeom>
          <a:noFill/>
        </p:spPr>
        <p:txBody>
          <a:bodyPr vert="horz" wrap="square" lIns="0" tIns="0" rIns="0" bIns="0" rtlCol="0" anchor="b" anchorCtr="0">
            <a:spAutoFit/>
          </a:bodyPr>
          <a:lstStyle/>
          <a:p>
            <a:r>
              <a:rPr lang="en-US" dirty="0">
                <a:solidFill>
                  <a:srgbClr val="000000"/>
                </a:solidFill>
                <a:latin typeface="Open Sans"/>
                <a:hlinkClick r:id="rId3"/>
              </a:rPr>
              <a:t>https://www.cdc.gov/coronavirus/2019-ncov/your-health/need-to-know.html</a:t>
            </a:r>
            <a:r>
              <a:rPr lang="en-US" dirty="0">
                <a:solidFill>
                  <a:srgbClr val="000000"/>
                </a:solidFill>
                <a:latin typeface="Open Sans"/>
              </a:rPr>
              <a:t> </a:t>
            </a:r>
          </a:p>
        </p:txBody>
      </p:sp>
      <p:grpSp>
        <p:nvGrpSpPr>
          <p:cNvPr id="98" name="Group 97">
            <a:extLst>
              <a:ext uri="{FF2B5EF4-FFF2-40B4-BE49-F238E27FC236}">
                <a16:creationId xmlns:a16="http://schemas.microsoft.com/office/drawing/2014/main" id="{55EA1B7B-3820-467D-9990-A366C3397A5D}"/>
              </a:ext>
            </a:extLst>
          </p:cNvPr>
          <p:cNvGrpSpPr/>
          <p:nvPr/>
        </p:nvGrpSpPr>
        <p:grpSpPr>
          <a:xfrm>
            <a:off x="10148081" y="1813711"/>
            <a:ext cx="557238" cy="1183176"/>
            <a:chOff x="10148081" y="1813711"/>
            <a:chExt cx="557238" cy="1183176"/>
          </a:xfrm>
        </p:grpSpPr>
        <p:sp>
          <p:nvSpPr>
            <p:cNvPr id="99" name="Freeform: Shape 98">
              <a:extLst>
                <a:ext uri="{FF2B5EF4-FFF2-40B4-BE49-F238E27FC236}">
                  <a16:creationId xmlns:a16="http://schemas.microsoft.com/office/drawing/2014/main" id="{E4C99020-E748-4E7A-AB33-C3023B50909E}"/>
                </a:ext>
              </a:extLst>
            </p:cNvPr>
            <p:cNvSpPr/>
            <p:nvPr/>
          </p:nvSpPr>
          <p:spPr>
            <a:xfrm>
              <a:off x="10193882" y="2827044"/>
              <a:ext cx="110684" cy="30533"/>
            </a:xfrm>
            <a:custGeom>
              <a:avLst/>
              <a:gdLst>
                <a:gd name="connsiteX0" fmla="*/ 0 w 62695"/>
                <a:gd name="connsiteY0" fmla="*/ 0 h 17295"/>
                <a:gd name="connsiteX1" fmla="*/ 62695 w 62695"/>
                <a:gd name="connsiteY1" fmla="*/ 17295 h 17295"/>
              </a:gdLst>
              <a:ahLst/>
              <a:cxnLst>
                <a:cxn ang="0">
                  <a:pos x="connsiteX0" y="connsiteY0"/>
                </a:cxn>
                <a:cxn ang="0">
                  <a:pos x="connsiteX1" y="connsiteY1"/>
                </a:cxn>
              </a:cxnLst>
              <a:rect l="l" t="t" r="r" b="b"/>
              <a:pathLst>
                <a:path w="62695" h="17295">
                  <a:moveTo>
                    <a:pt x="0" y="0"/>
                  </a:moveTo>
                  <a:lnTo>
                    <a:pt x="62695" y="17295"/>
                  </a:lnTo>
                </a:path>
              </a:pathLst>
            </a:custGeom>
            <a:ln w="28575" cap="flat">
              <a:solidFill>
                <a:srgbClr val="70AD47"/>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100" name="Freeform: Shape 99">
              <a:extLst>
                <a:ext uri="{FF2B5EF4-FFF2-40B4-BE49-F238E27FC236}">
                  <a16:creationId xmlns:a16="http://schemas.microsoft.com/office/drawing/2014/main" id="{BCFFB47F-6875-401B-A305-0E225F72CB74}"/>
                </a:ext>
              </a:extLst>
            </p:cNvPr>
            <p:cNvSpPr/>
            <p:nvPr/>
          </p:nvSpPr>
          <p:spPr>
            <a:xfrm>
              <a:off x="10193882" y="2897652"/>
              <a:ext cx="110684" cy="30533"/>
            </a:xfrm>
            <a:custGeom>
              <a:avLst/>
              <a:gdLst>
                <a:gd name="connsiteX0" fmla="*/ 0 w 62695"/>
                <a:gd name="connsiteY0" fmla="*/ 0 h 17295"/>
                <a:gd name="connsiteX1" fmla="*/ 62695 w 62695"/>
                <a:gd name="connsiteY1" fmla="*/ 17295 h 17295"/>
              </a:gdLst>
              <a:ahLst/>
              <a:cxnLst>
                <a:cxn ang="0">
                  <a:pos x="connsiteX0" y="connsiteY0"/>
                </a:cxn>
                <a:cxn ang="0">
                  <a:pos x="connsiteX1" y="connsiteY1"/>
                </a:cxn>
              </a:cxnLst>
              <a:rect l="l" t="t" r="r" b="b"/>
              <a:pathLst>
                <a:path w="62695" h="17295">
                  <a:moveTo>
                    <a:pt x="0" y="0"/>
                  </a:moveTo>
                  <a:lnTo>
                    <a:pt x="62695" y="17295"/>
                  </a:lnTo>
                </a:path>
              </a:pathLst>
            </a:custGeom>
            <a:ln w="28575" cap="flat">
              <a:solidFill>
                <a:srgbClr val="70AD47"/>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101" name="Freeform: Shape 100">
              <a:extLst>
                <a:ext uri="{FF2B5EF4-FFF2-40B4-BE49-F238E27FC236}">
                  <a16:creationId xmlns:a16="http://schemas.microsoft.com/office/drawing/2014/main" id="{AA4793AE-4C36-451D-9457-675CE9846403}"/>
                </a:ext>
              </a:extLst>
            </p:cNvPr>
            <p:cNvSpPr/>
            <p:nvPr/>
          </p:nvSpPr>
          <p:spPr>
            <a:xfrm>
              <a:off x="10148081" y="2582775"/>
              <a:ext cx="202285" cy="404569"/>
            </a:xfrm>
            <a:custGeom>
              <a:avLst/>
              <a:gdLst>
                <a:gd name="connsiteX0" fmla="*/ 23781 w 114581"/>
                <a:gd name="connsiteY0" fmla="*/ 0 h 229162"/>
                <a:gd name="connsiteX1" fmla="*/ 4324 w 114581"/>
                <a:gd name="connsiteY1" fmla="*/ 21619 h 229162"/>
                <a:gd name="connsiteX2" fmla="*/ 0 w 114581"/>
                <a:gd name="connsiteY2" fmla="*/ 33510 h 229162"/>
                <a:gd name="connsiteX3" fmla="*/ 0 w 114581"/>
                <a:gd name="connsiteY3" fmla="*/ 229163 h 229162"/>
                <a:gd name="connsiteX4" fmla="*/ 114581 w 114581"/>
                <a:gd name="connsiteY4" fmla="*/ 229163 h 229162"/>
                <a:gd name="connsiteX5" fmla="*/ 114581 w 114581"/>
                <a:gd name="connsiteY5" fmla="*/ 33510 h 229162"/>
                <a:gd name="connsiteX6" fmla="*/ 110258 w 114581"/>
                <a:gd name="connsiteY6" fmla="*/ 21619 h 229162"/>
                <a:gd name="connsiteX7" fmla="*/ 90800 w 114581"/>
                <a:gd name="connsiteY7" fmla="*/ 0 h 229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4581" h="229162">
                  <a:moveTo>
                    <a:pt x="23781" y="0"/>
                  </a:moveTo>
                  <a:lnTo>
                    <a:pt x="4324" y="21619"/>
                  </a:lnTo>
                  <a:cubicBezTo>
                    <a:pt x="1081" y="24862"/>
                    <a:pt x="0" y="29186"/>
                    <a:pt x="0" y="33510"/>
                  </a:cubicBezTo>
                  <a:lnTo>
                    <a:pt x="0" y="229163"/>
                  </a:lnTo>
                  <a:lnTo>
                    <a:pt x="114581" y="229163"/>
                  </a:lnTo>
                  <a:lnTo>
                    <a:pt x="114581" y="33510"/>
                  </a:lnTo>
                  <a:cubicBezTo>
                    <a:pt x="114581" y="29186"/>
                    <a:pt x="112419" y="24862"/>
                    <a:pt x="110258" y="21619"/>
                  </a:cubicBezTo>
                  <a:lnTo>
                    <a:pt x="90800" y="0"/>
                  </a:lnTo>
                </a:path>
              </a:pathLst>
            </a:custGeom>
            <a:noFill/>
            <a:ln w="28575" cap="flat">
              <a:solidFill>
                <a:srgbClr val="70AD47"/>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102" name="Freeform: Shape 101">
              <a:extLst>
                <a:ext uri="{FF2B5EF4-FFF2-40B4-BE49-F238E27FC236}">
                  <a16:creationId xmlns:a16="http://schemas.microsoft.com/office/drawing/2014/main" id="{C351A876-B750-4DB3-A164-ED3C1E3A983E}"/>
                </a:ext>
              </a:extLst>
            </p:cNvPr>
            <p:cNvSpPr/>
            <p:nvPr/>
          </p:nvSpPr>
          <p:spPr>
            <a:xfrm>
              <a:off x="10155715" y="2523617"/>
              <a:ext cx="183200" cy="59158"/>
            </a:xfrm>
            <a:custGeom>
              <a:avLst/>
              <a:gdLst>
                <a:gd name="connsiteX0" fmla="*/ 86477 w 103771"/>
                <a:gd name="connsiteY0" fmla="*/ 33510 h 33509"/>
                <a:gd name="connsiteX1" fmla="*/ 0 w 103771"/>
                <a:gd name="connsiteY1" fmla="*/ 33510 h 33509"/>
                <a:gd name="connsiteX2" fmla="*/ 0 w 103771"/>
                <a:gd name="connsiteY2" fmla="*/ 10810 h 33509"/>
                <a:gd name="connsiteX3" fmla="*/ 9729 w 103771"/>
                <a:gd name="connsiteY3" fmla="*/ 0 h 33509"/>
                <a:gd name="connsiteX4" fmla="*/ 94043 w 103771"/>
                <a:gd name="connsiteY4" fmla="*/ 0 h 33509"/>
                <a:gd name="connsiteX5" fmla="*/ 103772 w 103771"/>
                <a:gd name="connsiteY5" fmla="*/ 10810 h 33509"/>
                <a:gd name="connsiteX6" fmla="*/ 103772 w 103771"/>
                <a:gd name="connsiteY6" fmla="*/ 33510 h 33509"/>
                <a:gd name="connsiteX7" fmla="*/ 86477 w 103771"/>
                <a:gd name="connsiteY7" fmla="*/ 33510 h 33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3771" h="33509">
                  <a:moveTo>
                    <a:pt x="86477" y="33510"/>
                  </a:moveTo>
                  <a:lnTo>
                    <a:pt x="0" y="33510"/>
                  </a:lnTo>
                  <a:lnTo>
                    <a:pt x="0" y="10810"/>
                  </a:lnTo>
                  <a:cubicBezTo>
                    <a:pt x="0" y="4324"/>
                    <a:pt x="4324" y="0"/>
                    <a:pt x="9729" y="0"/>
                  </a:cubicBezTo>
                  <a:lnTo>
                    <a:pt x="94043" y="0"/>
                  </a:lnTo>
                  <a:cubicBezTo>
                    <a:pt x="99448" y="0"/>
                    <a:pt x="103772" y="5405"/>
                    <a:pt x="103772" y="10810"/>
                  </a:cubicBezTo>
                  <a:lnTo>
                    <a:pt x="103772" y="33510"/>
                  </a:lnTo>
                  <a:lnTo>
                    <a:pt x="86477" y="33510"/>
                  </a:lnTo>
                  <a:close/>
                </a:path>
              </a:pathLst>
            </a:custGeom>
            <a:noFill/>
            <a:ln w="28575" cap="flat">
              <a:solidFill>
                <a:srgbClr val="70AD47"/>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103" name="Freeform: Shape 102">
              <a:extLst>
                <a:ext uri="{FF2B5EF4-FFF2-40B4-BE49-F238E27FC236}">
                  <a16:creationId xmlns:a16="http://schemas.microsoft.com/office/drawing/2014/main" id="{0EC2EEAA-C7AE-45A1-AED3-28C0FF4622FA}"/>
                </a:ext>
              </a:extLst>
            </p:cNvPr>
            <p:cNvSpPr/>
            <p:nvPr/>
          </p:nvSpPr>
          <p:spPr>
            <a:xfrm>
              <a:off x="10148081" y="2662448"/>
              <a:ext cx="202285" cy="17562"/>
            </a:xfrm>
            <a:custGeom>
              <a:avLst/>
              <a:gdLst>
                <a:gd name="connsiteX0" fmla="*/ 0 w 114581"/>
                <a:gd name="connsiteY0" fmla="*/ 1351 h 9948"/>
                <a:gd name="connsiteX1" fmla="*/ 73505 w 114581"/>
                <a:gd name="connsiteY1" fmla="*/ 6756 h 9948"/>
                <a:gd name="connsiteX2" fmla="*/ 114581 w 114581"/>
                <a:gd name="connsiteY2" fmla="*/ 7837 h 9948"/>
              </a:gdLst>
              <a:ahLst/>
              <a:cxnLst>
                <a:cxn ang="0">
                  <a:pos x="connsiteX0" y="connsiteY0"/>
                </a:cxn>
                <a:cxn ang="0">
                  <a:pos x="connsiteX1" y="connsiteY1"/>
                </a:cxn>
                <a:cxn ang="0">
                  <a:pos x="connsiteX2" y="connsiteY2"/>
                </a:cxn>
              </a:cxnLst>
              <a:rect l="l" t="t" r="r" b="b"/>
              <a:pathLst>
                <a:path w="114581" h="9948">
                  <a:moveTo>
                    <a:pt x="0" y="1351"/>
                  </a:moveTo>
                  <a:cubicBezTo>
                    <a:pt x="0" y="1351"/>
                    <a:pt x="44319" y="-4054"/>
                    <a:pt x="73505" y="6756"/>
                  </a:cubicBezTo>
                  <a:cubicBezTo>
                    <a:pt x="90800" y="13242"/>
                    <a:pt x="114581" y="7837"/>
                    <a:pt x="114581" y="7837"/>
                  </a:cubicBezTo>
                </a:path>
              </a:pathLst>
            </a:custGeom>
            <a:noFill/>
            <a:ln w="28575" cap="flat">
              <a:solidFill>
                <a:srgbClr val="70AD47"/>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104" name="Freeform: Shape 103">
              <a:extLst>
                <a:ext uri="{FF2B5EF4-FFF2-40B4-BE49-F238E27FC236}">
                  <a16:creationId xmlns:a16="http://schemas.microsoft.com/office/drawing/2014/main" id="{0CFBA197-8D16-405D-9993-C8DDD036F094}"/>
                </a:ext>
              </a:extLst>
            </p:cNvPr>
            <p:cNvSpPr/>
            <p:nvPr/>
          </p:nvSpPr>
          <p:spPr>
            <a:xfrm>
              <a:off x="10375175" y="1890044"/>
              <a:ext cx="330144" cy="19082"/>
            </a:xfrm>
            <a:custGeom>
              <a:avLst/>
              <a:gdLst>
                <a:gd name="connsiteX0" fmla="*/ 0 w 187005"/>
                <a:gd name="connsiteY0" fmla="*/ 0 h 10809"/>
                <a:gd name="connsiteX1" fmla="*/ 187005 w 187005"/>
                <a:gd name="connsiteY1" fmla="*/ 0 h 10809"/>
              </a:gdLst>
              <a:ahLst/>
              <a:cxnLst>
                <a:cxn ang="0">
                  <a:pos x="connsiteX0" y="connsiteY0"/>
                </a:cxn>
                <a:cxn ang="0">
                  <a:pos x="connsiteX1" y="connsiteY1"/>
                </a:cxn>
              </a:cxnLst>
              <a:rect l="l" t="t" r="r" b="b"/>
              <a:pathLst>
                <a:path w="187005" h="10809">
                  <a:moveTo>
                    <a:pt x="0" y="0"/>
                  </a:moveTo>
                  <a:lnTo>
                    <a:pt x="187005" y="0"/>
                  </a:lnTo>
                </a:path>
              </a:pathLst>
            </a:custGeom>
            <a:ln w="28575" cap="flat">
              <a:solidFill>
                <a:srgbClr val="4472C4"/>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105" name="Freeform: Shape 104">
              <a:extLst>
                <a:ext uri="{FF2B5EF4-FFF2-40B4-BE49-F238E27FC236}">
                  <a16:creationId xmlns:a16="http://schemas.microsoft.com/office/drawing/2014/main" id="{8BD40ECE-F241-450A-A9D8-AE2B6C8C3061}"/>
                </a:ext>
              </a:extLst>
            </p:cNvPr>
            <p:cNvSpPr/>
            <p:nvPr/>
          </p:nvSpPr>
          <p:spPr>
            <a:xfrm>
              <a:off x="10445783" y="1813711"/>
              <a:ext cx="190834" cy="19082"/>
            </a:xfrm>
            <a:custGeom>
              <a:avLst/>
              <a:gdLst>
                <a:gd name="connsiteX0" fmla="*/ 0 w 108095"/>
                <a:gd name="connsiteY0" fmla="*/ 0 h 10809"/>
                <a:gd name="connsiteX1" fmla="*/ 108096 w 108095"/>
                <a:gd name="connsiteY1" fmla="*/ 0 h 10809"/>
              </a:gdLst>
              <a:ahLst/>
              <a:cxnLst>
                <a:cxn ang="0">
                  <a:pos x="connsiteX0" y="connsiteY0"/>
                </a:cxn>
                <a:cxn ang="0">
                  <a:pos x="connsiteX1" y="connsiteY1"/>
                </a:cxn>
              </a:cxnLst>
              <a:rect l="l" t="t" r="r" b="b"/>
              <a:pathLst>
                <a:path w="108095" h="10809">
                  <a:moveTo>
                    <a:pt x="0" y="0"/>
                  </a:moveTo>
                  <a:lnTo>
                    <a:pt x="108096" y="0"/>
                  </a:lnTo>
                </a:path>
              </a:pathLst>
            </a:custGeom>
            <a:ln w="28575" cap="flat">
              <a:solidFill>
                <a:srgbClr val="4472C4"/>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106" name="Freeform: Shape 105">
              <a:extLst>
                <a:ext uri="{FF2B5EF4-FFF2-40B4-BE49-F238E27FC236}">
                  <a16:creationId xmlns:a16="http://schemas.microsoft.com/office/drawing/2014/main" id="{95B8366E-4189-4DD0-A129-91BB3A3B0CB6}"/>
                </a:ext>
              </a:extLst>
            </p:cNvPr>
            <p:cNvSpPr/>
            <p:nvPr/>
          </p:nvSpPr>
          <p:spPr>
            <a:xfrm>
              <a:off x="10541201" y="1813711"/>
              <a:ext cx="19083" cy="76333"/>
            </a:xfrm>
            <a:custGeom>
              <a:avLst/>
              <a:gdLst>
                <a:gd name="connsiteX0" fmla="*/ 0 w 10809"/>
                <a:gd name="connsiteY0" fmla="*/ 0 h 43238"/>
                <a:gd name="connsiteX1" fmla="*/ 0 w 10809"/>
                <a:gd name="connsiteY1" fmla="*/ 43238 h 43238"/>
              </a:gdLst>
              <a:ahLst/>
              <a:cxnLst>
                <a:cxn ang="0">
                  <a:pos x="connsiteX0" y="connsiteY0"/>
                </a:cxn>
                <a:cxn ang="0">
                  <a:pos x="connsiteX1" y="connsiteY1"/>
                </a:cxn>
              </a:cxnLst>
              <a:rect l="l" t="t" r="r" b="b"/>
              <a:pathLst>
                <a:path w="10809" h="43238">
                  <a:moveTo>
                    <a:pt x="0" y="0"/>
                  </a:moveTo>
                  <a:lnTo>
                    <a:pt x="0" y="43238"/>
                  </a:lnTo>
                </a:path>
              </a:pathLst>
            </a:custGeom>
            <a:ln w="28575" cap="flat">
              <a:solidFill>
                <a:srgbClr val="4472C4"/>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107" name="Freeform: Shape 106">
              <a:extLst>
                <a:ext uri="{FF2B5EF4-FFF2-40B4-BE49-F238E27FC236}">
                  <a16:creationId xmlns:a16="http://schemas.microsoft.com/office/drawing/2014/main" id="{D5DD05EF-4E39-4261-BFA6-35AA3C39DF39}"/>
                </a:ext>
              </a:extLst>
            </p:cNvPr>
            <p:cNvSpPr/>
            <p:nvPr/>
          </p:nvSpPr>
          <p:spPr>
            <a:xfrm>
              <a:off x="10455326" y="1890044"/>
              <a:ext cx="171751" cy="759521"/>
            </a:xfrm>
            <a:custGeom>
              <a:avLst/>
              <a:gdLst>
                <a:gd name="connsiteX0" fmla="*/ 97286 w 97286"/>
                <a:gd name="connsiteY0" fmla="*/ 0 h 430220"/>
                <a:gd name="connsiteX1" fmla="*/ 97286 w 97286"/>
                <a:gd name="connsiteY1" fmla="*/ 392387 h 430220"/>
                <a:gd name="connsiteX2" fmla="*/ 48643 w 97286"/>
                <a:gd name="connsiteY2" fmla="*/ 430221 h 430220"/>
                <a:gd name="connsiteX3" fmla="*/ 0 w 97286"/>
                <a:gd name="connsiteY3" fmla="*/ 392387 h 430220"/>
                <a:gd name="connsiteX4" fmla="*/ 0 w 97286"/>
                <a:gd name="connsiteY4" fmla="*/ 0 h 430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286" h="430220">
                  <a:moveTo>
                    <a:pt x="97286" y="0"/>
                  </a:moveTo>
                  <a:lnTo>
                    <a:pt x="97286" y="392387"/>
                  </a:lnTo>
                  <a:lnTo>
                    <a:pt x="48643" y="430221"/>
                  </a:lnTo>
                  <a:lnTo>
                    <a:pt x="0" y="392387"/>
                  </a:lnTo>
                  <a:lnTo>
                    <a:pt x="0" y="0"/>
                  </a:lnTo>
                </a:path>
              </a:pathLst>
            </a:custGeom>
            <a:noFill/>
            <a:ln w="28575" cap="flat">
              <a:solidFill>
                <a:srgbClr val="4472C4"/>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108" name="Freeform: Shape 107">
              <a:extLst>
                <a:ext uri="{FF2B5EF4-FFF2-40B4-BE49-F238E27FC236}">
                  <a16:creationId xmlns:a16="http://schemas.microsoft.com/office/drawing/2014/main" id="{EB60C64D-619A-4784-A649-E804417446A1}"/>
                </a:ext>
              </a:extLst>
            </p:cNvPr>
            <p:cNvSpPr/>
            <p:nvPr/>
          </p:nvSpPr>
          <p:spPr>
            <a:xfrm>
              <a:off x="10455326" y="1995004"/>
              <a:ext cx="53432" cy="19082"/>
            </a:xfrm>
            <a:custGeom>
              <a:avLst/>
              <a:gdLst>
                <a:gd name="connsiteX0" fmla="*/ 0 w 30266"/>
                <a:gd name="connsiteY0" fmla="*/ 0 h 10809"/>
                <a:gd name="connsiteX1" fmla="*/ 30267 w 30266"/>
                <a:gd name="connsiteY1" fmla="*/ 0 h 10809"/>
              </a:gdLst>
              <a:ahLst/>
              <a:cxnLst>
                <a:cxn ang="0">
                  <a:pos x="connsiteX0" y="connsiteY0"/>
                </a:cxn>
                <a:cxn ang="0">
                  <a:pos x="connsiteX1" y="connsiteY1"/>
                </a:cxn>
              </a:cxnLst>
              <a:rect l="l" t="t" r="r" b="b"/>
              <a:pathLst>
                <a:path w="30266" h="10809">
                  <a:moveTo>
                    <a:pt x="0" y="0"/>
                  </a:moveTo>
                  <a:lnTo>
                    <a:pt x="30267" y="0"/>
                  </a:lnTo>
                </a:path>
              </a:pathLst>
            </a:custGeom>
            <a:ln w="28575" cap="flat">
              <a:solidFill>
                <a:srgbClr val="4472C4"/>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109" name="Freeform: Shape 108">
              <a:extLst>
                <a:ext uri="{FF2B5EF4-FFF2-40B4-BE49-F238E27FC236}">
                  <a16:creationId xmlns:a16="http://schemas.microsoft.com/office/drawing/2014/main" id="{7140CE84-67C7-4895-A54D-793D59D0624C}"/>
                </a:ext>
              </a:extLst>
            </p:cNvPr>
            <p:cNvSpPr/>
            <p:nvPr/>
          </p:nvSpPr>
          <p:spPr>
            <a:xfrm>
              <a:off x="10455326" y="2094239"/>
              <a:ext cx="53432" cy="19082"/>
            </a:xfrm>
            <a:custGeom>
              <a:avLst/>
              <a:gdLst>
                <a:gd name="connsiteX0" fmla="*/ 0 w 30266"/>
                <a:gd name="connsiteY0" fmla="*/ 0 h 10809"/>
                <a:gd name="connsiteX1" fmla="*/ 30267 w 30266"/>
                <a:gd name="connsiteY1" fmla="*/ 0 h 10809"/>
              </a:gdLst>
              <a:ahLst/>
              <a:cxnLst>
                <a:cxn ang="0">
                  <a:pos x="connsiteX0" y="connsiteY0"/>
                </a:cxn>
                <a:cxn ang="0">
                  <a:pos x="connsiteX1" y="connsiteY1"/>
                </a:cxn>
              </a:cxnLst>
              <a:rect l="l" t="t" r="r" b="b"/>
              <a:pathLst>
                <a:path w="30266" h="10809">
                  <a:moveTo>
                    <a:pt x="0" y="0"/>
                  </a:moveTo>
                  <a:lnTo>
                    <a:pt x="30267" y="0"/>
                  </a:lnTo>
                </a:path>
              </a:pathLst>
            </a:custGeom>
            <a:ln w="28575" cap="flat">
              <a:solidFill>
                <a:srgbClr val="4472C4"/>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110" name="Freeform: Shape 109">
              <a:extLst>
                <a:ext uri="{FF2B5EF4-FFF2-40B4-BE49-F238E27FC236}">
                  <a16:creationId xmlns:a16="http://schemas.microsoft.com/office/drawing/2014/main" id="{BF44B633-28A3-431A-B030-3A02BAC1E091}"/>
                </a:ext>
              </a:extLst>
            </p:cNvPr>
            <p:cNvSpPr/>
            <p:nvPr/>
          </p:nvSpPr>
          <p:spPr>
            <a:xfrm>
              <a:off x="10455326" y="2195380"/>
              <a:ext cx="53432" cy="19082"/>
            </a:xfrm>
            <a:custGeom>
              <a:avLst/>
              <a:gdLst>
                <a:gd name="connsiteX0" fmla="*/ 0 w 30266"/>
                <a:gd name="connsiteY0" fmla="*/ 0 h 10809"/>
                <a:gd name="connsiteX1" fmla="*/ 30267 w 30266"/>
                <a:gd name="connsiteY1" fmla="*/ 0 h 10809"/>
              </a:gdLst>
              <a:ahLst/>
              <a:cxnLst>
                <a:cxn ang="0">
                  <a:pos x="connsiteX0" y="connsiteY0"/>
                </a:cxn>
                <a:cxn ang="0">
                  <a:pos x="connsiteX1" y="connsiteY1"/>
                </a:cxn>
              </a:cxnLst>
              <a:rect l="l" t="t" r="r" b="b"/>
              <a:pathLst>
                <a:path w="30266" h="10809">
                  <a:moveTo>
                    <a:pt x="0" y="0"/>
                  </a:moveTo>
                  <a:lnTo>
                    <a:pt x="30267" y="0"/>
                  </a:lnTo>
                </a:path>
              </a:pathLst>
            </a:custGeom>
            <a:ln w="28575" cap="flat">
              <a:solidFill>
                <a:srgbClr val="4472C4"/>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111" name="Freeform: Shape 110">
              <a:extLst>
                <a:ext uri="{FF2B5EF4-FFF2-40B4-BE49-F238E27FC236}">
                  <a16:creationId xmlns:a16="http://schemas.microsoft.com/office/drawing/2014/main" id="{4788EB7F-040B-4D4B-B135-426A3CFFDE78}"/>
                </a:ext>
              </a:extLst>
            </p:cNvPr>
            <p:cNvSpPr/>
            <p:nvPr/>
          </p:nvSpPr>
          <p:spPr>
            <a:xfrm>
              <a:off x="10455326" y="2294615"/>
              <a:ext cx="53432" cy="19082"/>
            </a:xfrm>
            <a:custGeom>
              <a:avLst/>
              <a:gdLst>
                <a:gd name="connsiteX0" fmla="*/ 0 w 30266"/>
                <a:gd name="connsiteY0" fmla="*/ 0 h 10809"/>
                <a:gd name="connsiteX1" fmla="*/ 30267 w 30266"/>
                <a:gd name="connsiteY1" fmla="*/ 0 h 10809"/>
              </a:gdLst>
              <a:ahLst/>
              <a:cxnLst>
                <a:cxn ang="0">
                  <a:pos x="connsiteX0" y="connsiteY0"/>
                </a:cxn>
                <a:cxn ang="0">
                  <a:pos x="connsiteX1" y="connsiteY1"/>
                </a:cxn>
              </a:cxnLst>
              <a:rect l="l" t="t" r="r" b="b"/>
              <a:pathLst>
                <a:path w="30266" h="10809">
                  <a:moveTo>
                    <a:pt x="0" y="0"/>
                  </a:moveTo>
                  <a:lnTo>
                    <a:pt x="30267" y="0"/>
                  </a:lnTo>
                </a:path>
              </a:pathLst>
            </a:custGeom>
            <a:ln w="28575" cap="flat">
              <a:solidFill>
                <a:srgbClr val="4472C4"/>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112" name="Freeform: Shape 111">
              <a:extLst>
                <a:ext uri="{FF2B5EF4-FFF2-40B4-BE49-F238E27FC236}">
                  <a16:creationId xmlns:a16="http://schemas.microsoft.com/office/drawing/2014/main" id="{3B621827-E93E-49C1-939B-DD244CC7D681}"/>
                </a:ext>
              </a:extLst>
            </p:cNvPr>
            <p:cNvSpPr/>
            <p:nvPr/>
          </p:nvSpPr>
          <p:spPr>
            <a:xfrm>
              <a:off x="10455326" y="2393849"/>
              <a:ext cx="53432" cy="19082"/>
            </a:xfrm>
            <a:custGeom>
              <a:avLst/>
              <a:gdLst>
                <a:gd name="connsiteX0" fmla="*/ 0 w 30266"/>
                <a:gd name="connsiteY0" fmla="*/ 0 h 10809"/>
                <a:gd name="connsiteX1" fmla="*/ 30267 w 30266"/>
                <a:gd name="connsiteY1" fmla="*/ 0 h 10809"/>
              </a:gdLst>
              <a:ahLst/>
              <a:cxnLst>
                <a:cxn ang="0">
                  <a:pos x="connsiteX0" y="connsiteY0"/>
                </a:cxn>
                <a:cxn ang="0">
                  <a:pos x="connsiteX1" y="connsiteY1"/>
                </a:cxn>
              </a:cxnLst>
              <a:rect l="l" t="t" r="r" b="b"/>
              <a:pathLst>
                <a:path w="30266" h="10809">
                  <a:moveTo>
                    <a:pt x="0" y="0"/>
                  </a:moveTo>
                  <a:lnTo>
                    <a:pt x="30267" y="0"/>
                  </a:lnTo>
                </a:path>
              </a:pathLst>
            </a:custGeom>
            <a:ln w="28575" cap="flat">
              <a:solidFill>
                <a:srgbClr val="4472C4"/>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113" name="Freeform: Shape 112">
              <a:extLst>
                <a:ext uri="{FF2B5EF4-FFF2-40B4-BE49-F238E27FC236}">
                  <a16:creationId xmlns:a16="http://schemas.microsoft.com/office/drawing/2014/main" id="{1DD71274-C227-4927-BCC0-EE807D5365D3}"/>
                </a:ext>
              </a:extLst>
            </p:cNvPr>
            <p:cNvSpPr/>
            <p:nvPr/>
          </p:nvSpPr>
          <p:spPr>
            <a:xfrm>
              <a:off x="10455326" y="2493082"/>
              <a:ext cx="53432" cy="19082"/>
            </a:xfrm>
            <a:custGeom>
              <a:avLst/>
              <a:gdLst>
                <a:gd name="connsiteX0" fmla="*/ 0 w 30266"/>
                <a:gd name="connsiteY0" fmla="*/ 0 h 10809"/>
                <a:gd name="connsiteX1" fmla="*/ 30267 w 30266"/>
                <a:gd name="connsiteY1" fmla="*/ 0 h 10809"/>
              </a:gdLst>
              <a:ahLst/>
              <a:cxnLst>
                <a:cxn ang="0">
                  <a:pos x="connsiteX0" y="connsiteY0"/>
                </a:cxn>
                <a:cxn ang="0">
                  <a:pos x="connsiteX1" y="connsiteY1"/>
                </a:cxn>
              </a:cxnLst>
              <a:rect l="l" t="t" r="r" b="b"/>
              <a:pathLst>
                <a:path w="30266" h="10809">
                  <a:moveTo>
                    <a:pt x="0" y="0"/>
                  </a:moveTo>
                  <a:lnTo>
                    <a:pt x="30267" y="0"/>
                  </a:lnTo>
                </a:path>
              </a:pathLst>
            </a:custGeom>
            <a:ln w="28575" cap="flat">
              <a:solidFill>
                <a:srgbClr val="4472C4"/>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114" name="Freeform: Shape 113">
              <a:extLst>
                <a:ext uri="{FF2B5EF4-FFF2-40B4-BE49-F238E27FC236}">
                  <a16:creationId xmlns:a16="http://schemas.microsoft.com/office/drawing/2014/main" id="{290DA7CB-F121-491B-A129-CBDABF87B319}"/>
                </a:ext>
              </a:extLst>
            </p:cNvPr>
            <p:cNvSpPr/>
            <p:nvPr/>
          </p:nvSpPr>
          <p:spPr>
            <a:xfrm>
              <a:off x="10541201" y="2649568"/>
              <a:ext cx="19083" cy="347319"/>
            </a:xfrm>
            <a:custGeom>
              <a:avLst/>
              <a:gdLst>
                <a:gd name="connsiteX0" fmla="*/ 0 w 10809"/>
                <a:gd name="connsiteY0" fmla="*/ 0 h 196734"/>
                <a:gd name="connsiteX1" fmla="*/ 0 w 10809"/>
                <a:gd name="connsiteY1" fmla="*/ 196734 h 196734"/>
              </a:gdLst>
              <a:ahLst/>
              <a:cxnLst>
                <a:cxn ang="0">
                  <a:pos x="connsiteX0" y="connsiteY0"/>
                </a:cxn>
                <a:cxn ang="0">
                  <a:pos x="connsiteX1" y="connsiteY1"/>
                </a:cxn>
              </a:cxnLst>
              <a:rect l="l" t="t" r="r" b="b"/>
              <a:pathLst>
                <a:path w="10809" h="196734">
                  <a:moveTo>
                    <a:pt x="0" y="0"/>
                  </a:moveTo>
                  <a:lnTo>
                    <a:pt x="0" y="196734"/>
                  </a:lnTo>
                </a:path>
              </a:pathLst>
            </a:custGeom>
            <a:ln w="28575" cap="flat">
              <a:solidFill>
                <a:srgbClr val="4472C4"/>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grpSp>
      <p:cxnSp>
        <p:nvCxnSpPr>
          <p:cNvPr id="115" name="Straight Connector 114">
            <a:extLst>
              <a:ext uri="{FF2B5EF4-FFF2-40B4-BE49-F238E27FC236}">
                <a16:creationId xmlns:a16="http://schemas.microsoft.com/office/drawing/2014/main" id="{908F91E7-98A6-4B34-9DF1-D3B5A607593B}"/>
              </a:ext>
            </a:extLst>
          </p:cNvPr>
          <p:cNvCxnSpPr>
            <a:cxnSpLocks/>
          </p:cNvCxnSpPr>
          <p:nvPr/>
        </p:nvCxnSpPr>
        <p:spPr>
          <a:xfrm>
            <a:off x="643256" y="3190768"/>
            <a:ext cx="1905000" cy="0"/>
          </a:xfrm>
          <a:prstGeom prst="line">
            <a:avLst/>
          </a:prstGeom>
          <a:noFill/>
          <a:ln w="28575" cap="rnd" cmpd="sng" algn="ctr">
            <a:solidFill>
              <a:srgbClr val="4472C4"/>
            </a:solidFill>
            <a:prstDash val="solid"/>
            <a:round/>
          </a:ln>
          <a:effectLst/>
        </p:spPr>
      </p:cxnSp>
      <p:cxnSp>
        <p:nvCxnSpPr>
          <p:cNvPr id="116" name="Straight Connector 115">
            <a:extLst>
              <a:ext uri="{FF2B5EF4-FFF2-40B4-BE49-F238E27FC236}">
                <a16:creationId xmlns:a16="http://schemas.microsoft.com/office/drawing/2014/main" id="{9EF343E4-B117-4FA3-B3D6-77337CEE4913}"/>
              </a:ext>
            </a:extLst>
          </p:cNvPr>
          <p:cNvCxnSpPr>
            <a:cxnSpLocks/>
          </p:cNvCxnSpPr>
          <p:nvPr/>
        </p:nvCxnSpPr>
        <p:spPr>
          <a:xfrm>
            <a:off x="2850992" y="3190768"/>
            <a:ext cx="1905000" cy="0"/>
          </a:xfrm>
          <a:prstGeom prst="line">
            <a:avLst/>
          </a:prstGeom>
          <a:noFill/>
          <a:ln w="28575" cap="rnd" cmpd="sng" algn="ctr">
            <a:solidFill>
              <a:srgbClr val="4472C4"/>
            </a:solidFill>
            <a:prstDash val="solid"/>
            <a:round/>
          </a:ln>
          <a:effectLst/>
        </p:spPr>
      </p:cxnSp>
      <p:cxnSp>
        <p:nvCxnSpPr>
          <p:cNvPr id="117" name="Straight Connector 116">
            <a:extLst>
              <a:ext uri="{FF2B5EF4-FFF2-40B4-BE49-F238E27FC236}">
                <a16:creationId xmlns:a16="http://schemas.microsoft.com/office/drawing/2014/main" id="{905893AE-38A4-4050-823A-8E7187489104}"/>
              </a:ext>
            </a:extLst>
          </p:cNvPr>
          <p:cNvCxnSpPr>
            <a:cxnSpLocks/>
          </p:cNvCxnSpPr>
          <p:nvPr/>
        </p:nvCxnSpPr>
        <p:spPr>
          <a:xfrm>
            <a:off x="5058728" y="3190768"/>
            <a:ext cx="1905000" cy="0"/>
          </a:xfrm>
          <a:prstGeom prst="line">
            <a:avLst/>
          </a:prstGeom>
          <a:noFill/>
          <a:ln w="28575" cap="rnd" cmpd="sng" algn="ctr">
            <a:solidFill>
              <a:srgbClr val="4472C4"/>
            </a:solidFill>
            <a:prstDash val="solid"/>
            <a:round/>
          </a:ln>
          <a:effectLst/>
        </p:spPr>
      </p:cxnSp>
      <p:cxnSp>
        <p:nvCxnSpPr>
          <p:cNvPr id="118" name="Straight Connector 117">
            <a:extLst>
              <a:ext uri="{FF2B5EF4-FFF2-40B4-BE49-F238E27FC236}">
                <a16:creationId xmlns:a16="http://schemas.microsoft.com/office/drawing/2014/main" id="{EA039141-A6DF-4D76-B45C-D4C43CA5FABF}"/>
              </a:ext>
            </a:extLst>
          </p:cNvPr>
          <p:cNvCxnSpPr>
            <a:cxnSpLocks/>
          </p:cNvCxnSpPr>
          <p:nvPr/>
        </p:nvCxnSpPr>
        <p:spPr>
          <a:xfrm>
            <a:off x="7266464" y="3190768"/>
            <a:ext cx="1905000" cy="0"/>
          </a:xfrm>
          <a:prstGeom prst="line">
            <a:avLst/>
          </a:prstGeom>
          <a:noFill/>
          <a:ln w="28575" cap="rnd" cmpd="sng" algn="ctr">
            <a:solidFill>
              <a:srgbClr val="4472C4"/>
            </a:solidFill>
            <a:prstDash val="solid"/>
            <a:round/>
          </a:ln>
          <a:effectLst/>
        </p:spPr>
      </p:cxnSp>
      <p:cxnSp>
        <p:nvCxnSpPr>
          <p:cNvPr id="119" name="Straight Connector 118">
            <a:extLst>
              <a:ext uri="{FF2B5EF4-FFF2-40B4-BE49-F238E27FC236}">
                <a16:creationId xmlns:a16="http://schemas.microsoft.com/office/drawing/2014/main" id="{747B296A-9980-4393-B020-2870EE056CEE}"/>
              </a:ext>
            </a:extLst>
          </p:cNvPr>
          <p:cNvCxnSpPr>
            <a:cxnSpLocks/>
          </p:cNvCxnSpPr>
          <p:nvPr/>
        </p:nvCxnSpPr>
        <p:spPr>
          <a:xfrm>
            <a:off x="9474200" y="3190768"/>
            <a:ext cx="1905000" cy="0"/>
          </a:xfrm>
          <a:prstGeom prst="line">
            <a:avLst/>
          </a:prstGeom>
          <a:noFill/>
          <a:ln w="28575" cap="rnd" cmpd="sng" algn="ctr">
            <a:solidFill>
              <a:srgbClr val="4472C4"/>
            </a:solidFill>
            <a:prstDash val="solid"/>
            <a:round/>
          </a:ln>
          <a:effectLst/>
        </p:spPr>
      </p:cxnSp>
      <p:grpSp>
        <p:nvGrpSpPr>
          <p:cNvPr id="120" name="Group 119">
            <a:extLst>
              <a:ext uri="{FF2B5EF4-FFF2-40B4-BE49-F238E27FC236}">
                <a16:creationId xmlns:a16="http://schemas.microsoft.com/office/drawing/2014/main" id="{EC5330A6-F38D-4371-8068-32D898834CE7}"/>
              </a:ext>
            </a:extLst>
          </p:cNvPr>
          <p:cNvGrpSpPr/>
          <p:nvPr/>
        </p:nvGrpSpPr>
        <p:grpSpPr>
          <a:xfrm>
            <a:off x="7768170" y="1928353"/>
            <a:ext cx="901586" cy="953892"/>
            <a:chOff x="7768170" y="1928353"/>
            <a:chExt cx="901586" cy="953892"/>
          </a:xfrm>
        </p:grpSpPr>
        <p:sp>
          <p:nvSpPr>
            <p:cNvPr id="121" name="Freeform: Shape 120">
              <a:extLst>
                <a:ext uri="{FF2B5EF4-FFF2-40B4-BE49-F238E27FC236}">
                  <a16:creationId xmlns:a16="http://schemas.microsoft.com/office/drawing/2014/main" id="{68808B43-2173-4D99-B742-7305D372A045}"/>
                </a:ext>
              </a:extLst>
            </p:cNvPr>
            <p:cNvSpPr/>
            <p:nvPr/>
          </p:nvSpPr>
          <p:spPr>
            <a:xfrm>
              <a:off x="7928178" y="2577615"/>
              <a:ext cx="384635" cy="101543"/>
            </a:xfrm>
            <a:custGeom>
              <a:avLst/>
              <a:gdLst>
                <a:gd name="connsiteX0" fmla="*/ 128521 w 341812"/>
                <a:gd name="connsiteY0" fmla="*/ 0 h 90238"/>
                <a:gd name="connsiteX1" fmla="*/ 45119 w 341812"/>
                <a:gd name="connsiteY1" fmla="*/ 0 h 90238"/>
                <a:gd name="connsiteX2" fmla="*/ 0 w 341812"/>
                <a:gd name="connsiteY2" fmla="*/ 45119 h 90238"/>
                <a:gd name="connsiteX3" fmla="*/ 0 w 341812"/>
                <a:gd name="connsiteY3" fmla="*/ 45119 h 90238"/>
                <a:gd name="connsiteX4" fmla="*/ 45119 w 341812"/>
                <a:gd name="connsiteY4" fmla="*/ 90238 h 90238"/>
                <a:gd name="connsiteX5" fmla="*/ 341812 w 341812"/>
                <a:gd name="connsiteY5" fmla="*/ 90238 h 90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1812" h="90238">
                  <a:moveTo>
                    <a:pt x="128521" y="0"/>
                  </a:moveTo>
                  <a:lnTo>
                    <a:pt x="45119" y="0"/>
                  </a:lnTo>
                  <a:cubicBezTo>
                    <a:pt x="20509" y="0"/>
                    <a:pt x="0" y="19141"/>
                    <a:pt x="0" y="45119"/>
                  </a:cubicBezTo>
                  <a:lnTo>
                    <a:pt x="0" y="45119"/>
                  </a:lnTo>
                  <a:cubicBezTo>
                    <a:pt x="0" y="69729"/>
                    <a:pt x="19141" y="90238"/>
                    <a:pt x="45119" y="90238"/>
                  </a:cubicBezTo>
                  <a:lnTo>
                    <a:pt x="341812" y="90238"/>
                  </a:lnTo>
                </a:path>
              </a:pathLst>
            </a:custGeom>
            <a:noFill/>
            <a:ln w="28575" cap="flat">
              <a:solidFill>
                <a:srgbClr val="4472C4"/>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122" name="Freeform: Shape 121">
              <a:extLst>
                <a:ext uri="{FF2B5EF4-FFF2-40B4-BE49-F238E27FC236}">
                  <a16:creationId xmlns:a16="http://schemas.microsoft.com/office/drawing/2014/main" id="{ECFA1314-9C8E-4071-A496-FE0DBD261248}"/>
                </a:ext>
              </a:extLst>
            </p:cNvPr>
            <p:cNvSpPr/>
            <p:nvPr/>
          </p:nvSpPr>
          <p:spPr>
            <a:xfrm>
              <a:off x="8017414" y="2269042"/>
              <a:ext cx="652341" cy="308572"/>
            </a:xfrm>
            <a:custGeom>
              <a:avLst/>
              <a:gdLst>
                <a:gd name="connsiteX0" fmla="*/ 579714 w 579713"/>
                <a:gd name="connsiteY0" fmla="*/ 220895 h 274217"/>
                <a:gd name="connsiteX1" fmla="*/ 559205 w 579713"/>
                <a:gd name="connsiteY1" fmla="*/ 188082 h 274217"/>
                <a:gd name="connsiteX2" fmla="*/ 298061 w 579713"/>
                <a:gd name="connsiteY2" fmla="*/ 10340 h 274217"/>
                <a:gd name="connsiteX3" fmla="*/ 235167 w 579713"/>
                <a:gd name="connsiteY3" fmla="*/ 14442 h 274217"/>
                <a:gd name="connsiteX4" fmla="*/ 235167 w 579713"/>
                <a:gd name="connsiteY4" fmla="*/ 14442 h 274217"/>
                <a:gd name="connsiteX5" fmla="*/ 239269 w 579713"/>
                <a:gd name="connsiteY5" fmla="*/ 77335 h 274217"/>
                <a:gd name="connsiteX6" fmla="*/ 365056 w 579713"/>
                <a:gd name="connsiteY6" fmla="*/ 183980 h 274217"/>
                <a:gd name="connsiteX7" fmla="*/ 45119 w 579713"/>
                <a:gd name="connsiteY7" fmla="*/ 183980 h 274217"/>
                <a:gd name="connsiteX8" fmla="*/ 0 w 579713"/>
                <a:gd name="connsiteY8" fmla="*/ 229099 h 274217"/>
                <a:gd name="connsiteX9" fmla="*/ 0 w 579713"/>
                <a:gd name="connsiteY9" fmla="*/ 229099 h 274217"/>
                <a:gd name="connsiteX10" fmla="*/ 45119 w 579713"/>
                <a:gd name="connsiteY10" fmla="*/ 274218 h 274217"/>
                <a:gd name="connsiteX11" fmla="*/ 261145 w 579713"/>
                <a:gd name="connsiteY11" fmla="*/ 274218 h 274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9713" h="274217">
                  <a:moveTo>
                    <a:pt x="579714" y="220895"/>
                  </a:moveTo>
                  <a:cubicBezTo>
                    <a:pt x="579714" y="220895"/>
                    <a:pt x="571511" y="197652"/>
                    <a:pt x="559205" y="188082"/>
                  </a:cubicBezTo>
                  <a:cubicBezTo>
                    <a:pt x="520922" y="155268"/>
                    <a:pt x="298061" y="10340"/>
                    <a:pt x="298061" y="10340"/>
                  </a:cubicBezTo>
                  <a:cubicBezTo>
                    <a:pt x="272083" y="-4700"/>
                    <a:pt x="250207" y="-3333"/>
                    <a:pt x="235167" y="14442"/>
                  </a:cubicBezTo>
                  <a:lnTo>
                    <a:pt x="235167" y="14442"/>
                  </a:lnTo>
                  <a:cubicBezTo>
                    <a:pt x="218760" y="32216"/>
                    <a:pt x="221494" y="62295"/>
                    <a:pt x="239269" y="77335"/>
                  </a:cubicBezTo>
                  <a:lnTo>
                    <a:pt x="365056" y="183980"/>
                  </a:lnTo>
                  <a:lnTo>
                    <a:pt x="45119" y="183980"/>
                  </a:lnTo>
                  <a:cubicBezTo>
                    <a:pt x="20509" y="183980"/>
                    <a:pt x="0" y="203121"/>
                    <a:pt x="0" y="229099"/>
                  </a:cubicBezTo>
                  <a:lnTo>
                    <a:pt x="0" y="229099"/>
                  </a:lnTo>
                  <a:cubicBezTo>
                    <a:pt x="0" y="253709"/>
                    <a:pt x="19141" y="274218"/>
                    <a:pt x="45119" y="274218"/>
                  </a:cubicBezTo>
                  <a:lnTo>
                    <a:pt x="261145" y="274218"/>
                  </a:lnTo>
                </a:path>
              </a:pathLst>
            </a:custGeom>
            <a:noFill/>
            <a:ln w="28575" cap="flat">
              <a:solidFill>
                <a:srgbClr val="4472C4"/>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123" name="Freeform: Shape 122">
              <a:extLst>
                <a:ext uri="{FF2B5EF4-FFF2-40B4-BE49-F238E27FC236}">
                  <a16:creationId xmlns:a16="http://schemas.microsoft.com/office/drawing/2014/main" id="{1277D311-ECCB-47CE-AAD7-B4767E72BE3E}"/>
                </a:ext>
              </a:extLst>
            </p:cNvPr>
            <p:cNvSpPr/>
            <p:nvPr/>
          </p:nvSpPr>
          <p:spPr>
            <a:xfrm>
              <a:off x="8055878" y="2780702"/>
              <a:ext cx="613878" cy="101543"/>
            </a:xfrm>
            <a:custGeom>
              <a:avLst/>
              <a:gdLst>
                <a:gd name="connsiteX0" fmla="*/ 50588 w 545532"/>
                <a:gd name="connsiteY0" fmla="*/ 0 h 90238"/>
                <a:gd name="connsiteX1" fmla="*/ 45119 w 545532"/>
                <a:gd name="connsiteY1" fmla="*/ 0 h 90238"/>
                <a:gd name="connsiteX2" fmla="*/ 0 w 545532"/>
                <a:gd name="connsiteY2" fmla="*/ 45119 h 90238"/>
                <a:gd name="connsiteX3" fmla="*/ 0 w 545532"/>
                <a:gd name="connsiteY3" fmla="*/ 45119 h 90238"/>
                <a:gd name="connsiteX4" fmla="*/ 45119 w 545532"/>
                <a:gd name="connsiteY4" fmla="*/ 90238 h 90238"/>
                <a:gd name="connsiteX5" fmla="*/ 418379 w 545532"/>
                <a:gd name="connsiteY5" fmla="*/ 90238 h 90238"/>
                <a:gd name="connsiteX6" fmla="*/ 525024 w 545532"/>
                <a:gd name="connsiteY6" fmla="*/ 56057 h 90238"/>
                <a:gd name="connsiteX7" fmla="*/ 545533 w 545532"/>
                <a:gd name="connsiteY7" fmla="*/ 42385 h 90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532" h="90238">
                  <a:moveTo>
                    <a:pt x="50588" y="0"/>
                  </a:moveTo>
                  <a:lnTo>
                    <a:pt x="45119" y="0"/>
                  </a:lnTo>
                  <a:cubicBezTo>
                    <a:pt x="20509" y="0"/>
                    <a:pt x="0" y="19141"/>
                    <a:pt x="0" y="45119"/>
                  </a:cubicBezTo>
                  <a:lnTo>
                    <a:pt x="0" y="45119"/>
                  </a:lnTo>
                  <a:cubicBezTo>
                    <a:pt x="0" y="69729"/>
                    <a:pt x="19141" y="90238"/>
                    <a:pt x="45119" y="90238"/>
                  </a:cubicBezTo>
                  <a:lnTo>
                    <a:pt x="418379" y="90238"/>
                  </a:lnTo>
                  <a:cubicBezTo>
                    <a:pt x="456662" y="90238"/>
                    <a:pt x="493577" y="79300"/>
                    <a:pt x="525024" y="56057"/>
                  </a:cubicBezTo>
                  <a:lnTo>
                    <a:pt x="545533" y="42385"/>
                  </a:lnTo>
                </a:path>
              </a:pathLst>
            </a:custGeom>
            <a:noFill/>
            <a:ln w="28575" cap="flat">
              <a:solidFill>
                <a:srgbClr val="4472C4"/>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124" name="Freeform: Shape 123">
              <a:extLst>
                <a:ext uri="{FF2B5EF4-FFF2-40B4-BE49-F238E27FC236}">
                  <a16:creationId xmlns:a16="http://schemas.microsoft.com/office/drawing/2014/main" id="{BAB0F9CB-CFE0-481A-B9A5-3B67B8E2A581}"/>
                </a:ext>
              </a:extLst>
            </p:cNvPr>
            <p:cNvSpPr/>
            <p:nvPr/>
          </p:nvSpPr>
          <p:spPr>
            <a:xfrm>
              <a:off x="7963565" y="2679158"/>
              <a:ext cx="366173" cy="101543"/>
            </a:xfrm>
            <a:custGeom>
              <a:avLst/>
              <a:gdLst>
                <a:gd name="connsiteX0" fmla="*/ 325406 w 325405"/>
                <a:gd name="connsiteY0" fmla="*/ 90238 h 90238"/>
                <a:gd name="connsiteX1" fmla="*/ 45119 w 325405"/>
                <a:gd name="connsiteY1" fmla="*/ 90238 h 90238"/>
                <a:gd name="connsiteX2" fmla="*/ 0 w 325405"/>
                <a:gd name="connsiteY2" fmla="*/ 45119 h 90238"/>
                <a:gd name="connsiteX3" fmla="*/ 0 w 325405"/>
                <a:gd name="connsiteY3" fmla="*/ 45119 h 90238"/>
                <a:gd name="connsiteX4" fmla="*/ 45119 w 325405"/>
                <a:gd name="connsiteY4" fmla="*/ 0 h 90238"/>
                <a:gd name="connsiteX5" fmla="*/ 51956 w 325405"/>
                <a:gd name="connsiteY5" fmla="*/ 0 h 90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5405" h="90238">
                  <a:moveTo>
                    <a:pt x="325406" y="90238"/>
                  </a:moveTo>
                  <a:lnTo>
                    <a:pt x="45119" y="90238"/>
                  </a:lnTo>
                  <a:cubicBezTo>
                    <a:pt x="20509" y="90238"/>
                    <a:pt x="0" y="71097"/>
                    <a:pt x="0" y="45119"/>
                  </a:cubicBezTo>
                  <a:lnTo>
                    <a:pt x="0" y="45119"/>
                  </a:lnTo>
                  <a:cubicBezTo>
                    <a:pt x="0" y="20509"/>
                    <a:pt x="19141" y="0"/>
                    <a:pt x="45119" y="0"/>
                  </a:cubicBezTo>
                  <a:lnTo>
                    <a:pt x="51956" y="0"/>
                  </a:lnTo>
                </a:path>
              </a:pathLst>
            </a:custGeom>
            <a:noFill/>
            <a:ln w="28575" cap="flat">
              <a:solidFill>
                <a:srgbClr val="4472C4"/>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125" name="Freeform: Shape 124">
              <a:extLst>
                <a:ext uri="{FF2B5EF4-FFF2-40B4-BE49-F238E27FC236}">
                  <a16:creationId xmlns:a16="http://schemas.microsoft.com/office/drawing/2014/main" id="{A8374F93-1606-4BDF-B61B-978F6D084A03}"/>
                </a:ext>
              </a:extLst>
            </p:cNvPr>
            <p:cNvSpPr/>
            <p:nvPr/>
          </p:nvSpPr>
          <p:spPr>
            <a:xfrm>
              <a:off x="7802048" y="1973000"/>
              <a:ext cx="249214" cy="196902"/>
            </a:xfrm>
            <a:custGeom>
              <a:avLst/>
              <a:gdLst>
                <a:gd name="connsiteX0" fmla="*/ 221468 w 221468"/>
                <a:gd name="connsiteY0" fmla="*/ 125760 h 174980"/>
                <a:gd name="connsiteX1" fmla="*/ 72438 w 221468"/>
                <a:gd name="connsiteY1" fmla="*/ 9544 h 174980"/>
                <a:gd name="connsiteX2" fmla="*/ 9544 w 221468"/>
                <a:gd name="connsiteY2" fmla="*/ 17748 h 174980"/>
                <a:gd name="connsiteX3" fmla="*/ 9544 w 221468"/>
                <a:gd name="connsiteY3" fmla="*/ 17748 h 174980"/>
                <a:gd name="connsiteX4" fmla="*/ 17748 w 221468"/>
                <a:gd name="connsiteY4" fmla="*/ 80641 h 174980"/>
                <a:gd name="connsiteX5" fmla="*/ 139433 w 221468"/>
                <a:gd name="connsiteY5" fmla="*/ 174981 h 174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1468" h="174980">
                  <a:moveTo>
                    <a:pt x="221468" y="125760"/>
                  </a:moveTo>
                  <a:lnTo>
                    <a:pt x="72438" y="9544"/>
                  </a:lnTo>
                  <a:cubicBezTo>
                    <a:pt x="53296" y="-5495"/>
                    <a:pt x="24584" y="-2761"/>
                    <a:pt x="9544" y="17748"/>
                  </a:cubicBezTo>
                  <a:lnTo>
                    <a:pt x="9544" y="17748"/>
                  </a:lnTo>
                  <a:cubicBezTo>
                    <a:pt x="-5495" y="36889"/>
                    <a:pt x="-2761" y="65601"/>
                    <a:pt x="17748" y="80641"/>
                  </a:cubicBezTo>
                  <a:lnTo>
                    <a:pt x="139433" y="174981"/>
                  </a:lnTo>
                </a:path>
              </a:pathLst>
            </a:custGeom>
            <a:noFill/>
            <a:ln w="28575" cap="flat">
              <a:solidFill>
                <a:srgbClr val="4472C4"/>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126" name="Freeform: Shape 125">
              <a:extLst>
                <a:ext uri="{FF2B5EF4-FFF2-40B4-BE49-F238E27FC236}">
                  <a16:creationId xmlns:a16="http://schemas.microsoft.com/office/drawing/2014/main" id="{1F14373D-6AD8-4608-B808-15F69A977366}"/>
                </a:ext>
              </a:extLst>
            </p:cNvPr>
            <p:cNvSpPr/>
            <p:nvPr/>
          </p:nvSpPr>
          <p:spPr>
            <a:xfrm>
              <a:off x="7934363" y="1946845"/>
              <a:ext cx="235367" cy="130745"/>
            </a:xfrm>
            <a:custGeom>
              <a:avLst/>
              <a:gdLst>
                <a:gd name="connsiteX0" fmla="*/ 209163 w 209162"/>
                <a:gd name="connsiteY0" fmla="*/ 116189 h 116189"/>
                <a:gd name="connsiteX1" fmla="*/ 72438 w 209162"/>
                <a:gd name="connsiteY1" fmla="*/ 9544 h 116189"/>
                <a:gd name="connsiteX2" fmla="*/ 9544 w 209162"/>
                <a:gd name="connsiteY2" fmla="*/ 17748 h 116189"/>
                <a:gd name="connsiteX3" fmla="*/ 9544 w 209162"/>
                <a:gd name="connsiteY3" fmla="*/ 17748 h 116189"/>
                <a:gd name="connsiteX4" fmla="*/ 17748 w 209162"/>
                <a:gd name="connsiteY4" fmla="*/ 82008 h 116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162" h="116189">
                  <a:moveTo>
                    <a:pt x="209163" y="116189"/>
                  </a:moveTo>
                  <a:lnTo>
                    <a:pt x="72438" y="9544"/>
                  </a:lnTo>
                  <a:cubicBezTo>
                    <a:pt x="53296" y="-5495"/>
                    <a:pt x="24584" y="-2761"/>
                    <a:pt x="9544" y="17748"/>
                  </a:cubicBezTo>
                  <a:lnTo>
                    <a:pt x="9544" y="17748"/>
                  </a:lnTo>
                  <a:cubicBezTo>
                    <a:pt x="-5495" y="38257"/>
                    <a:pt x="-2761" y="65601"/>
                    <a:pt x="17748" y="82008"/>
                  </a:cubicBezTo>
                </a:path>
              </a:pathLst>
            </a:custGeom>
            <a:noFill/>
            <a:ln w="28575" cap="flat">
              <a:solidFill>
                <a:srgbClr val="4472C4"/>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127" name="Freeform: Shape 126">
              <a:extLst>
                <a:ext uri="{FF2B5EF4-FFF2-40B4-BE49-F238E27FC236}">
                  <a16:creationId xmlns:a16="http://schemas.microsoft.com/office/drawing/2014/main" id="{8AB513E6-0A53-49A2-ACF6-4DE7A4463EB2}"/>
                </a:ext>
              </a:extLst>
            </p:cNvPr>
            <p:cNvSpPr/>
            <p:nvPr/>
          </p:nvSpPr>
          <p:spPr>
            <a:xfrm>
              <a:off x="7780509" y="2210859"/>
              <a:ext cx="156902" cy="197518"/>
            </a:xfrm>
            <a:custGeom>
              <a:avLst/>
              <a:gdLst>
                <a:gd name="connsiteX0" fmla="*/ 76540 w 139433"/>
                <a:gd name="connsiteY0" fmla="*/ 14192 h 175527"/>
                <a:gd name="connsiteX1" fmla="*/ 71071 w 139433"/>
                <a:gd name="connsiteY1" fmla="*/ 10091 h 175527"/>
                <a:gd name="connsiteX2" fmla="*/ 9544 w 139433"/>
                <a:gd name="connsiteY2" fmla="*/ 16927 h 175527"/>
                <a:gd name="connsiteX3" fmla="*/ 9544 w 139433"/>
                <a:gd name="connsiteY3" fmla="*/ 16927 h 175527"/>
                <a:gd name="connsiteX4" fmla="*/ 17748 w 139433"/>
                <a:gd name="connsiteY4" fmla="*/ 79820 h 175527"/>
                <a:gd name="connsiteX5" fmla="*/ 139433 w 139433"/>
                <a:gd name="connsiteY5" fmla="*/ 175527 h 175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9433" h="175527">
                  <a:moveTo>
                    <a:pt x="76540" y="14192"/>
                  </a:moveTo>
                  <a:lnTo>
                    <a:pt x="71071" y="10091"/>
                  </a:lnTo>
                  <a:cubicBezTo>
                    <a:pt x="51929" y="-4949"/>
                    <a:pt x="24584" y="-3582"/>
                    <a:pt x="9544" y="16927"/>
                  </a:cubicBezTo>
                  <a:lnTo>
                    <a:pt x="9544" y="16927"/>
                  </a:lnTo>
                  <a:cubicBezTo>
                    <a:pt x="-5495" y="36068"/>
                    <a:pt x="-2761" y="64780"/>
                    <a:pt x="17748" y="79820"/>
                  </a:cubicBezTo>
                  <a:lnTo>
                    <a:pt x="139433" y="175527"/>
                  </a:lnTo>
                </a:path>
              </a:pathLst>
            </a:custGeom>
            <a:noFill/>
            <a:ln w="28575" cap="flat">
              <a:solidFill>
                <a:srgbClr val="4472C4"/>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128" name="Freeform: Shape 127">
              <a:extLst>
                <a:ext uri="{FF2B5EF4-FFF2-40B4-BE49-F238E27FC236}">
                  <a16:creationId xmlns:a16="http://schemas.microsoft.com/office/drawing/2014/main" id="{9C925F18-AFC5-4C20-8B32-EE0AC834D2F6}"/>
                </a:ext>
              </a:extLst>
            </p:cNvPr>
            <p:cNvSpPr/>
            <p:nvPr/>
          </p:nvSpPr>
          <p:spPr>
            <a:xfrm>
              <a:off x="7768667" y="2075011"/>
              <a:ext cx="154895" cy="196435"/>
            </a:xfrm>
            <a:custGeom>
              <a:avLst/>
              <a:gdLst>
                <a:gd name="connsiteX0" fmla="*/ 137650 w 137650"/>
                <a:gd name="connsiteY0" fmla="*/ 174565 h 174565"/>
                <a:gd name="connsiteX1" fmla="*/ 17332 w 137650"/>
                <a:gd name="connsiteY1" fmla="*/ 80225 h 174565"/>
                <a:gd name="connsiteX2" fmla="*/ 9129 w 137650"/>
                <a:gd name="connsiteY2" fmla="*/ 17332 h 174565"/>
                <a:gd name="connsiteX3" fmla="*/ 9129 w 137650"/>
                <a:gd name="connsiteY3" fmla="*/ 17332 h 174565"/>
                <a:gd name="connsiteX4" fmla="*/ 72022 w 137650"/>
                <a:gd name="connsiteY4" fmla="*/ 9129 h 174565"/>
                <a:gd name="connsiteX5" fmla="*/ 77491 w 137650"/>
                <a:gd name="connsiteY5" fmla="*/ 13230 h 174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7650" h="174565">
                  <a:moveTo>
                    <a:pt x="137650" y="174565"/>
                  </a:moveTo>
                  <a:lnTo>
                    <a:pt x="17332" y="80225"/>
                  </a:lnTo>
                  <a:cubicBezTo>
                    <a:pt x="-1809" y="65186"/>
                    <a:pt x="-5911" y="37841"/>
                    <a:pt x="9129" y="17332"/>
                  </a:cubicBezTo>
                  <a:lnTo>
                    <a:pt x="9129" y="17332"/>
                  </a:lnTo>
                  <a:cubicBezTo>
                    <a:pt x="24168" y="-1809"/>
                    <a:pt x="51513" y="-5911"/>
                    <a:pt x="72022" y="9129"/>
                  </a:cubicBezTo>
                  <a:lnTo>
                    <a:pt x="77491" y="13230"/>
                  </a:lnTo>
                </a:path>
              </a:pathLst>
            </a:custGeom>
            <a:noFill/>
            <a:ln w="28575" cap="flat">
              <a:solidFill>
                <a:srgbClr val="4472C4"/>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129" name="Freeform: Shape 128">
              <a:extLst>
                <a:ext uri="{FF2B5EF4-FFF2-40B4-BE49-F238E27FC236}">
                  <a16:creationId xmlns:a16="http://schemas.microsoft.com/office/drawing/2014/main" id="{6D3BD3F5-315C-4686-93C8-B7A464C60E6F}"/>
                </a:ext>
              </a:extLst>
            </p:cNvPr>
            <p:cNvSpPr/>
            <p:nvPr/>
          </p:nvSpPr>
          <p:spPr>
            <a:xfrm>
              <a:off x="8186654" y="2108924"/>
              <a:ext cx="210780" cy="85596"/>
            </a:xfrm>
            <a:custGeom>
              <a:avLst/>
              <a:gdLst>
                <a:gd name="connsiteX0" fmla="*/ 0 w 187313"/>
                <a:gd name="connsiteY0" fmla="*/ 51456 h 76066"/>
                <a:gd name="connsiteX1" fmla="*/ 138092 w 187313"/>
                <a:gd name="connsiteY1" fmla="*/ 13173 h 76066"/>
                <a:gd name="connsiteX2" fmla="*/ 187313 w 187313"/>
                <a:gd name="connsiteY2" fmla="*/ 76066 h 76066"/>
              </a:gdLst>
              <a:ahLst/>
              <a:cxnLst>
                <a:cxn ang="0">
                  <a:pos x="connsiteX0" y="connsiteY0"/>
                </a:cxn>
                <a:cxn ang="0">
                  <a:pos x="connsiteX1" y="connsiteY1"/>
                </a:cxn>
                <a:cxn ang="0">
                  <a:pos x="connsiteX2" y="connsiteY2"/>
                </a:cxn>
              </a:cxnLst>
              <a:rect l="l" t="t" r="r" b="b"/>
              <a:pathLst>
                <a:path w="187313" h="76066">
                  <a:moveTo>
                    <a:pt x="0" y="51456"/>
                  </a:moveTo>
                  <a:cubicBezTo>
                    <a:pt x="27345" y="2235"/>
                    <a:pt x="87504" y="-14172"/>
                    <a:pt x="138092" y="13173"/>
                  </a:cubicBezTo>
                  <a:cubicBezTo>
                    <a:pt x="162703" y="26845"/>
                    <a:pt x="179110" y="50089"/>
                    <a:pt x="187313" y="76066"/>
                  </a:cubicBezTo>
                </a:path>
              </a:pathLst>
            </a:custGeom>
            <a:noFill/>
            <a:ln w="28575" cap="flat">
              <a:solidFill>
                <a:srgbClr val="70AD47"/>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130" name="Freeform: Shape 129">
              <a:extLst>
                <a:ext uri="{FF2B5EF4-FFF2-40B4-BE49-F238E27FC236}">
                  <a16:creationId xmlns:a16="http://schemas.microsoft.com/office/drawing/2014/main" id="{FFCD2199-32D8-414E-95A9-717A8A776EA2}"/>
                </a:ext>
              </a:extLst>
            </p:cNvPr>
            <p:cNvSpPr/>
            <p:nvPr/>
          </p:nvSpPr>
          <p:spPr>
            <a:xfrm>
              <a:off x="7981959" y="2159217"/>
              <a:ext cx="250850" cy="261467"/>
            </a:xfrm>
            <a:custGeom>
              <a:avLst/>
              <a:gdLst>
                <a:gd name="connsiteX0" fmla="*/ 35609 w 222922"/>
                <a:gd name="connsiteY0" fmla="*/ 232357 h 232357"/>
                <a:gd name="connsiteX1" fmla="*/ 42445 w 222922"/>
                <a:gd name="connsiteY1" fmla="*/ 36841 h 232357"/>
                <a:gd name="connsiteX2" fmla="*/ 222923 w 222922"/>
                <a:gd name="connsiteY2" fmla="*/ 30005 h 232357"/>
              </a:gdLst>
              <a:ahLst/>
              <a:cxnLst>
                <a:cxn ang="0">
                  <a:pos x="connsiteX0" y="connsiteY0"/>
                </a:cxn>
                <a:cxn ang="0">
                  <a:pos x="connsiteX1" y="connsiteY1"/>
                </a:cxn>
                <a:cxn ang="0">
                  <a:pos x="connsiteX2" y="connsiteY2"/>
                </a:cxn>
              </a:cxnLst>
              <a:rect l="l" t="t" r="r" b="b"/>
              <a:pathLst>
                <a:path w="222922" h="232357">
                  <a:moveTo>
                    <a:pt x="35609" y="232357"/>
                  </a:moveTo>
                  <a:cubicBezTo>
                    <a:pt x="-13612" y="176300"/>
                    <a:pt x="-12245" y="87429"/>
                    <a:pt x="42445" y="36841"/>
                  </a:cubicBezTo>
                  <a:cubicBezTo>
                    <a:pt x="91666" y="-9645"/>
                    <a:pt x="169600" y="-12379"/>
                    <a:pt x="222923" y="30005"/>
                  </a:cubicBezTo>
                </a:path>
              </a:pathLst>
            </a:custGeom>
            <a:noFill/>
            <a:ln w="28575" cap="flat">
              <a:solidFill>
                <a:srgbClr val="70AD47"/>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131" name="Freeform: Shape 130">
              <a:extLst>
                <a:ext uri="{FF2B5EF4-FFF2-40B4-BE49-F238E27FC236}">
                  <a16:creationId xmlns:a16="http://schemas.microsoft.com/office/drawing/2014/main" id="{33A36E59-2EB5-4DB7-B7A7-E2B1ACCC07CE}"/>
                </a:ext>
              </a:extLst>
            </p:cNvPr>
            <p:cNvSpPr/>
            <p:nvPr/>
          </p:nvSpPr>
          <p:spPr>
            <a:xfrm>
              <a:off x="7969719" y="2402222"/>
              <a:ext cx="132314" cy="103082"/>
            </a:xfrm>
            <a:custGeom>
              <a:avLst/>
              <a:gdLst>
                <a:gd name="connsiteX0" fmla="*/ 0 w 117583"/>
                <a:gd name="connsiteY0" fmla="*/ 91605 h 91605"/>
                <a:gd name="connsiteX1" fmla="*/ 102544 w 117583"/>
                <a:gd name="connsiteY1" fmla="*/ 0 h 91605"/>
                <a:gd name="connsiteX2" fmla="*/ 117583 w 117583"/>
                <a:gd name="connsiteY2" fmla="*/ 1367 h 91605"/>
              </a:gdLst>
              <a:ahLst/>
              <a:cxnLst>
                <a:cxn ang="0">
                  <a:pos x="connsiteX0" y="connsiteY0"/>
                </a:cxn>
                <a:cxn ang="0">
                  <a:pos x="connsiteX1" y="connsiteY1"/>
                </a:cxn>
                <a:cxn ang="0">
                  <a:pos x="connsiteX2" y="connsiteY2"/>
                </a:cxn>
              </a:cxnLst>
              <a:rect l="l" t="t" r="r" b="b"/>
              <a:pathLst>
                <a:path w="117583" h="91605">
                  <a:moveTo>
                    <a:pt x="0" y="91605"/>
                  </a:moveTo>
                  <a:cubicBezTo>
                    <a:pt x="5469" y="39650"/>
                    <a:pt x="49221" y="0"/>
                    <a:pt x="102544" y="0"/>
                  </a:cubicBezTo>
                  <a:cubicBezTo>
                    <a:pt x="108013" y="0"/>
                    <a:pt x="112115" y="0"/>
                    <a:pt x="117583" y="1367"/>
                  </a:cubicBezTo>
                </a:path>
              </a:pathLst>
            </a:custGeom>
            <a:noFill/>
            <a:ln w="28575" cap="flat">
              <a:solidFill>
                <a:srgbClr val="4472C4"/>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132" name="Freeform: Shape 131">
              <a:extLst>
                <a:ext uri="{FF2B5EF4-FFF2-40B4-BE49-F238E27FC236}">
                  <a16:creationId xmlns:a16="http://schemas.microsoft.com/office/drawing/2014/main" id="{33E9485B-D694-4F14-B05A-218270029BFF}"/>
                </a:ext>
              </a:extLst>
            </p:cNvPr>
            <p:cNvSpPr/>
            <p:nvPr/>
          </p:nvSpPr>
          <p:spPr>
            <a:xfrm>
              <a:off x="8388203" y="2140429"/>
              <a:ext cx="245924" cy="231022"/>
            </a:xfrm>
            <a:custGeom>
              <a:avLst/>
              <a:gdLst>
                <a:gd name="connsiteX0" fmla="*/ 0 w 218544"/>
                <a:gd name="connsiteY0" fmla="*/ 27560 h 205301"/>
                <a:gd name="connsiteX1" fmla="*/ 124420 w 218544"/>
                <a:gd name="connsiteY1" fmla="*/ 8418 h 205301"/>
                <a:gd name="connsiteX2" fmla="*/ 210557 w 218544"/>
                <a:gd name="connsiteY2" fmla="*/ 183425 h 205301"/>
                <a:gd name="connsiteX3" fmla="*/ 200986 w 218544"/>
                <a:gd name="connsiteY3" fmla="*/ 205301 h 205301"/>
              </a:gdLst>
              <a:ahLst/>
              <a:cxnLst>
                <a:cxn ang="0">
                  <a:pos x="connsiteX0" y="connsiteY0"/>
                </a:cxn>
                <a:cxn ang="0">
                  <a:pos x="connsiteX1" y="connsiteY1"/>
                </a:cxn>
                <a:cxn ang="0">
                  <a:pos x="connsiteX2" y="connsiteY2"/>
                </a:cxn>
                <a:cxn ang="0">
                  <a:pos x="connsiteX3" y="connsiteY3"/>
                </a:cxn>
              </a:cxnLst>
              <a:rect l="l" t="t" r="r" b="b"/>
              <a:pathLst>
                <a:path w="218544" h="205301">
                  <a:moveTo>
                    <a:pt x="0" y="27560"/>
                  </a:moveTo>
                  <a:cubicBezTo>
                    <a:pt x="35548" y="215"/>
                    <a:pt x="79300" y="-7989"/>
                    <a:pt x="124420" y="8418"/>
                  </a:cubicBezTo>
                  <a:cubicBezTo>
                    <a:pt x="196884" y="34396"/>
                    <a:pt x="236534" y="110961"/>
                    <a:pt x="210557" y="183425"/>
                  </a:cubicBezTo>
                  <a:cubicBezTo>
                    <a:pt x="209189" y="191629"/>
                    <a:pt x="205088" y="198465"/>
                    <a:pt x="200986" y="205301"/>
                  </a:cubicBezTo>
                </a:path>
              </a:pathLst>
            </a:custGeom>
            <a:noFill/>
            <a:ln w="28575" cap="flat">
              <a:solidFill>
                <a:srgbClr val="70AD47"/>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133" name="Freeform: Shape 132">
              <a:extLst>
                <a:ext uri="{FF2B5EF4-FFF2-40B4-BE49-F238E27FC236}">
                  <a16:creationId xmlns:a16="http://schemas.microsoft.com/office/drawing/2014/main" id="{C56CAE9E-EC69-4D36-9DD4-C12C9CE8D4D8}"/>
                </a:ext>
              </a:extLst>
            </p:cNvPr>
            <p:cNvSpPr/>
            <p:nvPr/>
          </p:nvSpPr>
          <p:spPr>
            <a:xfrm>
              <a:off x="8318969" y="1928353"/>
              <a:ext cx="89235" cy="89235"/>
            </a:xfrm>
            <a:custGeom>
              <a:avLst/>
              <a:gdLst>
                <a:gd name="connsiteX0" fmla="*/ 79300 w 79300"/>
                <a:gd name="connsiteY0" fmla="*/ 39650 h 79300"/>
                <a:gd name="connsiteX1" fmla="*/ 39650 w 79300"/>
                <a:gd name="connsiteY1" fmla="*/ 79300 h 79300"/>
                <a:gd name="connsiteX2" fmla="*/ 0 w 79300"/>
                <a:gd name="connsiteY2" fmla="*/ 39650 h 79300"/>
                <a:gd name="connsiteX3" fmla="*/ 39650 w 79300"/>
                <a:gd name="connsiteY3" fmla="*/ 0 h 79300"/>
                <a:gd name="connsiteX4" fmla="*/ 79300 w 79300"/>
                <a:gd name="connsiteY4" fmla="*/ 39650 h 79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300" h="79300">
                  <a:moveTo>
                    <a:pt x="79300" y="39650"/>
                  </a:moveTo>
                  <a:cubicBezTo>
                    <a:pt x="79300" y="61548"/>
                    <a:pt x="61548" y="79300"/>
                    <a:pt x="39650" y="79300"/>
                  </a:cubicBezTo>
                  <a:cubicBezTo>
                    <a:pt x="17752" y="79300"/>
                    <a:pt x="0" y="61548"/>
                    <a:pt x="0" y="39650"/>
                  </a:cubicBezTo>
                  <a:cubicBezTo>
                    <a:pt x="0" y="17752"/>
                    <a:pt x="17752" y="0"/>
                    <a:pt x="39650" y="0"/>
                  </a:cubicBezTo>
                  <a:cubicBezTo>
                    <a:pt x="61548" y="0"/>
                    <a:pt x="79300" y="17752"/>
                    <a:pt x="79300" y="39650"/>
                  </a:cubicBezTo>
                  <a:close/>
                </a:path>
              </a:pathLst>
            </a:custGeom>
            <a:noFill/>
            <a:ln w="28575" cap="flat">
              <a:solidFill>
                <a:srgbClr val="70AD47"/>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134" name="Freeform: Shape 133">
              <a:extLst>
                <a:ext uri="{FF2B5EF4-FFF2-40B4-BE49-F238E27FC236}">
                  <a16:creationId xmlns:a16="http://schemas.microsoft.com/office/drawing/2014/main" id="{39C8B4C1-ADA3-4D2D-B796-07FBD8552651}"/>
                </a:ext>
              </a:extLst>
            </p:cNvPr>
            <p:cNvSpPr/>
            <p:nvPr/>
          </p:nvSpPr>
          <p:spPr>
            <a:xfrm>
              <a:off x="8528211" y="2017588"/>
              <a:ext cx="70772" cy="70772"/>
            </a:xfrm>
            <a:custGeom>
              <a:avLst/>
              <a:gdLst>
                <a:gd name="connsiteX0" fmla="*/ 62894 w 62893"/>
                <a:gd name="connsiteY0" fmla="*/ 31447 h 62893"/>
                <a:gd name="connsiteX1" fmla="*/ 31447 w 62893"/>
                <a:gd name="connsiteY1" fmla="*/ 62893 h 62893"/>
                <a:gd name="connsiteX2" fmla="*/ 0 w 62893"/>
                <a:gd name="connsiteY2" fmla="*/ 31447 h 62893"/>
                <a:gd name="connsiteX3" fmla="*/ 31447 w 62893"/>
                <a:gd name="connsiteY3" fmla="*/ 0 h 62893"/>
                <a:gd name="connsiteX4" fmla="*/ 62894 w 62893"/>
                <a:gd name="connsiteY4" fmla="*/ 31447 h 628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893" h="62893">
                  <a:moveTo>
                    <a:pt x="62894" y="31447"/>
                  </a:moveTo>
                  <a:cubicBezTo>
                    <a:pt x="62894" y="48814"/>
                    <a:pt x="48814" y="62893"/>
                    <a:pt x="31447" y="62893"/>
                  </a:cubicBezTo>
                  <a:cubicBezTo>
                    <a:pt x="14079" y="62893"/>
                    <a:pt x="0" y="48814"/>
                    <a:pt x="0" y="31447"/>
                  </a:cubicBezTo>
                  <a:cubicBezTo>
                    <a:pt x="0" y="14079"/>
                    <a:pt x="14079" y="0"/>
                    <a:pt x="31447" y="0"/>
                  </a:cubicBezTo>
                  <a:cubicBezTo>
                    <a:pt x="48814" y="0"/>
                    <a:pt x="62894" y="14079"/>
                    <a:pt x="62894" y="31447"/>
                  </a:cubicBezTo>
                  <a:close/>
                </a:path>
              </a:pathLst>
            </a:custGeom>
            <a:noFill/>
            <a:ln w="28575" cap="flat">
              <a:solidFill>
                <a:srgbClr val="70AD47"/>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135" name="Freeform: Shape 134">
              <a:extLst>
                <a:ext uri="{FF2B5EF4-FFF2-40B4-BE49-F238E27FC236}">
                  <a16:creationId xmlns:a16="http://schemas.microsoft.com/office/drawing/2014/main" id="{502D8237-89F7-4409-862E-3FBCA5754843}"/>
                </a:ext>
              </a:extLst>
            </p:cNvPr>
            <p:cNvSpPr/>
            <p:nvPr/>
          </p:nvSpPr>
          <p:spPr>
            <a:xfrm>
              <a:off x="7768170" y="2472994"/>
              <a:ext cx="80004" cy="80003"/>
            </a:xfrm>
            <a:custGeom>
              <a:avLst/>
              <a:gdLst>
                <a:gd name="connsiteX0" fmla="*/ 71097 w 71097"/>
                <a:gd name="connsiteY0" fmla="*/ 35548 h 71096"/>
                <a:gd name="connsiteX1" fmla="*/ 35549 w 71097"/>
                <a:gd name="connsiteY1" fmla="*/ 71097 h 71096"/>
                <a:gd name="connsiteX2" fmla="*/ 0 w 71097"/>
                <a:gd name="connsiteY2" fmla="*/ 35548 h 71096"/>
                <a:gd name="connsiteX3" fmla="*/ 35549 w 71097"/>
                <a:gd name="connsiteY3" fmla="*/ 0 h 71096"/>
                <a:gd name="connsiteX4" fmla="*/ 71097 w 71097"/>
                <a:gd name="connsiteY4" fmla="*/ 35548 h 71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097" h="71096">
                  <a:moveTo>
                    <a:pt x="71097" y="35548"/>
                  </a:moveTo>
                  <a:cubicBezTo>
                    <a:pt x="71097" y="55181"/>
                    <a:pt x="55181" y="71097"/>
                    <a:pt x="35549" y="71097"/>
                  </a:cubicBezTo>
                  <a:cubicBezTo>
                    <a:pt x="15916" y="71097"/>
                    <a:pt x="0" y="55181"/>
                    <a:pt x="0" y="35548"/>
                  </a:cubicBezTo>
                  <a:cubicBezTo>
                    <a:pt x="0" y="15916"/>
                    <a:pt x="15916" y="0"/>
                    <a:pt x="35549" y="0"/>
                  </a:cubicBezTo>
                  <a:cubicBezTo>
                    <a:pt x="55181" y="0"/>
                    <a:pt x="71097" y="15916"/>
                    <a:pt x="71097" y="35548"/>
                  </a:cubicBezTo>
                  <a:close/>
                </a:path>
              </a:pathLst>
            </a:custGeom>
            <a:noFill/>
            <a:ln w="28575" cap="flat">
              <a:solidFill>
                <a:srgbClr val="70AD47"/>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grpSp>
      <p:grpSp>
        <p:nvGrpSpPr>
          <p:cNvPr id="136" name="Group 135">
            <a:extLst>
              <a:ext uri="{FF2B5EF4-FFF2-40B4-BE49-F238E27FC236}">
                <a16:creationId xmlns:a16="http://schemas.microsoft.com/office/drawing/2014/main" id="{760E1340-18FA-4DF7-A084-7B382DBD176B}"/>
              </a:ext>
            </a:extLst>
          </p:cNvPr>
          <p:cNvGrpSpPr/>
          <p:nvPr/>
        </p:nvGrpSpPr>
        <p:grpSpPr>
          <a:xfrm>
            <a:off x="5457574" y="1844444"/>
            <a:ext cx="1107309" cy="1121710"/>
            <a:chOff x="5457574" y="1844444"/>
            <a:chExt cx="1107309" cy="1121710"/>
          </a:xfrm>
        </p:grpSpPr>
        <p:sp>
          <p:nvSpPr>
            <p:cNvPr id="137" name="Freeform: Shape 136">
              <a:extLst>
                <a:ext uri="{FF2B5EF4-FFF2-40B4-BE49-F238E27FC236}">
                  <a16:creationId xmlns:a16="http://schemas.microsoft.com/office/drawing/2014/main" id="{37E542D8-77FA-41E6-B24F-B4DB236E5F4B}"/>
                </a:ext>
              </a:extLst>
            </p:cNvPr>
            <p:cNvSpPr/>
            <p:nvPr/>
          </p:nvSpPr>
          <p:spPr>
            <a:xfrm rot="19055624">
              <a:off x="6340800" y="2714367"/>
              <a:ext cx="57896" cy="161023"/>
            </a:xfrm>
            <a:custGeom>
              <a:avLst/>
              <a:gdLst>
                <a:gd name="connsiteX0" fmla="*/ 0 w 51923"/>
                <a:gd name="connsiteY0" fmla="*/ 0 h 144411"/>
                <a:gd name="connsiteX1" fmla="*/ 51923 w 51923"/>
                <a:gd name="connsiteY1" fmla="*/ 0 h 144411"/>
                <a:gd name="connsiteX2" fmla="*/ 51923 w 51923"/>
                <a:gd name="connsiteY2" fmla="*/ 144411 h 144411"/>
                <a:gd name="connsiteX3" fmla="*/ 0 w 51923"/>
                <a:gd name="connsiteY3" fmla="*/ 144411 h 144411"/>
              </a:gdLst>
              <a:ahLst/>
              <a:cxnLst>
                <a:cxn ang="0">
                  <a:pos x="connsiteX0" y="connsiteY0"/>
                </a:cxn>
                <a:cxn ang="0">
                  <a:pos x="connsiteX1" y="connsiteY1"/>
                </a:cxn>
                <a:cxn ang="0">
                  <a:pos x="connsiteX2" y="connsiteY2"/>
                </a:cxn>
                <a:cxn ang="0">
                  <a:pos x="connsiteX3" y="connsiteY3"/>
                </a:cxn>
              </a:cxnLst>
              <a:rect l="l" t="t" r="r" b="b"/>
              <a:pathLst>
                <a:path w="51923" h="144411">
                  <a:moveTo>
                    <a:pt x="0" y="0"/>
                  </a:moveTo>
                  <a:lnTo>
                    <a:pt x="51923" y="0"/>
                  </a:lnTo>
                  <a:lnTo>
                    <a:pt x="51923" y="144411"/>
                  </a:lnTo>
                  <a:lnTo>
                    <a:pt x="0" y="144411"/>
                  </a:lnTo>
                  <a:close/>
                </a:path>
              </a:pathLst>
            </a:custGeom>
            <a:noFill/>
            <a:ln w="28575" cap="flat">
              <a:solidFill>
                <a:srgbClr val="4472C4"/>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138" name="Freeform: Shape 137">
              <a:extLst>
                <a:ext uri="{FF2B5EF4-FFF2-40B4-BE49-F238E27FC236}">
                  <a16:creationId xmlns:a16="http://schemas.microsoft.com/office/drawing/2014/main" id="{A2A4B42F-1AFF-45A4-9794-9A55C6A9B073}"/>
                </a:ext>
              </a:extLst>
            </p:cNvPr>
            <p:cNvSpPr/>
            <p:nvPr/>
          </p:nvSpPr>
          <p:spPr>
            <a:xfrm>
              <a:off x="5993103" y="2394444"/>
              <a:ext cx="311185" cy="311184"/>
            </a:xfrm>
            <a:custGeom>
              <a:avLst/>
              <a:gdLst>
                <a:gd name="connsiteX0" fmla="*/ 279081 w 279081"/>
                <a:gd name="connsiteY0" fmla="*/ 139540 h 279080"/>
                <a:gd name="connsiteX1" fmla="*/ 139541 w 279081"/>
                <a:gd name="connsiteY1" fmla="*/ 279080 h 279080"/>
                <a:gd name="connsiteX2" fmla="*/ 0 w 279081"/>
                <a:gd name="connsiteY2" fmla="*/ 139540 h 279080"/>
                <a:gd name="connsiteX3" fmla="*/ 139541 w 279081"/>
                <a:gd name="connsiteY3" fmla="*/ 0 h 279080"/>
                <a:gd name="connsiteX4" fmla="*/ 279081 w 279081"/>
                <a:gd name="connsiteY4" fmla="*/ 139540 h 2790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081" h="279080">
                  <a:moveTo>
                    <a:pt x="279081" y="139540"/>
                  </a:moveTo>
                  <a:cubicBezTo>
                    <a:pt x="279081" y="216606"/>
                    <a:pt x="216607" y="279080"/>
                    <a:pt x="139541" y="279080"/>
                  </a:cubicBezTo>
                  <a:cubicBezTo>
                    <a:pt x="62475" y="279080"/>
                    <a:pt x="0" y="216606"/>
                    <a:pt x="0" y="139540"/>
                  </a:cubicBezTo>
                  <a:cubicBezTo>
                    <a:pt x="0" y="62474"/>
                    <a:pt x="62475" y="0"/>
                    <a:pt x="139541" y="0"/>
                  </a:cubicBezTo>
                  <a:cubicBezTo>
                    <a:pt x="216607" y="0"/>
                    <a:pt x="279081" y="62474"/>
                    <a:pt x="279081" y="139540"/>
                  </a:cubicBezTo>
                  <a:close/>
                </a:path>
              </a:pathLst>
            </a:custGeom>
            <a:noFill/>
            <a:ln w="28575" cap="flat">
              <a:solidFill>
                <a:srgbClr val="4472C4"/>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139" name="Freeform: Shape 138">
              <a:extLst>
                <a:ext uri="{FF2B5EF4-FFF2-40B4-BE49-F238E27FC236}">
                  <a16:creationId xmlns:a16="http://schemas.microsoft.com/office/drawing/2014/main" id="{CD11D4C1-381E-4355-9625-1CB52D436DF7}"/>
                </a:ext>
              </a:extLst>
            </p:cNvPr>
            <p:cNvSpPr/>
            <p:nvPr/>
          </p:nvSpPr>
          <p:spPr>
            <a:xfrm>
              <a:off x="6251821" y="2665826"/>
              <a:ext cx="61513" cy="70558"/>
            </a:xfrm>
            <a:custGeom>
              <a:avLst/>
              <a:gdLst>
                <a:gd name="connsiteX0" fmla="*/ 55167 w 55167"/>
                <a:gd name="connsiteY0" fmla="*/ 63280 h 63279"/>
                <a:gd name="connsiteX1" fmla="*/ 0 w 55167"/>
                <a:gd name="connsiteY1" fmla="*/ 0 h 63279"/>
              </a:gdLst>
              <a:ahLst/>
              <a:cxnLst>
                <a:cxn ang="0">
                  <a:pos x="connsiteX0" y="connsiteY0"/>
                </a:cxn>
                <a:cxn ang="0">
                  <a:pos x="connsiteX1" y="connsiteY1"/>
                </a:cxn>
              </a:cxnLst>
              <a:rect l="l" t="t" r="r" b="b"/>
              <a:pathLst>
                <a:path w="55167" h="63279">
                  <a:moveTo>
                    <a:pt x="55167" y="63280"/>
                  </a:moveTo>
                  <a:lnTo>
                    <a:pt x="0" y="0"/>
                  </a:lnTo>
                </a:path>
              </a:pathLst>
            </a:custGeom>
            <a:ln w="28575" cap="flat">
              <a:solidFill>
                <a:srgbClr val="4472C4"/>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140" name="Freeform: Shape 139">
              <a:extLst>
                <a:ext uri="{FF2B5EF4-FFF2-40B4-BE49-F238E27FC236}">
                  <a16:creationId xmlns:a16="http://schemas.microsoft.com/office/drawing/2014/main" id="{094F8143-1702-469A-9F7A-90B01F0C4BCC}"/>
                </a:ext>
              </a:extLst>
            </p:cNvPr>
            <p:cNvSpPr/>
            <p:nvPr/>
          </p:nvSpPr>
          <p:spPr>
            <a:xfrm>
              <a:off x="6394749" y="2079642"/>
              <a:ext cx="119408" cy="119407"/>
            </a:xfrm>
            <a:custGeom>
              <a:avLst/>
              <a:gdLst>
                <a:gd name="connsiteX0" fmla="*/ 107089 w 107089"/>
                <a:gd name="connsiteY0" fmla="*/ 53544 h 107088"/>
                <a:gd name="connsiteX1" fmla="*/ 53545 w 107089"/>
                <a:gd name="connsiteY1" fmla="*/ 107089 h 107088"/>
                <a:gd name="connsiteX2" fmla="*/ 0 w 107089"/>
                <a:gd name="connsiteY2" fmla="*/ 53544 h 107088"/>
                <a:gd name="connsiteX3" fmla="*/ 53545 w 107089"/>
                <a:gd name="connsiteY3" fmla="*/ 0 h 107088"/>
                <a:gd name="connsiteX4" fmla="*/ 107089 w 107089"/>
                <a:gd name="connsiteY4" fmla="*/ 53544 h 1070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089" h="107088">
                  <a:moveTo>
                    <a:pt x="107089" y="53544"/>
                  </a:moveTo>
                  <a:cubicBezTo>
                    <a:pt x="107089" y="83116"/>
                    <a:pt x="83117" y="107089"/>
                    <a:pt x="53545" y="107089"/>
                  </a:cubicBezTo>
                  <a:cubicBezTo>
                    <a:pt x="23973" y="107089"/>
                    <a:pt x="0" y="83116"/>
                    <a:pt x="0" y="53544"/>
                  </a:cubicBezTo>
                  <a:cubicBezTo>
                    <a:pt x="0" y="23973"/>
                    <a:pt x="23973" y="0"/>
                    <a:pt x="53545" y="0"/>
                  </a:cubicBezTo>
                  <a:cubicBezTo>
                    <a:pt x="83117" y="0"/>
                    <a:pt x="107089" y="23973"/>
                    <a:pt x="107089" y="53544"/>
                  </a:cubicBezTo>
                  <a:close/>
                </a:path>
              </a:pathLst>
            </a:custGeom>
            <a:noFill/>
            <a:ln w="28575" cap="flat">
              <a:solidFill>
                <a:srgbClr val="4472C4"/>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141" name="Freeform: Shape 140">
              <a:extLst>
                <a:ext uri="{FF2B5EF4-FFF2-40B4-BE49-F238E27FC236}">
                  <a16:creationId xmlns:a16="http://schemas.microsoft.com/office/drawing/2014/main" id="{894307C9-7DF3-466D-BCA0-3828CB7AC415}"/>
                </a:ext>
              </a:extLst>
            </p:cNvPr>
            <p:cNvSpPr/>
            <p:nvPr/>
          </p:nvSpPr>
          <p:spPr>
            <a:xfrm>
              <a:off x="6342282" y="2255135"/>
              <a:ext cx="222601" cy="104934"/>
            </a:xfrm>
            <a:custGeom>
              <a:avLst/>
              <a:gdLst>
                <a:gd name="connsiteX0" fmla="*/ 199576 w 199636"/>
                <a:gd name="connsiteY0" fmla="*/ 94108 h 94108"/>
                <a:gd name="connsiteX1" fmla="*/ 199576 w 199636"/>
                <a:gd name="connsiteY1" fmla="*/ 60035 h 94108"/>
                <a:gd name="connsiteX2" fmla="*/ 136296 w 199636"/>
                <a:gd name="connsiteY2" fmla="*/ 0 h 94108"/>
                <a:gd name="connsiteX3" fmla="*/ 63280 w 199636"/>
                <a:gd name="connsiteY3" fmla="*/ 0 h 94108"/>
                <a:gd name="connsiteX4" fmla="*/ 0 w 199636"/>
                <a:gd name="connsiteY4" fmla="*/ 60035 h 94108"/>
                <a:gd name="connsiteX5" fmla="*/ 0 w 199636"/>
                <a:gd name="connsiteY5" fmla="*/ 94108 h 94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636" h="94108">
                  <a:moveTo>
                    <a:pt x="199576" y="94108"/>
                  </a:moveTo>
                  <a:lnTo>
                    <a:pt x="199576" y="60035"/>
                  </a:lnTo>
                  <a:cubicBezTo>
                    <a:pt x="201198" y="25961"/>
                    <a:pt x="170369" y="0"/>
                    <a:pt x="136296" y="0"/>
                  </a:cubicBezTo>
                  <a:lnTo>
                    <a:pt x="63280" y="0"/>
                  </a:lnTo>
                  <a:cubicBezTo>
                    <a:pt x="29206" y="0"/>
                    <a:pt x="0" y="27583"/>
                    <a:pt x="0" y="60035"/>
                  </a:cubicBezTo>
                  <a:lnTo>
                    <a:pt x="0" y="94108"/>
                  </a:lnTo>
                </a:path>
              </a:pathLst>
            </a:custGeom>
            <a:noFill/>
            <a:ln w="28575" cap="flat">
              <a:solidFill>
                <a:srgbClr val="4472C4"/>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142" name="Freeform: Shape 141">
              <a:extLst>
                <a:ext uri="{FF2B5EF4-FFF2-40B4-BE49-F238E27FC236}">
                  <a16:creationId xmlns:a16="http://schemas.microsoft.com/office/drawing/2014/main" id="{4CFF7B6B-D358-48C9-BFBB-648A29824588}"/>
                </a:ext>
              </a:extLst>
            </p:cNvPr>
            <p:cNvSpPr/>
            <p:nvPr/>
          </p:nvSpPr>
          <p:spPr>
            <a:xfrm>
              <a:off x="5951491" y="1844444"/>
              <a:ext cx="119408" cy="119407"/>
            </a:xfrm>
            <a:custGeom>
              <a:avLst/>
              <a:gdLst>
                <a:gd name="connsiteX0" fmla="*/ 107089 w 107089"/>
                <a:gd name="connsiteY0" fmla="*/ 53544 h 107088"/>
                <a:gd name="connsiteX1" fmla="*/ 53545 w 107089"/>
                <a:gd name="connsiteY1" fmla="*/ 107089 h 107088"/>
                <a:gd name="connsiteX2" fmla="*/ 0 w 107089"/>
                <a:gd name="connsiteY2" fmla="*/ 53544 h 107088"/>
                <a:gd name="connsiteX3" fmla="*/ 53545 w 107089"/>
                <a:gd name="connsiteY3" fmla="*/ 0 h 107088"/>
                <a:gd name="connsiteX4" fmla="*/ 107089 w 107089"/>
                <a:gd name="connsiteY4" fmla="*/ 53544 h 1070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089" h="107088">
                  <a:moveTo>
                    <a:pt x="107089" y="53544"/>
                  </a:moveTo>
                  <a:cubicBezTo>
                    <a:pt x="107089" y="83116"/>
                    <a:pt x="83117" y="107089"/>
                    <a:pt x="53545" y="107089"/>
                  </a:cubicBezTo>
                  <a:cubicBezTo>
                    <a:pt x="23973" y="107089"/>
                    <a:pt x="0" y="83116"/>
                    <a:pt x="0" y="53544"/>
                  </a:cubicBezTo>
                  <a:cubicBezTo>
                    <a:pt x="0" y="23973"/>
                    <a:pt x="23973" y="0"/>
                    <a:pt x="53545" y="0"/>
                  </a:cubicBezTo>
                  <a:cubicBezTo>
                    <a:pt x="83117" y="0"/>
                    <a:pt x="107089" y="23973"/>
                    <a:pt x="107089" y="53544"/>
                  </a:cubicBezTo>
                  <a:close/>
                </a:path>
              </a:pathLst>
            </a:custGeom>
            <a:noFill/>
            <a:ln w="28575" cap="flat">
              <a:solidFill>
                <a:srgbClr val="4472C4"/>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143" name="Freeform: Shape 142">
              <a:extLst>
                <a:ext uri="{FF2B5EF4-FFF2-40B4-BE49-F238E27FC236}">
                  <a16:creationId xmlns:a16="http://schemas.microsoft.com/office/drawing/2014/main" id="{E1FEDC02-470F-4AD8-9CD8-D9F28C42B3BA}"/>
                </a:ext>
              </a:extLst>
            </p:cNvPr>
            <p:cNvSpPr/>
            <p:nvPr/>
          </p:nvSpPr>
          <p:spPr>
            <a:xfrm>
              <a:off x="5899023" y="2019937"/>
              <a:ext cx="222601" cy="104934"/>
            </a:xfrm>
            <a:custGeom>
              <a:avLst/>
              <a:gdLst>
                <a:gd name="connsiteX0" fmla="*/ 199576 w 199636"/>
                <a:gd name="connsiteY0" fmla="*/ 94108 h 94108"/>
                <a:gd name="connsiteX1" fmla="*/ 199576 w 199636"/>
                <a:gd name="connsiteY1" fmla="*/ 60035 h 94108"/>
                <a:gd name="connsiteX2" fmla="*/ 136296 w 199636"/>
                <a:gd name="connsiteY2" fmla="*/ 0 h 94108"/>
                <a:gd name="connsiteX3" fmla="*/ 63280 w 199636"/>
                <a:gd name="connsiteY3" fmla="*/ 0 h 94108"/>
                <a:gd name="connsiteX4" fmla="*/ 0 w 199636"/>
                <a:gd name="connsiteY4" fmla="*/ 60035 h 94108"/>
                <a:gd name="connsiteX5" fmla="*/ 0 w 199636"/>
                <a:gd name="connsiteY5" fmla="*/ 94108 h 94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636" h="94108">
                  <a:moveTo>
                    <a:pt x="199576" y="94108"/>
                  </a:moveTo>
                  <a:lnTo>
                    <a:pt x="199576" y="60035"/>
                  </a:lnTo>
                  <a:cubicBezTo>
                    <a:pt x="201198" y="25961"/>
                    <a:pt x="170369" y="0"/>
                    <a:pt x="136296" y="0"/>
                  </a:cubicBezTo>
                  <a:lnTo>
                    <a:pt x="63280" y="0"/>
                  </a:lnTo>
                  <a:cubicBezTo>
                    <a:pt x="29206" y="0"/>
                    <a:pt x="0" y="27584"/>
                    <a:pt x="0" y="60035"/>
                  </a:cubicBezTo>
                  <a:lnTo>
                    <a:pt x="0" y="94108"/>
                  </a:lnTo>
                </a:path>
              </a:pathLst>
            </a:custGeom>
            <a:noFill/>
            <a:ln w="28575" cap="flat">
              <a:solidFill>
                <a:srgbClr val="4472C4"/>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144" name="Freeform: Shape 143">
              <a:extLst>
                <a:ext uri="{FF2B5EF4-FFF2-40B4-BE49-F238E27FC236}">
                  <a16:creationId xmlns:a16="http://schemas.microsoft.com/office/drawing/2014/main" id="{3FFDFB64-25FA-428A-97AD-F6A6CB60257A}"/>
                </a:ext>
              </a:extLst>
            </p:cNvPr>
            <p:cNvSpPr/>
            <p:nvPr/>
          </p:nvSpPr>
          <p:spPr>
            <a:xfrm>
              <a:off x="5508232" y="2177339"/>
              <a:ext cx="119408" cy="119407"/>
            </a:xfrm>
            <a:custGeom>
              <a:avLst/>
              <a:gdLst>
                <a:gd name="connsiteX0" fmla="*/ 107089 w 107089"/>
                <a:gd name="connsiteY0" fmla="*/ 53544 h 107088"/>
                <a:gd name="connsiteX1" fmla="*/ 53545 w 107089"/>
                <a:gd name="connsiteY1" fmla="*/ 107089 h 107088"/>
                <a:gd name="connsiteX2" fmla="*/ 0 w 107089"/>
                <a:gd name="connsiteY2" fmla="*/ 53544 h 107088"/>
                <a:gd name="connsiteX3" fmla="*/ 53545 w 107089"/>
                <a:gd name="connsiteY3" fmla="*/ 0 h 107088"/>
                <a:gd name="connsiteX4" fmla="*/ 107089 w 107089"/>
                <a:gd name="connsiteY4" fmla="*/ 53544 h 1070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089" h="107088">
                  <a:moveTo>
                    <a:pt x="107089" y="53544"/>
                  </a:moveTo>
                  <a:cubicBezTo>
                    <a:pt x="107089" y="83116"/>
                    <a:pt x="83117" y="107089"/>
                    <a:pt x="53545" y="107089"/>
                  </a:cubicBezTo>
                  <a:cubicBezTo>
                    <a:pt x="23973" y="107089"/>
                    <a:pt x="0" y="83116"/>
                    <a:pt x="0" y="53544"/>
                  </a:cubicBezTo>
                  <a:cubicBezTo>
                    <a:pt x="0" y="23973"/>
                    <a:pt x="23973" y="0"/>
                    <a:pt x="53545" y="0"/>
                  </a:cubicBezTo>
                  <a:cubicBezTo>
                    <a:pt x="83117" y="0"/>
                    <a:pt x="107089" y="23973"/>
                    <a:pt x="107089" y="53544"/>
                  </a:cubicBezTo>
                  <a:close/>
                </a:path>
              </a:pathLst>
            </a:custGeom>
            <a:noFill/>
            <a:ln w="28575" cap="flat">
              <a:solidFill>
                <a:srgbClr val="4472C4"/>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145" name="Freeform: Shape 144">
              <a:extLst>
                <a:ext uri="{FF2B5EF4-FFF2-40B4-BE49-F238E27FC236}">
                  <a16:creationId xmlns:a16="http://schemas.microsoft.com/office/drawing/2014/main" id="{8F7158CC-648D-40FB-B198-05C0B67E6F94}"/>
                </a:ext>
              </a:extLst>
            </p:cNvPr>
            <p:cNvSpPr/>
            <p:nvPr/>
          </p:nvSpPr>
          <p:spPr>
            <a:xfrm>
              <a:off x="5457574" y="2352832"/>
              <a:ext cx="224411" cy="104934"/>
            </a:xfrm>
            <a:custGeom>
              <a:avLst/>
              <a:gdLst>
                <a:gd name="connsiteX0" fmla="*/ 201198 w 201259"/>
                <a:gd name="connsiteY0" fmla="*/ 94108 h 94108"/>
                <a:gd name="connsiteX1" fmla="*/ 201198 w 201259"/>
                <a:gd name="connsiteY1" fmla="*/ 60035 h 94108"/>
                <a:gd name="connsiteX2" fmla="*/ 137918 w 201259"/>
                <a:gd name="connsiteY2" fmla="*/ 0 h 94108"/>
                <a:gd name="connsiteX3" fmla="*/ 63280 w 201259"/>
                <a:gd name="connsiteY3" fmla="*/ 0 h 94108"/>
                <a:gd name="connsiteX4" fmla="*/ 0 w 201259"/>
                <a:gd name="connsiteY4" fmla="*/ 60035 h 94108"/>
                <a:gd name="connsiteX5" fmla="*/ 0 w 201259"/>
                <a:gd name="connsiteY5" fmla="*/ 94108 h 94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259" h="94108">
                  <a:moveTo>
                    <a:pt x="201198" y="94108"/>
                  </a:moveTo>
                  <a:lnTo>
                    <a:pt x="201198" y="60035"/>
                  </a:lnTo>
                  <a:cubicBezTo>
                    <a:pt x="202821" y="25961"/>
                    <a:pt x="171992" y="0"/>
                    <a:pt x="137918" y="0"/>
                  </a:cubicBezTo>
                  <a:lnTo>
                    <a:pt x="63280" y="0"/>
                  </a:lnTo>
                  <a:cubicBezTo>
                    <a:pt x="29206" y="0"/>
                    <a:pt x="0" y="27583"/>
                    <a:pt x="0" y="60035"/>
                  </a:cubicBezTo>
                  <a:lnTo>
                    <a:pt x="0" y="94108"/>
                  </a:lnTo>
                </a:path>
              </a:pathLst>
            </a:custGeom>
            <a:noFill/>
            <a:ln w="28575" cap="flat">
              <a:solidFill>
                <a:srgbClr val="4472C4"/>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146" name="Freeform: Shape 145">
              <a:extLst>
                <a:ext uri="{FF2B5EF4-FFF2-40B4-BE49-F238E27FC236}">
                  <a16:creationId xmlns:a16="http://schemas.microsoft.com/office/drawing/2014/main" id="{37540C37-F0AF-402A-9E20-8AB6B1B0529C}"/>
                </a:ext>
              </a:extLst>
            </p:cNvPr>
            <p:cNvSpPr/>
            <p:nvPr/>
          </p:nvSpPr>
          <p:spPr>
            <a:xfrm>
              <a:off x="5835701" y="2685727"/>
              <a:ext cx="119408" cy="119407"/>
            </a:xfrm>
            <a:custGeom>
              <a:avLst/>
              <a:gdLst>
                <a:gd name="connsiteX0" fmla="*/ 107089 w 107089"/>
                <a:gd name="connsiteY0" fmla="*/ 53544 h 107088"/>
                <a:gd name="connsiteX1" fmla="*/ 53545 w 107089"/>
                <a:gd name="connsiteY1" fmla="*/ 107089 h 107088"/>
                <a:gd name="connsiteX2" fmla="*/ 0 w 107089"/>
                <a:gd name="connsiteY2" fmla="*/ 53544 h 107088"/>
                <a:gd name="connsiteX3" fmla="*/ 53545 w 107089"/>
                <a:gd name="connsiteY3" fmla="*/ 0 h 107088"/>
                <a:gd name="connsiteX4" fmla="*/ 107089 w 107089"/>
                <a:gd name="connsiteY4" fmla="*/ 53544 h 1070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089" h="107088">
                  <a:moveTo>
                    <a:pt x="107089" y="53544"/>
                  </a:moveTo>
                  <a:cubicBezTo>
                    <a:pt x="107089" y="83116"/>
                    <a:pt x="83117" y="107089"/>
                    <a:pt x="53545" y="107089"/>
                  </a:cubicBezTo>
                  <a:cubicBezTo>
                    <a:pt x="23973" y="107089"/>
                    <a:pt x="0" y="83116"/>
                    <a:pt x="0" y="53544"/>
                  </a:cubicBezTo>
                  <a:cubicBezTo>
                    <a:pt x="0" y="23973"/>
                    <a:pt x="23973" y="0"/>
                    <a:pt x="53545" y="0"/>
                  </a:cubicBezTo>
                  <a:cubicBezTo>
                    <a:pt x="83117" y="0"/>
                    <a:pt x="107089" y="23973"/>
                    <a:pt x="107089" y="53544"/>
                  </a:cubicBezTo>
                  <a:close/>
                </a:path>
              </a:pathLst>
            </a:custGeom>
            <a:noFill/>
            <a:ln w="28575" cap="flat">
              <a:solidFill>
                <a:srgbClr val="4472C4"/>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147" name="Freeform: Shape 146">
              <a:extLst>
                <a:ext uri="{FF2B5EF4-FFF2-40B4-BE49-F238E27FC236}">
                  <a16:creationId xmlns:a16="http://schemas.microsoft.com/office/drawing/2014/main" id="{0298635C-CEDA-4146-8DA6-34D6DE917B9D}"/>
                </a:ext>
              </a:extLst>
            </p:cNvPr>
            <p:cNvSpPr/>
            <p:nvPr/>
          </p:nvSpPr>
          <p:spPr>
            <a:xfrm>
              <a:off x="5785043" y="2861220"/>
              <a:ext cx="222601" cy="104934"/>
            </a:xfrm>
            <a:custGeom>
              <a:avLst/>
              <a:gdLst>
                <a:gd name="connsiteX0" fmla="*/ 199576 w 199636"/>
                <a:gd name="connsiteY0" fmla="*/ 94108 h 94108"/>
                <a:gd name="connsiteX1" fmla="*/ 199576 w 199636"/>
                <a:gd name="connsiteY1" fmla="*/ 60035 h 94108"/>
                <a:gd name="connsiteX2" fmla="*/ 136296 w 199636"/>
                <a:gd name="connsiteY2" fmla="*/ 0 h 94108"/>
                <a:gd name="connsiteX3" fmla="*/ 63280 w 199636"/>
                <a:gd name="connsiteY3" fmla="*/ 0 h 94108"/>
                <a:gd name="connsiteX4" fmla="*/ 0 w 199636"/>
                <a:gd name="connsiteY4" fmla="*/ 60035 h 94108"/>
                <a:gd name="connsiteX5" fmla="*/ 0 w 199636"/>
                <a:gd name="connsiteY5" fmla="*/ 94108 h 94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636" h="94108">
                  <a:moveTo>
                    <a:pt x="199576" y="94108"/>
                  </a:moveTo>
                  <a:lnTo>
                    <a:pt x="199576" y="60035"/>
                  </a:lnTo>
                  <a:cubicBezTo>
                    <a:pt x="201198" y="25961"/>
                    <a:pt x="170369" y="0"/>
                    <a:pt x="136296" y="0"/>
                  </a:cubicBezTo>
                  <a:lnTo>
                    <a:pt x="63280" y="0"/>
                  </a:lnTo>
                  <a:cubicBezTo>
                    <a:pt x="29206" y="0"/>
                    <a:pt x="0" y="27584"/>
                    <a:pt x="0" y="60035"/>
                  </a:cubicBezTo>
                  <a:lnTo>
                    <a:pt x="0" y="94108"/>
                  </a:lnTo>
                </a:path>
              </a:pathLst>
            </a:custGeom>
            <a:noFill/>
            <a:ln w="28575" cap="flat">
              <a:solidFill>
                <a:srgbClr val="4472C4"/>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148" name="Freeform: Shape 147">
              <a:extLst>
                <a:ext uri="{FF2B5EF4-FFF2-40B4-BE49-F238E27FC236}">
                  <a16:creationId xmlns:a16="http://schemas.microsoft.com/office/drawing/2014/main" id="{D3003A7E-A0A4-4EAC-8904-991938C45E9E}"/>
                </a:ext>
              </a:extLst>
            </p:cNvPr>
            <p:cNvSpPr/>
            <p:nvPr/>
          </p:nvSpPr>
          <p:spPr>
            <a:xfrm>
              <a:off x="5690963" y="2005464"/>
              <a:ext cx="92269" cy="92269"/>
            </a:xfrm>
            <a:custGeom>
              <a:avLst/>
              <a:gdLst>
                <a:gd name="connsiteX0" fmla="*/ 0 w 82750"/>
                <a:gd name="connsiteY0" fmla="*/ 82751 h 82750"/>
                <a:gd name="connsiteX1" fmla="*/ 82751 w 82750"/>
                <a:gd name="connsiteY1" fmla="*/ 0 h 82750"/>
              </a:gdLst>
              <a:ahLst/>
              <a:cxnLst>
                <a:cxn ang="0">
                  <a:pos x="connsiteX0" y="connsiteY0"/>
                </a:cxn>
                <a:cxn ang="0">
                  <a:pos x="connsiteX1" y="connsiteY1"/>
                </a:cxn>
              </a:cxnLst>
              <a:rect l="l" t="t" r="r" b="b"/>
              <a:pathLst>
                <a:path w="82750" h="82750">
                  <a:moveTo>
                    <a:pt x="0" y="82751"/>
                  </a:moveTo>
                  <a:lnTo>
                    <a:pt x="82751" y="0"/>
                  </a:lnTo>
                </a:path>
              </a:pathLst>
            </a:custGeom>
            <a:ln w="28575" cap="flat">
              <a:solidFill>
                <a:srgbClr val="70AD47"/>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149" name="Freeform: Shape 148">
              <a:extLst>
                <a:ext uri="{FF2B5EF4-FFF2-40B4-BE49-F238E27FC236}">
                  <a16:creationId xmlns:a16="http://schemas.microsoft.com/office/drawing/2014/main" id="{6D18896F-38DF-4045-B0B9-C83024302EA1}"/>
                </a:ext>
              </a:extLst>
            </p:cNvPr>
            <p:cNvSpPr/>
            <p:nvPr/>
          </p:nvSpPr>
          <p:spPr>
            <a:xfrm>
              <a:off x="5730767" y="2005464"/>
              <a:ext cx="52467" cy="52467"/>
            </a:xfrm>
            <a:custGeom>
              <a:avLst/>
              <a:gdLst>
                <a:gd name="connsiteX0" fmla="*/ 0 w 47054"/>
                <a:gd name="connsiteY0" fmla="*/ 0 h 47054"/>
                <a:gd name="connsiteX1" fmla="*/ 47054 w 47054"/>
                <a:gd name="connsiteY1" fmla="*/ 0 h 47054"/>
                <a:gd name="connsiteX2" fmla="*/ 47054 w 47054"/>
                <a:gd name="connsiteY2" fmla="*/ 47054 h 47054"/>
              </a:gdLst>
              <a:ahLst/>
              <a:cxnLst>
                <a:cxn ang="0">
                  <a:pos x="connsiteX0" y="connsiteY0"/>
                </a:cxn>
                <a:cxn ang="0">
                  <a:pos x="connsiteX1" y="connsiteY1"/>
                </a:cxn>
                <a:cxn ang="0">
                  <a:pos x="connsiteX2" y="connsiteY2"/>
                </a:cxn>
              </a:cxnLst>
              <a:rect l="l" t="t" r="r" b="b"/>
              <a:pathLst>
                <a:path w="47054" h="47054">
                  <a:moveTo>
                    <a:pt x="0" y="0"/>
                  </a:moveTo>
                  <a:lnTo>
                    <a:pt x="47054" y="0"/>
                  </a:lnTo>
                  <a:lnTo>
                    <a:pt x="47054" y="47054"/>
                  </a:lnTo>
                </a:path>
              </a:pathLst>
            </a:custGeom>
            <a:noFill/>
            <a:ln w="28575" cap="flat">
              <a:solidFill>
                <a:srgbClr val="70AD47"/>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150" name="Freeform: Shape 149">
              <a:extLst>
                <a:ext uri="{FF2B5EF4-FFF2-40B4-BE49-F238E27FC236}">
                  <a16:creationId xmlns:a16="http://schemas.microsoft.com/office/drawing/2014/main" id="{38E6A986-FEDA-4E2A-9257-2A623F791657}"/>
                </a:ext>
              </a:extLst>
            </p:cNvPr>
            <p:cNvSpPr/>
            <p:nvPr/>
          </p:nvSpPr>
          <p:spPr>
            <a:xfrm>
              <a:off x="5631260" y="2597076"/>
              <a:ext cx="94079" cy="94079"/>
            </a:xfrm>
            <a:custGeom>
              <a:avLst/>
              <a:gdLst>
                <a:gd name="connsiteX0" fmla="*/ 84373 w 84373"/>
                <a:gd name="connsiteY0" fmla="*/ 84373 h 84373"/>
                <a:gd name="connsiteX1" fmla="*/ 0 w 84373"/>
                <a:gd name="connsiteY1" fmla="*/ 0 h 84373"/>
              </a:gdLst>
              <a:ahLst/>
              <a:cxnLst>
                <a:cxn ang="0">
                  <a:pos x="connsiteX0" y="connsiteY0"/>
                </a:cxn>
                <a:cxn ang="0">
                  <a:pos x="connsiteX1" y="connsiteY1"/>
                </a:cxn>
              </a:cxnLst>
              <a:rect l="l" t="t" r="r" b="b"/>
              <a:pathLst>
                <a:path w="84373" h="84373">
                  <a:moveTo>
                    <a:pt x="84373" y="84373"/>
                  </a:moveTo>
                  <a:lnTo>
                    <a:pt x="0" y="0"/>
                  </a:lnTo>
                </a:path>
              </a:pathLst>
            </a:custGeom>
            <a:ln w="28575" cap="flat">
              <a:solidFill>
                <a:srgbClr val="70AD47"/>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151" name="Freeform: Shape 150">
              <a:extLst>
                <a:ext uri="{FF2B5EF4-FFF2-40B4-BE49-F238E27FC236}">
                  <a16:creationId xmlns:a16="http://schemas.microsoft.com/office/drawing/2014/main" id="{4DB2FEDB-A561-4BC6-BA80-6928ACFEB671}"/>
                </a:ext>
              </a:extLst>
            </p:cNvPr>
            <p:cNvSpPr/>
            <p:nvPr/>
          </p:nvSpPr>
          <p:spPr>
            <a:xfrm>
              <a:off x="5631260" y="2597076"/>
              <a:ext cx="54275" cy="54275"/>
            </a:xfrm>
            <a:custGeom>
              <a:avLst/>
              <a:gdLst>
                <a:gd name="connsiteX0" fmla="*/ 0 w 48676"/>
                <a:gd name="connsiteY0" fmla="*/ 48677 h 48676"/>
                <a:gd name="connsiteX1" fmla="*/ 0 w 48676"/>
                <a:gd name="connsiteY1" fmla="*/ 0 h 48676"/>
                <a:gd name="connsiteX2" fmla="*/ 48677 w 48676"/>
                <a:gd name="connsiteY2" fmla="*/ 0 h 48676"/>
              </a:gdLst>
              <a:ahLst/>
              <a:cxnLst>
                <a:cxn ang="0">
                  <a:pos x="connsiteX0" y="connsiteY0"/>
                </a:cxn>
                <a:cxn ang="0">
                  <a:pos x="connsiteX1" y="connsiteY1"/>
                </a:cxn>
                <a:cxn ang="0">
                  <a:pos x="connsiteX2" y="connsiteY2"/>
                </a:cxn>
              </a:cxnLst>
              <a:rect l="l" t="t" r="r" b="b"/>
              <a:pathLst>
                <a:path w="48676" h="48676">
                  <a:moveTo>
                    <a:pt x="0" y="48677"/>
                  </a:moveTo>
                  <a:lnTo>
                    <a:pt x="0" y="0"/>
                  </a:lnTo>
                  <a:lnTo>
                    <a:pt x="48677" y="0"/>
                  </a:lnTo>
                </a:path>
              </a:pathLst>
            </a:custGeom>
            <a:noFill/>
            <a:ln w="28575" cap="flat">
              <a:solidFill>
                <a:srgbClr val="70AD47"/>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152" name="Freeform: Shape 151">
              <a:extLst>
                <a:ext uri="{FF2B5EF4-FFF2-40B4-BE49-F238E27FC236}">
                  <a16:creationId xmlns:a16="http://schemas.microsoft.com/office/drawing/2014/main" id="{F06298E3-EB2B-4900-8F37-5CEC8836348A}"/>
                </a:ext>
              </a:extLst>
            </p:cNvPr>
            <p:cNvSpPr/>
            <p:nvPr/>
          </p:nvSpPr>
          <p:spPr>
            <a:xfrm>
              <a:off x="6099846" y="2502997"/>
              <a:ext cx="95887" cy="94079"/>
            </a:xfrm>
            <a:custGeom>
              <a:avLst/>
              <a:gdLst>
                <a:gd name="connsiteX0" fmla="*/ 0 w 85995"/>
                <a:gd name="connsiteY0" fmla="*/ 84373 h 84373"/>
                <a:gd name="connsiteX1" fmla="*/ 85996 w 85995"/>
                <a:gd name="connsiteY1" fmla="*/ 0 h 84373"/>
              </a:gdLst>
              <a:ahLst/>
              <a:cxnLst>
                <a:cxn ang="0">
                  <a:pos x="connsiteX0" y="connsiteY0"/>
                </a:cxn>
                <a:cxn ang="0">
                  <a:pos x="connsiteX1" y="connsiteY1"/>
                </a:cxn>
              </a:cxnLst>
              <a:rect l="l" t="t" r="r" b="b"/>
              <a:pathLst>
                <a:path w="85995" h="84373">
                  <a:moveTo>
                    <a:pt x="0" y="84373"/>
                  </a:moveTo>
                  <a:lnTo>
                    <a:pt x="85996" y="0"/>
                  </a:lnTo>
                </a:path>
              </a:pathLst>
            </a:custGeom>
            <a:ln w="28575" cap="flat">
              <a:solidFill>
                <a:srgbClr val="70AD47"/>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153" name="Freeform: Shape 152">
              <a:extLst>
                <a:ext uri="{FF2B5EF4-FFF2-40B4-BE49-F238E27FC236}">
                  <a16:creationId xmlns:a16="http://schemas.microsoft.com/office/drawing/2014/main" id="{251379D1-9181-4E5E-AB33-E7397561B84B}"/>
                </a:ext>
              </a:extLst>
            </p:cNvPr>
            <p:cNvSpPr/>
            <p:nvPr/>
          </p:nvSpPr>
          <p:spPr>
            <a:xfrm>
              <a:off x="6141458" y="2502997"/>
              <a:ext cx="54275" cy="54275"/>
            </a:xfrm>
            <a:custGeom>
              <a:avLst/>
              <a:gdLst>
                <a:gd name="connsiteX0" fmla="*/ 0 w 48676"/>
                <a:gd name="connsiteY0" fmla="*/ 0 h 48676"/>
                <a:gd name="connsiteX1" fmla="*/ 48677 w 48676"/>
                <a:gd name="connsiteY1" fmla="*/ 0 h 48676"/>
                <a:gd name="connsiteX2" fmla="*/ 48677 w 48676"/>
                <a:gd name="connsiteY2" fmla="*/ 48677 h 48676"/>
              </a:gdLst>
              <a:ahLst/>
              <a:cxnLst>
                <a:cxn ang="0">
                  <a:pos x="connsiteX0" y="connsiteY0"/>
                </a:cxn>
                <a:cxn ang="0">
                  <a:pos x="connsiteX1" y="connsiteY1"/>
                </a:cxn>
                <a:cxn ang="0">
                  <a:pos x="connsiteX2" y="connsiteY2"/>
                </a:cxn>
              </a:cxnLst>
              <a:rect l="l" t="t" r="r" b="b"/>
              <a:pathLst>
                <a:path w="48676" h="48676">
                  <a:moveTo>
                    <a:pt x="0" y="0"/>
                  </a:moveTo>
                  <a:lnTo>
                    <a:pt x="48677" y="0"/>
                  </a:lnTo>
                  <a:lnTo>
                    <a:pt x="48677" y="48677"/>
                  </a:lnTo>
                </a:path>
              </a:pathLst>
            </a:custGeom>
            <a:noFill/>
            <a:ln w="28575" cap="flat">
              <a:solidFill>
                <a:srgbClr val="70AD47"/>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grpSp>
      <p:grpSp>
        <p:nvGrpSpPr>
          <p:cNvPr id="154" name="Group 153">
            <a:extLst>
              <a:ext uri="{FF2B5EF4-FFF2-40B4-BE49-F238E27FC236}">
                <a16:creationId xmlns:a16="http://schemas.microsoft.com/office/drawing/2014/main" id="{34F4818D-6F94-4CCF-BFB4-557DCEAC2A0D}"/>
              </a:ext>
            </a:extLst>
          </p:cNvPr>
          <p:cNvGrpSpPr/>
          <p:nvPr/>
        </p:nvGrpSpPr>
        <p:grpSpPr>
          <a:xfrm>
            <a:off x="3201889" y="1894908"/>
            <a:ext cx="1203207" cy="1020783"/>
            <a:chOff x="3201889" y="1894908"/>
            <a:chExt cx="1203207" cy="1020783"/>
          </a:xfrm>
        </p:grpSpPr>
        <p:sp>
          <p:nvSpPr>
            <p:cNvPr id="155" name="Freeform: Shape 154">
              <a:extLst>
                <a:ext uri="{FF2B5EF4-FFF2-40B4-BE49-F238E27FC236}">
                  <a16:creationId xmlns:a16="http://schemas.microsoft.com/office/drawing/2014/main" id="{00A0593E-5C50-42B0-8C39-C25954DB3AC5}"/>
                </a:ext>
              </a:extLst>
            </p:cNvPr>
            <p:cNvSpPr/>
            <p:nvPr/>
          </p:nvSpPr>
          <p:spPr>
            <a:xfrm>
              <a:off x="3657943" y="1995822"/>
              <a:ext cx="304683" cy="19406"/>
            </a:xfrm>
            <a:custGeom>
              <a:avLst/>
              <a:gdLst>
                <a:gd name="connsiteX0" fmla="*/ 0 w 274896"/>
                <a:gd name="connsiteY0" fmla="*/ 0 h 17509"/>
                <a:gd name="connsiteX1" fmla="*/ 274897 w 274896"/>
                <a:gd name="connsiteY1" fmla="*/ 0 h 17509"/>
              </a:gdLst>
              <a:ahLst/>
              <a:cxnLst>
                <a:cxn ang="0">
                  <a:pos x="connsiteX0" y="connsiteY0"/>
                </a:cxn>
                <a:cxn ang="0">
                  <a:pos x="connsiteX1" y="connsiteY1"/>
                </a:cxn>
              </a:cxnLst>
              <a:rect l="l" t="t" r="r" b="b"/>
              <a:pathLst>
                <a:path w="274896" h="17509">
                  <a:moveTo>
                    <a:pt x="0" y="0"/>
                  </a:moveTo>
                  <a:lnTo>
                    <a:pt x="274897" y="0"/>
                  </a:lnTo>
                </a:path>
              </a:pathLst>
            </a:custGeom>
            <a:ln w="28575" cap="flat">
              <a:solidFill>
                <a:srgbClr val="70AD47"/>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156" name="Freeform: Shape 155">
              <a:extLst>
                <a:ext uri="{FF2B5EF4-FFF2-40B4-BE49-F238E27FC236}">
                  <a16:creationId xmlns:a16="http://schemas.microsoft.com/office/drawing/2014/main" id="{86B9AA0C-5A9A-4BBE-8601-BEC18068D835}"/>
                </a:ext>
              </a:extLst>
            </p:cNvPr>
            <p:cNvSpPr/>
            <p:nvPr/>
          </p:nvSpPr>
          <p:spPr>
            <a:xfrm>
              <a:off x="3962627" y="1953128"/>
              <a:ext cx="19406" cy="85388"/>
            </a:xfrm>
            <a:custGeom>
              <a:avLst/>
              <a:gdLst>
                <a:gd name="connsiteX0" fmla="*/ 0 w 17509"/>
                <a:gd name="connsiteY0" fmla="*/ 0 h 77040"/>
                <a:gd name="connsiteX1" fmla="*/ 0 w 17509"/>
                <a:gd name="connsiteY1" fmla="*/ 77041 h 77040"/>
              </a:gdLst>
              <a:ahLst/>
              <a:cxnLst>
                <a:cxn ang="0">
                  <a:pos x="connsiteX0" y="connsiteY0"/>
                </a:cxn>
                <a:cxn ang="0">
                  <a:pos x="connsiteX1" y="connsiteY1"/>
                </a:cxn>
              </a:cxnLst>
              <a:rect l="l" t="t" r="r" b="b"/>
              <a:pathLst>
                <a:path w="17509" h="77040">
                  <a:moveTo>
                    <a:pt x="0" y="0"/>
                  </a:moveTo>
                  <a:lnTo>
                    <a:pt x="0" y="77041"/>
                  </a:lnTo>
                </a:path>
              </a:pathLst>
            </a:custGeom>
            <a:ln w="28575" cap="flat">
              <a:solidFill>
                <a:srgbClr val="70AD47"/>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157" name="Freeform: Shape 156">
              <a:extLst>
                <a:ext uri="{FF2B5EF4-FFF2-40B4-BE49-F238E27FC236}">
                  <a16:creationId xmlns:a16="http://schemas.microsoft.com/office/drawing/2014/main" id="{8F463C3D-ACC3-46DC-8140-B85501DF876B}"/>
                </a:ext>
              </a:extLst>
            </p:cNvPr>
            <p:cNvSpPr/>
            <p:nvPr/>
          </p:nvSpPr>
          <p:spPr>
            <a:xfrm>
              <a:off x="3657943" y="1953128"/>
              <a:ext cx="19406" cy="85388"/>
            </a:xfrm>
            <a:custGeom>
              <a:avLst/>
              <a:gdLst>
                <a:gd name="connsiteX0" fmla="*/ 0 w 17509"/>
                <a:gd name="connsiteY0" fmla="*/ 0 h 77040"/>
                <a:gd name="connsiteX1" fmla="*/ 0 w 17509"/>
                <a:gd name="connsiteY1" fmla="*/ 77041 h 77040"/>
              </a:gdLst>
              <a:ahLst/>
              <a:cxnLst>
                <a:cxn ang="0">
                  <a:pos x="connsiteX0" y="connsiteY0"/>
                </a:cxn>
                <a:cxn ang="0">
                  <a:pos x="connsiteX1" y="connsiteY1"/>
                </a:cxn>
              </a:cxnLst>
              <a:rect l="l" t="t" r="r" b="b"/>
              <a:pathLst>
                <a:path w="17509" h="77040">
                  <a:moveTo>
                    <a:pt x="0" y="0"/>
                  </a:moveTo>
                  <a:lnTo>
                    <a:pt x="0" y="77041"/>
                  </a:lnTo>
                </a:path>
              </a:pathLst>
            </a:custGeom>
            <a:ln w="28575" cap="flat">
              <a:solidFill>
                <a:srgbClr val="70AD47"/>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158" name="Freeform: Shape 157">
              <a:extLst>
                <a:ext uri="{FF2B5EF4-FFF2-40B4-BE49-F238E27FC236}">
                  <a16:creationId xmlns:a16="http://schemas.microsoft.com/office/drawing/2014/main" id="{2D4B6EE5-D1EA-41FF-86B3-D60F19C2BDB4}"/>
                </a:ext>
              </a:extLst>
            </p:cNvPr>
            <p:cNvSpPr/>
            <p:nvPr/>
          </p:nvSpPr>
          <p:spPr>
            <a:xfrm>
              <a:off x="4108176" y="1894908"/>
              <a:ext cx="201828" cy="201827"/>
            </a:xfrm>
            <a:custGeom>
              <a:avLst/>
              <a:gdLst>
                <a:gd name="connsiteX0" fmla="*/ 182097 w 182097"/>
                <a:gd name="connsiteY0" fmla="*/ 91048 h 182096"/>
                <a:gd name="connsiteX1" fmla="*/ 91049 w 182097"/>
                <a:gd name="connsiteY1" fmla="*/ 182096 h 182096"/>
                <a:gd name="connsiteX2" fmla="*/ 0 w 182097"/>
                <a:gd name="connsiteY2" fmla="*/ 91048 h 182096"/>
                <a:gd name="connsiteX3" fmla="*/ 91049 w 182097"/>
                <a:gd name="connsiteY3" fmla="*/ 0 h 182096"/>
                <a:gd name="connsiteX4" fmla="*/ 182097 w 182097"/>
                <a:gd name="connsiteY4" fmla="*/ 91048 h 18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097" h="182096">
                  <a:moveTo>
                    <a:pt x="182097" y="91048"/>
                  </a:moveTo>
                  <a:cubicBezTo>
                    <a:pt x="182097" y="141333"/>
                    <a:pt x="141333" y="182096"/>
                    <a:pt x="91049" y="182096"/>
                  </a:cubicBezTo>
                  <a:cubicBezTo>
                    <a:pt x="40764" y="182096"/>
                    <a:pt x="0" y="141333"/>
                    <a:pt x="0" y="91048"/>
                  </a:cubicBezTo>
                  <a:cubicBezTo>
                    <a:pt x="0" y="40764"/>
                    <a:pt x="40764" y="0"/>
                    <a:pt x="91049" y="0"/>
                  </a:cubicBezTo>
                  <a:cubicBezTo>
                    <a:pt x="141333" y="0"/>
                    <a:pt x="182097" y="40764"/>
                    <a:pt x="182097" y="91048"/>
                  </a:cubicBezTo>
                  <a:close/>
                </a:path>
              </a:pathLst>
            </a:custGeom>
            <a:noFill/>
            <a:ln w="28575" cap="flat">
              <a:solidFill>
                <a:srgbClr val="4472C4"/>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159" name="Freeform: Shape 158">
              <a:extLst>
                <a:ext uri="{FF2B5EF4-FFF2-40B4-BE49-F238E27FC236}">
                  <a16:creationId xmlns:a16="http://schemas.microsoft.com/office/drawing/2014/main" id="{6D85E78B-27EB-4D0D-ABDD-0815D4A06DE3}"/>
                </a:ext>
              </a:extLst>
            </p:cNvPr>
            <p:cNvSpPr/>
            <p:nvPr/>
          </p:nvSpPr>
          <p:spPr>
            <a:xfrm>
              <a:off x="4100413" y="2257811"/>
              <a:ext cx="217353" cy="657880"/>
            </a:xfrm>
            <a:custGeom>
              <a:avLst/>
              <a:gdLst>
                <a:gd name="connsiteX0" fmla="*/ 0 w 196104"/>
                <a:gd name="connsiteY0" fmla="*/ 0 h 593564"/>
                <a:gd name="connsiteX1" fmla="*/ 0 w 196104"/>
                <a:gd name="connsiteY1" fmla="*/ 593564 h 593564"/>
                <a:gd name="connsiteX2" fmla="*/ 196105 w 196104"/>
                <a:gd name="connsiteY2" fmla="*/ 593564 h 593564"/>
                <a:gd name="connsiteX3" fmla="*/ 196105 w 196104"/>
                <a:gd name="connsiteY3" fmla="*/ 0 h 593564"/>
              </a:gdLst>
              <a:ahLst/>
              <a:cxnLst>
                <a:cxn ang="0">
                  <a:pos x="connsiteX0" y="connsiteY0"/>
                </a:cxn>
                <a:cxn ang="0">
                  <a:pos x="connsiteX1" y="connsiteY1"/>
                </a:cxn>
                <a:cxn ang="0">
                  <a:pos x="connsiteX2" y="connsiteY2"/>
                </a:cxn>
                <a:cxn ang="0">
                  <a:pos x="connsiteX3" y="connsiteY3"/>
                </a:cxn>
              </a:cxnLst>
              <a:rect l="l" t="t" r="r" b="b"/>
              <a:pathLst>
                <a:path w="196104" h="593564">
                  <a:moveTo>
                    <a:pt x="0" y="0"/>
                  </a:moveTo>
                  <a:lnTo>
                    <a:pt x="0" y="593564"/>
                  </a:lnTo>
                  <a:lnTo>
                    <a:pt x="196105" y="593564"/>
                  </a:lnTo>
                  <a:lnTo>
                    <a:pt x="196105" y="0"/>
                  </a:lnTo>
                </a:path>
              </a:pathLst>
            </a:custGeom>
            <a:noFill/>
            <a:ln w="28575" cap="flat">
              <a:solidFill>
                <a:srgbClr val="4472C4"/>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160" name="Freeform: Shape 159">
              <a:extLst>
                <a:ext uri="{FF2B5EF4-FFF2-40B4-BE49-F238E27FC236}">
                  <a16:creationId xmlns:a16="http://schemas.microsoft.com/office/drawing/2014/main" id="{37BF5286-E9F5-440E-994C-F26CB284FCE1}"/>
                </a:ext>
              </a:extLst>
            </p:cNvPr>
            <p:cNvSpPr/>
            <p:nvPr/>
          </p:nvSpPr>
          <p:spPr>
            <a:xfrm>
              <a:off x="4209091" y="2585780"/>
              <a:ext cx="19406" cy="329910"/>
            </a:xfrm>
            <a:custGeom>
              <a:avLst/>
              <a:gdLst>
                <a:gd name="connsiteX0" fmla="*/ 0 w 17509"/>
                <a:gd name="connsiteY0" fmla="*/ 0 h 297657"/>
                <a:gd name="connsiteX1" fmla="*/ 0 w 17509"/>
                <a:gd name="connsiteY1" fmla="*/ 297658 h 297657"/>
              </a:gdLst>
              <a:ahLst/>
              <a:cxnLst>
                <a:cxn ang="0">
                  <a:pos x="connsiteX0" y="connsiteY0"/>
                </a:cxn>
                <a:cxn ang="0">
                  <a:pos x="connsiteX1" y="connsiteY1"/>
                </a:cxn>
              </a:cxnLst>
              <a:rect l="l" t="t" r="r" b="b"/>
              <a:pathLst>
                <a:path w="17509" h="297657">
                  <a:moveTo>
                    <a:pt x="0" y="0"/>
                  </a:moveTo>
                  <a:lnTo>
                    <a:pt x="0" y="297658"/>
                  </a:lnTo>
                </a:path>
              </a:pathLst>
            </a:custGeom>
            <a:ln w="28575" cap="flat">
              <a:solidFill>
                <a:srgbClr val="4472C4"/>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161" name="Freeform: Shape 160">
              <a:extLst>
                <a:ext uri="{FF2B5EF4-FFF2-40B4-BE49-F238E27FC236}">
                  <a16:creationId xmlns:a16="http://schemas.microsoft.com/office/drawing/2014/main" id="{125E9E57-6413-4FB4-892C-06AE3F9C80ED}"/>
                </a:ext>
              </a:extLst>
            </p:cNvPr>
            <p:cNvSpPr/>
            <p:nvPr/>
          </p:nvSpPr>
          <p:spPr>
            <a:xfrm>
              <a:off x="4013084" y="2153015"/>
              <a:ext cx="392012" cy="432764"/>
            </a:xfrm>
            <a:custGeom>
              <a:avLst/>
              <a:gdLst>
                <a:gd name="connsiteX0" fmla="*/ 274897 w 353688"/>
                <a:gd name="connsiteY0" fmla="*/ 390457 h 390456"/>
                <a:gd name="connsiteX1" fmla="*/ 353689 w 353688"/>
                <a:gd name="connsiteY1" fmla="*/ 390457 h 390456"/>
                <a:gd name="connsiteX2" fmla="*/ 353689 w 353688"/>
                <a:gd name="connsiteY2" fmla="*/ 82294 h 390456"/>
                <a:gd name="connsiteX3" fmla="*/ 271395 w 353688"/>
                <a:gd name="connsiteY3" fmla="*/ 0 h 390456"/>
                <a:gd name="connsiteX4" fmla="*/ 82294 w 353688"/>
                <a:gd name="connsiteY4" fmla="*/ 0 h 390456"/>
                <a:gd name="connsiteX5" fmla="*/ 0 w 353688"/>
                <a:gd name="connsiteY5" fmla="*/ 82294 h 390456"/>
                <a:gd name="connsiteX6" fmla="*/ 0 w 353688"/>
                <a:gd name="connsiteY6" fmla="*/ 388706 h 390456"/>
                <a:gd name="connsiteX7" fmla="*/ 78792 w 353688"/>
                <a:gd name="connsiteY7" fmla="*/ 388706 h 39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3688" h="390456">
                  <a:moveTo>
                    <a:pt x="274897" y="390457"/>
                  </a:moveTo>
                  <a:lnTo>
                    <a:pt x="353689" y="390457"/>
                  </a:lnTo>
                  <a:lnTo>
                    <a:pt x="353689" y="82294"/>
                  </a:lnTo>
                  <a:cubicBezTo>
                    <a:pt x="353689" y="36769"/>
                    <a:pt x="315168" y="0"/>
                    <a:pt x="271395" y="0"/>
                  </a:cubicBezTo>
                  <a:lnTo>
                    <a:pt x="82294" y="0"/>
                  </a:lnTo>
                  <a:cubicBezTo>
                    <a:pt x="36770" y="0"/>
                    <a:pt x="0" y="38520"/>
                    <a:pt x="0" y="82294"/>
                  </a:cubicBezTo>
                  <a:lnTo>
                    <a:pt x="0" y="388706"/>
                  </a:lnTo>
                  <a:lnTo>
                    <a:pt x="78792" y="388706"/>
                  </a:lnTo>
                </a:path>
              </a:pathLst>
            </a:custGeom>
            <a:noFill/>
            <a:ln w="28575" cap="flat">
              <a:solidFill>
                <a:srgbClr val="4472C4"/>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162" name="Freeform: Shape 161">
              <a:extLst>
                <a:ext uri="{FF2B5EF4-FFF2-40B4-BE49-F238E27FC236}">
                  <a16:creationId xmlns:a16="http://schemas.microsoft.com/office/drawing/2014/main" id="{C8CBCC32-2CAB-41E6-B548-C52B9863C943}"/>
                </a:ext>
              </a:extLst>
            </p:cNvPr>
            <p:cNvSpPr/>
            <p:nvPr/>
          </p:nvSpPr>
          <p:spPr>
            <a:xfrm>
              <a:off x="3296982" y="1894908"/>
              <a:ext cx="201828" cy="201827"/>
            </a:xfrm>
            <a:custGeom>
              <a:avLst/>
              <a:gdLst>
                <a:gd name="connsiteX0" fmla="*/ 182097 w 182097"/>
                <a:gd name="connsiteY0" fmla="*/ 91048 h 182096"/>
                <a:gd name="connsiteX1" fmla="*/ 91049 w 182097"/>
                <a:gd name="connsiteY1" fmla="*/ 182096 h 182096"/>
                <a:gd name="connsiteX2" fmla="*/ 0 w 182097"/>
                <a:gd name="connsiteY2" fmla="*/ 91048 h 182096"/>
                <a:gd name="connsiteX3" fmla="*/ 91049 w 182097"/>
                <a:gd name="connsiteY3" fmla="*/ 0 h 182096"/>
                <a:gd name="connsiteX4" fmla="*/ 182097 w 182097"/>
                <a:gd name="connsiteY4" fmla="*/ 91048 h 182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097" h="182096">
                  <a:moveTo>
                    <a:pt x="182097" y="91048"/>
                  </a:moveTo>
                  <a:cubicBezTo>
                    <a:pt x="182097" y="141333"/>
                    <a:pt x="141333" y="182096"/>
                    <a:pt x="91049" y="182096"/>
                  </a:cubicBezTo>
                  <a:cubicBezTo>
                    <a:pt x="40764" y="182096"/>
                    <a:pt x="0" y="141333"/>
                    <a:pt x="0" y="91048"/>
                  </a:cubicBezTo>
                  <a:cubicBezTo>
                    <a:pt x="0" y="40764"/>
                    <a:pt x="40764" y="0"/>
                    <a:pt x="91049" y="0"/>
                  </a:cubicBezTo>
                  <a:cubicBezTo>
                    <a:pt x="141333" y="0"/>
                    <a:pt x="182097" y="40764"/>
                    <a:pt x="182097" y="91048"/>
                  </a:cubicBezTo>
                  <a:close/>
                </a:path>
              </a:pathLst>
            </a:custGeom>
            <a:noFill/>
            <a:ln w="28575" cap="flat">
              <a:solidFill>
                <a:srgbClr val="4472C4"/>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163" name="Freeform: Shape 162">
              <a:extLst>
                <a:ext uri="{FF2B5EF4-FFF2-40B4-BE49-F238E27FC236}">
                  <a16:creationId xmlns:a16="http://schemas.microsoft.com/office/drawing/2014/main" id="{FC369185-7365-4DC4-9F6D-299BC9EC322B}"/>
                </a:ext>
              </a:extLst>
            </p:cNvPr>
            <p:cNvSpPr/>
            <p:nvPr/>
          </p:nvSpPr>
          <p:spPr>
            <a:xfrm>
              <a:off x="3397895" y="2667287"/>
              <a:ext cx="19406" cy="248403"/>
            </a:xfrm>
            <a:custGeom>
              <a:avLst/>
              <a:gdLst>
                <a:gd name="connsiteX0" fmla="*/ 0 w 17509"/>
                <a:gd name="connsiteY0" fmla="*/ 0 h 224118"/>
                <a:gd name="connsiteX1" fmla="*/ 0 w 17509"/>
                <a:gd name="connsiteY1" fmla="*/ 224119 h 224118"/>
              </a:gdLst>
              <a:ahLst/>
              <a:cxnLst>
                <a:cxn ang="0">
                  <a:pos x="connsiteX0" y="connsiteY0"/>
                </a:cxn>
                <a:cxn ang="0">
                  <a:pos x="connsiteX1" y="connsiteY1"/>
                </a:cxn>
              </a:cxnLst>
              <a:rect l="l" t="t" r="r" b="b"/>
              <a:pathLst>
                <a:path w="17509" h="224118">
                  <a:moveTo>
                    <a:pt x="0" y="0"/>
                  </a:moveTo>
                  <a:lnTo>
                    <a:pt x="0" y="224119"/>
                  </a:lnTo>
                </a:path>
              </a:pathLst>
            </a:custGeom>
            <a:ln w="28575" cap="flat">
              <a:solidFill>
                <a:srgbClr val="4472C4"/>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164" name="Freeform: Shape 163">
              <a:extLst>
                <a:ext uri="{FF2B5EF4-FFF2-40B4-BE49-F238E27FC236}">
                  <a16:creationId xmlns:a16="http://schemas.microsoft.com/office/drawing/2014/main" id="{7BAED672-E740-4C52-B0FA-A01726121C1A}"/>
                </a:ext>
              </a:extLst>
            </p:cNvPr>
            <p:cNvSpPr/>
            <p:nvPr/>
          </p:nvSpPr>
          <p:spPr>
            <a:xfrm>
              <a:off x="3201889" y="2345139"/>
              <a:ext cx="395894" cy="322147"/>
            </a:xfrm>
            <a:custGeom>
              <a:avLst/>
              <a:gdLst>
                <a:gd name="connsiteX0" fmla="*/ 80543 w 357190"/>
                <a:gd name="connsiteY0" fmla="*/ 0 h 290653"/>
                <a:gd name="connsiteX1" fmla="*/ 0 w 357190"/>
                <a:gd name="connsiteY1" fmla="*/ 290654 h 290653"/>
                <a:gd name="connsiteX2" fmla="*/ 357191 w 357190"/>
                <a:gd name="connsiteY2" fmla="*/ 290654 h 290653"/>
                <a:gd name="connsiteX3" fmla="*/ 278399 w 357190"/>
                <a:gd name="connsiteY3" fmla="*/ 0 h 290653"/>
              </a:gdLst>
              <a:ahLst/>
              <a:cxnLst>
                <a:cxn ang="0">
                  <a:pos x="connsiteX0" y="connsiteY0"/>
                </a:cxn>
                <a:cxn ang="0">
                  <a:pos x="connsiteX1" y="connsiteY1"/>
                </a:cxn>
                <a:cxn ang="0">
                  <a:pos x="connsiteX2" y="connsiteY2"/>
                </a:cxn>
                <a:cxn ang="0">
                  <a:pos x="connsiteX3" y="connsiteY3"/>
                </a:cxn>
              </a:cxnLst>
              <a:rect l="l" t="t" r="r" b="b"/>
              <a:pathLst>
                <a:path w="357190" h="290653">
                  <a:moveTo>
                    <a:pt x="80543" y="0"/>
                  </a:moveTo>
                  <a:lnTo>
                    <a:pt x="0" y="290654"/>
                  </a:lnTo>
                  <a:lnTo>
                    <a:pt x="357191" y="290654"/>
                  </a:lnTo>
                  <a:lnTo>
                    <a:pt x="278399" y="0"/>
                  </a:lnTo>
                </a:path>
              </a:pathLst>
            </a:custGeom>
            <a:noFill/>
            <a:ln w="28575" cap="flat">
              <a:solidFill>
                <a:srgbClr val="4472C4"/>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165" name="Freeform: Shape 164">
              <a:extLst>
                <a:ext uri="{FF2B5EF4-FFF2-40B4-BE49-F238E27FC236}">
                  <a16:creationId xmlns:a16="http://schemas.microsoft.com/office/drawing/2014/main" id="{EE42E188-A0A6-4B4F-B53E-A4C30CE7772E}"/>
                </a:ext>
              </a:extLst>
            </p:cNvPr>
            <p:cNvSpPr/>
            <p:nvPr/>
          </p:nvSpPr>
          <p:spPr>
            <a:xfrm>
              <a:off x="3201889" y="2154955"/>
              <a:ext cx="393953" cy="362901"/>
            </a:xfrm>
            <a:custGeom>
              <a:avLst/>
              <a:gdLst>
                <a:gd name="connsiteX0" fmla="*/ 320421 w 355439"/>
                <a:gd name="connsiteY0" fmla="*/ 327423 h 327423"/>
                <a:gd name="connsiteX1" fmla="*/ 355440 w 355439"/>
                <a:gd name="connsiteY1" fmla="*/ 327423 h 327423"/>
                <a:gd name="connsiteX2" fmla="*/ 355440 w 355439"/>
                <a:gd name="connsiteY2" fmla="*/ 73539 h 327423"/>
                <a:gd name="connsiteX3" fmla="*/ 281900 w 355439"/>
                <a:gd name="connsiteY3" fmla="*/ 0 h 327423"/>
                <a:gd name="connsiteX4" fmla="*/ 73539 w 355439"/>
                <a:gd name="connsiteY4" fmla="*/ 0 h 327423"/>
                <a:gd name="connsiteX5" fmla="*/ 0 w 355439"/>
                <a:gd name="connsiteY5" fmla="*/ 73539 h 327423"/>
                <a:gd name="connsiteX6" fmla="*/ 0 w 355439"/>
                <a:gd name="connsiteY6" fmla="*/ 327423 h 327423"/>
                <a:gd name="connsiteX7" fmla="*/ 36770 w 355439"/>
                <a:gd name="connsiteY7" fmla="*/ 327423 h 327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5439" h="327423">
                  <a:moveTo>
                    <a:pt x="320421" y="327423"/>
                  </a:moveTo>
                  <a:lnTo>
                    <a:pt x="355440" y="327423"/>
                  </a:lnTo>
                  <a:lnTo>
                    <a:pt x="355440" y="73539"/>
                  </a:lnTo>
                  <a:cubicBezTo>
                    <a:pt x="355440" y="31517"/>
                    <a:pt x="322172" y="0"/>
                    <a:pt x="281900" y="0"/>
                  </a:cubicBezTo>
                  <a:lnTo>
                    <a:pt x="73539" y="0"/>
                  </a:lnTo>
                  <a:cubicBezTo>
                    <a:pt x="31517" y="0"/>
                    <a:pt x="0" y="33268"/>
                    <a:pt x="0" y="73539"/>
                  </a:cubicBezTo>
                  <a:lnTo>
                    <a:pt x="0" y="327423"/>
                  </a:lnTo>
                  <a:lnTo>
                    <a:pt x="36770" y="327423"/>
                  </a:lnTo>
                </a:path>
              </a:pathLst>
            </a:custGeom>
            <a:noFill/>
            <a:ln w="28575" cap="flat">
              <a:solidFill>
                <a:srgbClr val="4472C4"/>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166" name="Freeform: Shape 165">
              <a:extLst>
                <a:ext uri="{FF2B5EF4-FFF2-40B4-BE49-F238E27FC236}">
                  <a16:creationId xmlns:a16="http://schemas.microsoft.com/office/drawing/2014/main" id="{6677CD5F-7BFB-4309-8908-2CF8807A754D}"/>
                </a:ext>
              </a:extLst>
            </p:cNvPr>
            <p:cNvSpPr/>
            <p:nvPr/>
          </p:nvSpPr>
          <p:spPr>
            <a:xfrm>
              <a:off x="3291159" y="2667287"/>
              <a:ext cx="217353" cy="248403"/>
            </a:xfrm>
            <a:custGeom>
              <a:avLst/>
              <a:gdLst>
                <a:gd name="connsiteX0" fmla="*/ 196105 w 196104"/>
                <a:gd name="connsiteY0" fmla="*/ 0 h 224118"/>
                <a:gd name="connsiteX1" fmla="*/ 196105 w 196104"/>
                <a:gd name="connsiteY1" fmla="*/ 224119 h 224118"/>
                <a:gd name="connsiteX2" fmla="*/ 0 w 196104"/>
                <a:gd name="connsiteY2" fmla="*/ 224119 h 224118"/>
                <a:gd name="connsiteX3" fmla="*/ 0 w 196104"/>
                <a:gd name="connsiteY3" fmla="*/ 0 h 224118"/>
              </a:gdLst>
              <a:ahLst/>
              <a:cxnLst>
                <a:cxn ang="0">
                  <a:pos x="connsiteX0" y="connsiteY0"/>
                </a:cxn>
                <a:cxn ang="0">
                  <a:pos x="connsiteX1" y="connsiteY1"/>
                </a:cxn>
                <a:cxn ang="0">
                  <a:pos x="connsiteX2" y="connsiteY2"/>
                </a:cxn>
                <a:cxn ang="0">
                  <a:pos x="connsiteX3" y="connsiteY3"/>
                </a:cxn>
              </a:cxnLst>
              <a:rect l="l" t="t" r="r" b="b"/>
              <a:pathLst>
                <a:path w="196104" h="224118">
                  <a:moveTo>
                    <a:pt x="196105" y="0"/>
                  </a:moveTo>
                  <a:lnTo>
                    <a:pt x="196105" y="224119"/>
                  </a:lnTo>
                  <a:lnTo>
                    <a:pt x="0" y="224119"/>
                  </a:lnTo>
                  <a:lnTo>
                    <a:pt x="0" y="0"/>
                  </a:lnTo>
                </a:path>
              </a:pathLst>
            </a:custGeom>
            <a:noFill/>
            <a:ln w="28575" cap="flat">
              <a:solidFill>
                <a:srgbClr val="4472C4"/>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grpSp>
      <p:grpSp>
        <p:nvGrpSpPr>
          <p:cNvPr id="167" name="Group 166">
            <a:extLst>
              <a:ext uri="{FF2B5EF4-FFF2-40B4-BE49-F238E27FC236}">
                <a16:creationId xmlns:a16="http://schemas.microsoft.com/office/drawing/2014/main" id="{A85EFDF7-70BC-4317-BD92-294C677CAD9E}"/>
              </a:ext>
            </a:extLst>
          </p:cNvPr>
          <p:cNvGrpSpPr/>
          <p:nvPr/>
        </p:nvGrpSpPr>
        <p:grpSpPr>
          <a:xfrm>
            <a:off x="1009492" y="1890701"/>
            <a:ext cx="1056463" cy="1029196"/>
            <a:chOff x="972027" y="1894109"/>
            <a:chExt cx="1102603" cy="1074145"/>
          </a:xfrm>
        </p:grpSpPr>
        <p:sp>
          <p:nvSpPr>
            <p:cNvPr id="168" name="Freeform: Shape 167">
              <a:extLst>
                <a:ext uri="{FF2B5EF4-FFF2-40B4-BE49-F238E27FC236}">
                  <a16:creationId xmlns:a16="http://schemas.microsoft.com/office/drawing/2014/main" id="{3070130D-4CD4-4F5E-90B7-B57C92A6EC04}"/>
                </a:ext>
              </a:extLst>
            </p:cNvPr>
            <p:cNvSpPr/>
            <p:nvPr/>
          </p:nvSpPr>
          <p:spPr>
            <a:xfrm>
              <a:off x="1009374" y="1894109"/>
              <a:ext cx="1027910" cy="828727"/>
            </a:xfrm>
            <a:custGeom>
              <a:avLst/>
              <a:gdLst>
                <a:gd name="connsiteX0" fmla="*/ 513955 w 1027910"/>
                <a:gd name="connsiteY0" fmla="*/ 0 h 828727"/>
                <a:gd name="connsiteX1" fmla="*/ 172504 w 1027910"/>
                <a:gd name="connsiteY1" fmla="*/ 284542 h 828727"/>
                <a:gd name="connsiteX2" fmla="*/ 0 w 1027910"/>
                <a:gd name="connsiteY2" fmla="*/ 711354 h 828727"/>
                <a:gd name="connsiteX3" fmla="*/ 298770 w 1027910"/>
                <a:gd name="connsiteY3" fmla="*/ 826949 h 828727"/>
                <a:gd name="connsiteX4" fmla="*/ 513955 w 1027910"/>
                <a:gd name="connsiteY4" fmla="*/ 0 h 828727"/>
                <a:gd name="connsiteX5" fmla="*/ 855407 w 1027910"/>
                <a:gd name="connsiteY5" fmla="*/ 284542 h 828727"/>
                <a:gd name="connsiteX6" fmla="*/ 1027911 w 1027910"/>
                <a:gd name="connsiteY6" fmla="*/ 711354 h 828727"/>
                <a:gd name="connsiteX7" fmla="*/ 732698 w 1027910"/>
                <a:gd name="connsiteY7" fmla="*/ 828727 h 828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7910" h="828727">
                  <a:moveTo>
                    <a:pt x="513955" y="0"/>
                  </a:moveTo>
                  <a:cubicBezTo>
                    <a:pt x="373462" y="0"/>
                    <a:pt x="172504" y="78249"/>
                    <a:pt x="172504" y="284542"/>
                  </a:cubicBezTo>
                  <a:cubicBezTo>
                    <a:pt x="172504" y="284542"/>
                    <a:pt x="172504" y="547742"/>
                    <a:pt x="0" y="711354"/>
                  </a:cubicBezTo>
                  <a:cubicBezTo>
                    <a:pt x="58687" y="794938"/>
                    <a:pt x="209850" y="819835"/>
                    <a:pt x="298770" y="826949"/>
                  </a:cubicBezTo>
                  <a:moveTo>
                    <a:pt x="513955" y="0"/>
                  </a:moveTo>
                  <a:cubicBezTo>
                    <a:pt x="654448" y="0"/>
                    <a:pt x="855407" y="78249"/>
                    <a:pt x="855407" y="284542"/>
                  </a:cubicBezTo>
                  <a:cubicBezTo>
                    <a:pt x="855407" y="284542"/>
                    <a:pt x="855407" y="547742"/>
                    <a:pt x="1027911" y="711354"/>
                  </a:cubicBezTo>
                  <a:cubicBezTo>
                    <a:pt x="971002" y="791381"/>
                    <a:pt x="821617" y="821614"/>
                    <a:pt x="732698" y="828727"/>
                  </a:cubicBezTo>
                </a:path>
              </a:pathLst>
            </a:custGeom>
            <a:noFill/>
            <a:ln w="28575" cap="flat">
              <a:solidFill>
                <a:srgbClr val="4472C4"/>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169" name="Freeform: Shape 168">
              <a:extLst>
                <a:ext uri="{FF2B5EF4-FFF2-40B4-BE49-F238E27FC236}">
                  <a16:creationId xmlns:a16="http://schemas.microsoft.com/office/drawing/2014/main" id="{83B4DFB8-E21C-4E8D-8D37-7AA1196AF8B0}"/>
                </a:ext>
              </a:extLst>
            </p:cNvPr>
            <p:cNvSpPr/>
            <p:nvPr/>
          </p:nvSpPr>
          <p:spPr>
            <a:xfrm>
              <a:off x="1180099" y="2041715"/>
              <a:ext cx="688237" cy="184047"/>
            </a:xfrm>
            <a:custGeom>
              <a:avLst/>
              <a:gdLst>
                <a:gd name="connsiteX0" fmla="*/ 688238 w 688237"/>
                <a:gd name="connsiteY0" fmla="*/ 181395 h 184047"/>
                <a:gd name="connsiteX1" fmla="*/ 343230 w 688237"/>
                <a:gd name="connsiteY1" fmla="*/ 0 h 184047"/>
                <a:gd name="connsiteX2" fmla="*/ 0 w 688237"/>
                <a:gd name="connsiteY2" fmla="*/ 179617 h 184047"/>
              </a:gdLst>
              <a:ahLst/>
              <a:cxnLst>
                <a:cxn ang="0">
                  <a:pos x="connsiteX0" y="connsiteY0"/>
                </a:cxn>
                <a:cxn ang="0">
                  <a:pos x="connsiteX1" y="connsiteY1"/>
                </a:cxn>
                <a:cxn ang="0">
                  <a:pos x="connsiteX2" y="connsiteY2"/>
                </a:cxn>
              </a:cxnLst>
              <a:rect l="l" t="t" r="r" b="b"/>
              <a:pathLst>
                <a:path w="688237" h="184047">
                  <a:moveTo>
                    <a:pt x="688238" y="181395"/>
                  </a:moveTo>
                  <a:cubicBezTo>
                    <a:pt x="494393" y="209849"/>
                    <a:pt x="343230" y="0"/>
                    <a:pt x="343230" y="0"/>
                  </a:cubicBezTo>
                  <a:cubicBezTo>
                    <a:pt x="343230" y="0"/>
                    <a:pt x="183174" y="216963"/>
                    <a:pt x="0" y="179617"/>
                  </a:cubicBezTo>
                </a:path>
              </a:pathLst>
            </a:custGeom>
            <a:noFill/>
            <a:ln w="28575" cap="flat">
              <a:solidFill>
                <a:srgbClr val="4472C4"/>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170" name="Freeform: Shape 169">
              <a:extLst>
                <a:ext uri="{FF2B5EF4-FFF2-40B4-BE49-F238E27FC236}">
                  <a16:creationId xmlns:a16="http://schemas.microsoft.com/office/drawing/2014/main" id="{B11493DD-D7EB-417C-B23E-271E3AF3493A}"/>
                </a:ext>
              </a:extLst>
            </p:cNvPr>
            <p:cNvSpPr/>
            <p:nvPr/>
          </p:nvSpPr>
          <p:spPr>
            <a:xfrm>
              <a:off x="972027" y="2628582"/>
              <a:ext cx="407348" cy="339671"/>
            </a:xfrm>
            <a:custGeom>
              <a:avLst/>
              <a:gdLst>
                <a:gd name="connsiteX0" fmla="*/ 407252 w 407348"/>
                <a:gd name="connsiteY0" fmla="*/ 0 h 339671"/>
                <a:gd name="connsiteX1" fmla="*/ 407252 w 407348"/>
                <a:gd name="connsiteY1" fmla="*/ 7114 h 339671"/>
                <a:gd name="connsiteX2" fmla="*/ 215185 w 407348"/>
                <a:gd name="connsiteY2" fmla="*/ 120930 h 339671"/>
                <a:gd name="connsiteX3" fmla="*/ 0 w 407348"/>
                <a:gd name="connsiteY3" fmla="*/ 339671 h 339671"/>
              </a:gdLst>
              <a:ahLst/>
              <a:cxnLst>
                <a:cxn ang="0">
                  <a:pos x="connsiteX0" y="connsiteY0"/>
                </a:cxn>
                <a:cxn ang="0">
                  <a:pos x="connsiteX1" y="connsiteY1"/>
                </a:cxn>
                <a:cxn ang="0">
                  <a:pos x="connsiteX2" y="connsiteY2"/>
                </a:cxn>
                <a:cxn ang="0">
                  <a:pos x="connsiteX3" y="connsiteY3"/>
                </a:cxn>
              </a:cxnLst>
              <a:rect l="l" t="t" r="r" b="b"/>
              <a:pathLst>
                <a:path w="407348" h="339671">
                  <a:moveTo>
                    <a:pt x="407252" y="0"/>
                  </a:moveTo>
                  <a:lnTo>
                    <a:pt x="407252" y="7114"/>
                  </a:lnTo>
                  <a:cubicBezTo>
                    <a:pt x="407252" y="40903"/>
                    <a:pt x="417922" y="87141"/>
                    <a:pt x="215185" y="120930"/>
                  </a:cubicBezTo>
                  <a:cubicBezTo>
                    <a:pt x="0" y="160055"/>
                    <a:pt x="0" y="339671"/>
                    <a:pt x="0" y="339671"/>
                  </a:cubicBezTo>
                </a:path>
              </a:pathLst>
            </a:custGeom>
            <a:noFill/>
            <a:ln w="28575" cap="flat">
              <a:solidFill>
                <a:srgbClr val="4472C4"/>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171" name="Freeform: Shape 170">
              <a:extLst>
                <a:ext uri="{FF2B5EF4-FFF2-40B4-BE49-F238E27FC236}">
                  <a16:creationId xmlns:a16="http://schemas.microsoft.com/office/drawing/2014/main" id="{9F2F74F7-BA9C-463D-A4EA-72405CB0FAB8}"/>
                </a:ext>
              </a:extLst>
            </p:cNvPr>
            <p:cNvSpPr/>
            <p:nvPr/>
          </p:nvSpPr>
          <p:spPr>
            <a:xfrm>
              <a:off x="1667282" y="2628582"/>
              <a:ext cx="407348" cy="339671"/>
            </a:xfrm>
            <a:custGeom>
              <a:avLst/>
              <a:gdLst>
                <a:gd name="connsiteX0" fmla="*/ 407349 w 407348"/>
                <a:gd name="connsiteY0" fmla="*/ 339671 h 339671"/>
                <a:gd name="connsiteX1" fmla="*/ 192163 w 407348"/>
                <a:gd name="connsiteY1" fmla="*/ 122709 h 339671"/>
                <a:gd name="connsiteX2" fmla="*/ 97 w 407348"/>
                <a:gd name="connsiteY2" fmla="*/ 8892 h 339671"/>
                <a:gd name="connsiteX3" fmla="*/ 97 w 407348"/>
                <a:gd name="connsiteY3" fmla="*/ 0 h 339671"/>
              </a:gdLst>
              <a:ahLst/>
              <a:cxnLst>
                <a:cxn ang="0">
                  <a:pos x="connsiteX0" y="connsiteY0"/>
                </a:cxn>
                <a:cxn ang="0">
                  <a:pos x="connsiteX1" y="connsiteY1"/>
                </a:cxn>
                <a:cxn ang="0">
                  <a:pos x="connsiteX2" y="connsiteY2"/>
                </a:cxn>
                <a:cxn ang="0">
                  <a:pos x="connsiteX3" y="connsiteY3"/>
                </a:cxn>
              </a:cxnLst>
              <a:rect l="l" t="t" r="r" b="b"/>
              <a:pathLst>
                <a:path w="407348" h="339671">
                  <a:moveTo>
                    <a:pt x="407349" y="339671"/>
                  </a:moveTo>
                  <a:cubicBezTo>
                    <a:pt x="407349" y="339671"/>
                    <a:pt x="407349" y="160055"/>
                    <a:pt x="192163" y="122709"/>
                  </a:cubicBezTo>
                  <a:cubicBezTo>
                    <a:pt x="-10574" y="88919"/>
                    <a:pt x="97" y="42681"/>
                    <a:pt x="97" y="8892"/>
                  </a:cubicBezTo>
                  <a:lnTo>
                    <a:pt x="97" y="0"/>
                  </a:lnTo>
                </a:path>
              </a:pathLst>
            </a:custGeom>
            <a:noFill/>
            <a:ln w="28575" cap="flat">
              <a:solidFill>
                <a:srgbClr val="4472C4"/>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172" name="Freeform: Shape 171">
              <a:extLst>
                <a:ext uri="{FF2B5EF4-FFF2-40B4-BE49-F238E27FC236}">
                  <a16:creationId xmlns:a16="http://schemas.microsoft.com/office/drawing/2014/main" id="{891AC5B1-D43E-4C21-89F5-8209AF58CDC2}"/>
                </a:ext>
              </a:extLst>
            </p:cNvPr>
            <p:cNvSpPr/>
            <p:nvPr/>
          </p:nvSpPr>
          <p:spPr>
            <a:xfrm>
              <a:off x="1420182" y="2600128"/>
              <a:ext cx="206293" cy="33789"/>
            </a:xfrm>
            <a:custGeom>
              <a:avLst/>
              <a:gdLst>
                <a:gd name="connsiteX0" fmla="*/ 0 w 206293"/>
                <a:gd name="connsiteY0" fmla="*/ 1778 h 33789"/>
                <a:gd name="connsiteX1" fmla="*/ 65800 w 206293"/>
                <a:gd name="connsiteY1" fmla="*/ 28454 h 33789"/>
                <a:gd name="connsiteX2" fmla="*/ 101368 w 206293"/>
                <a:gd name="connsiteY2" fmla="*/ 33789 h 33789"/>
                <a:gd name="connsiteX3" fmla="*/ 136936 w 206293"/>
                <a:gd name="connsiteY3" fmla="*/ 28454 h 33789"/>
                <a:gd name="connsiteX4" fmla="*/ 206293 w 206293"/>
                <a:gd name="connsiteY4" fmla="*/ 0 h 337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93" h="33789">
                  <a:moveTo>
                    <a:pt x="0" y="1778"/>
                  </a:moveTo>
                  <a:cubicBezTo>
                    <a:pt x="21341" y="12449"/>
                    <a:pt x="42681" y="23119"/>
                    <a:pt x="65800" y="28454"/>
                  </a:cubicBezTo>
                  <a:cubicBezTo>
                    <a:pt x="78249" y="32011"/>
                    <a:pt x="90698" y="33789"/>
                    <a:pt x="101368" y="33789"/>
                  </a:cubicBezTo>
                  <a:cubicBezTo>
                    <a:pt x="112039" y="33789"/>
                    <a:pt x="124487" y="32011"/>
                    <a:pt x="136936" y="28454"/>
                  </a:cubicBezTo>
                  <a:cubicBezTo>
                    <a:pt x="161834" y="21341"/>
                    <a:pt x="184953" y="12449"/>
                    <a:pt x="206293" y="0"/>
                  </a:cubicBezTo>
                </a:path>
              </a:pathLst>
            </a:custGeom>
            <a:noFill/>
            <a:ln w="28575" cap="flat">
              <a:solidFill>
                <a:srgbClr val="70AD47"/>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173" name="Freeform: Shape 172">
              <a:extLst>
                <a:ext uri="{FF2B5EF4-FFF2-40B4-BE49-F238E27FC236}">
                  <a16:creationId xmlns:a16="http://schemas.microsoft.com/office/drawing/2014/main" id="{CA00AD09-2825-4BE7-B980-52B945DAF40C}"/>
                </a:ext>
              </a:extLst>
            </p:cNvPr>
            <p:cNvSpPr/>
            <p:nvPr/>
          </p:nvSpPr>
          <p:spPr>
            <a:xfrm>
              <a:off x="1420182" y="2532549"/>
              <a:ext cx="206293" cy="33789"/>
            </a:xfrm>
            <a:custGeom>
              <a:avLst/>
              <a:gdLst>
                <a:gd name="connsiteX0" fmla="*/ 0 w 206293"/>
                <a:gd name="connsiteY0" fmla="*/ 1778 h 33789"/>
                <a:gd name="connsiteX1" fmla="*/ 65800 w 206293"/>
                <a:gd name="connsiteY1" fmla="*/ 28454 h 33789"/>
                <a:gd name="connsiteX2" fmla="*/ 101368 w 206293"/>
                <a:gd name="connsiteY2" fmla="*/ 33789 h 33789"/>
                <a:gd name="connsiteX3" fmla="*/ 136936 w 206293"/>
                <a:gd name="connsiteY3" fmla="*/ 28454 h 33789"/>
                <a:gd name="connsiteX4" fmla="*/ 206293 w 206293"/>
                <a:gd name="connsiteY4" fmla="*/ 0 h 337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293" h="33789">
                  <a:moveTo>
                    <a:pt x="0" y="1778"/>
                  </a:moveTo>
                  <a:cubicBezTo>
                    <a:pt x="21341" y="12449"/>
                    <a:pt x="42681" y="23119"/>
                    <a:pt x="65800" y="28454"/>
                  </a:cubicBezTo>
                  <a:cubicBezTo>
                    <a:pt x="78249" y="32011"/>
                    <a:pt x="90698" y="33789"/>
                    <a:pt x="101368" y="33789"/>
                  </a:cubicBezTo>
                  <a:cubicBezTo>
                    <a:pt x="112039" y="33789"/>
                    <a:pt x="124487" y="32011"/>
                    <a:pt x="136936" y="28454"/>
                  </a:cubicBezTo>
                  <a:cubicBezTo>
                    <a:pt x="161834" y="21341"/>
                    <a:pt x="184953" y="12449"/>
                    <a:pt x="206293" y="0"/>
                  </a:cubicBezTo>
                </a:path>
              </a:pathLst>
            </a:custGeom>
            <a:noFill/>
            <a:ln w="28575" cap="flat">
              <a:solidFill>
                <a:srgbClr val="70AD47"/>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174" name="Freeform: Shape 173">
              <a:extLst>
                <a:ext uri="{FF2B5EF4-FFF2-40B4-BE49-F238E27FC236}">
                  <a16:creationId xmlns:a16="http://schemas.microsoft.com/office/drawing/2014/main" id="{B0720FA9-9C24-4F20-B162-C75A43BF3A47}"/>
                </a:ext>
              </a:extLst>
            </p:cNvPr>
            <p:cNvSpPr/>
            <p:nvPr/>
          </p:nvSpPr>
          <p:spPr>
            <a:xfrm>
              <a:off x="1338376" y="2378719"/>
              <a:ext cx="369905" cy="208960"/>
            </a:xfrm>
            <a:custGeom>
              <a:avLst/>
              <a:gdLst>
                <a:gd name="connsiteX0" fmla="*/ 369906 w 369905"/>
                <a:gd name="connsiteY0" fmla="*/ 208960 h 208960"/>
                <a:gd name="connsiteX1" fmla="*/ 369906 w 369905"/>
                <a:gd name="connsiteY1" fmla="*/ 50684 h 208960"/>
                <a:gd name="connsiteX2" fmla="*/ 199180 w 369905"/>
                <a:gd name="connsiteY2" fmla="*/ 2668 h 208960"/>
                <a:gd name="connsiteX3" fmla="*/ 170726 w 369905"/>
                <a:gd name="connsiteY3" fmla="*/ 2668 h 208960"/>
                <a:gd name="connsiteX4" fmla="*/ 0 w 369905"/>
                <a:gd name="connsiteY4" fmla="*/ 50684 h 208960"/>
                <a:gd name="connsiteX5" fmla="*/ 0 w 369905"/>
                <a:gd name="connsiteY5" fmla="*/ 208960 h 208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9905" h="208960">
                  <a:moveTo>
                    <a:pt x="369906" y="208960"/>
                  </a:moveTo>
                  <a:lnTo>
                    <a:pt x="369906" y="50684"/>
                  </a:lnTo>
                  <a:lnTo>
                    <a:pt x="199180" y="2668"/>
                  </a:lnTo>
                  <a:cubicBezTo>
                    <a:pt x="190288" y="-889"/>
                    <a:pt x="179618" y="-889"/>
                    <a:pt x="170726" y="2668"/>
                  </a:cubicBezTo>
                  <a:lnTo>
                    <a:pt x="0" y="50684"/>
                  </a:lnTo>
                  <a:lnTo>
                    <a:pt x="0" y="208960"/>
                  </a:lnTo>
                </a:path>
              </a:pathLst>
            </a:custGeom>
            <a:noFill/>
            <a:ln w="28575" cap="flat">
              <a:solidFill>
                <a:srgbClr val="70AD47"/>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175" name="Freeform: Shape 174">
              <a:extLst>
                <a:ext uri="{FF2B5EF4-FFF2-40B4-BE49-F238E27FC236}">
                  <a16:creationId xmlns:a16="http://schemas.microsoft.com/office/drawing/2014/main" id="{B59BD248-A4DB-4337-971A-313AF923E847}"/>
                </a:ext>
              </a:extLst>
            </p:cNvPr>
            <p:cNvSpPr/>
            <p:nvPr/>
          </p:nvSpPr>
          <p:spPr>
            <a:xfrm>
              <a:off x="1272576" y="2274684"/>
              <a:ext cx="65800" cy="154719"/>
            </a:xfrm>
            <a:custGeom>
              <a:avLst/>
              <a:gdLst>
                <a:gd name="connsiteX0" fmla="*/ 65801 w 65800"/>
                <a:gd name="connsiteY0" fmla="*/ 154719 h 154719"/>
                <a:gd name="connsiteX1" fmla="*/ 0 w 65800"/>
                <a:gd name="connsiteY1" fmla="*/ 0 h 154719"/>
              </a:gdLst>
              <a:ahLst/>
              <a:cxnLst>
                <a:cxn ang="0">
                  <a:pos x="connsiteX0" y="connsiteY0"/>
                </a:cxn>
                <a:cxn ang="0">
                  <a:pos x="connsiteX1" y="connsiteY1"/>
                </a:cxn>
              </a:cxnLst>
              <a:rect l="l" t="t" r="r" b="b"/>
              <a:pathLst>
                <a:path w="65800" h="154719">
                  <a:moveTo>
                    <a:pt x="65801" y="154719"/>
                  </a:moveTo>
                  <a:lnTo>
                    <a:pt x="0" y="0"/>
                  </a:lnTo>
                </a:path>
              </a:pathLst>
            </a:custGeom>
            <a:ln w="28575" cap="flat">
              <a:solidFill>
                <a:srgbClr val="4472C4"/>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176" name="Freeform: Shape 175">
              <a:extLst>
                <a:ext uri="{FF2B5EF4-FFF2-40B4-BE49-F238E27FC236}">
                  <a16:creationId xmlns:a16="http://schemas.microsoft.com/office/drawing/2014/main" id="{09F18E5E-096B-4C31-B0CC-73063732485B}"/>
                </a:ext>
              </a:extLst>
            </p:cNvPr>
            <p:cNvSpPr/>
            <p:nvPr/>
          </p:nvSpPr>
          <p:spPr>
            <a:xfrm>
              <a:off x="1708282" y="2271127"/>
              <a:ext cx="65800" cy="158276"/>
            </a:xfrm>
            <a:custGeom>
              <a:avLst/>
              <a:gdLst>
                <a:gd name="connsiteX0" fmla="*/ 0 w 65800"/>
                <a:gd name="connsiteY0" fmla="*/ 158276 h 158276"/>
                <a:gd name="connsiteX1" fmla="*/ 65800 w 65800"/>
                <a:gd name="connsiteY1" fmla="*/ 0 h 158276"/>
              </a:gdLst>
              <a:ahLst/>
              <a:cxnLst>
                <a:cxn ang="0">
                  <a:pos x="connsiteX0" y="connsiteY0"/>
                </a:cxn>
                <a:cxn ang="0">
                  <a:pos x="connsiteX1" y="connsiteY1"/>
                </a:cxn>
              </a:cxnLst>
              <a:rect l="l" t="t" r="r" b="b"/>
              <a:pathLst>
                <a:path w="65800" h="158276">
                  <a:moveTo>
                    <a:pt x="0" y="158276"/>
                  </a:moveTo>
                  <a:lnTo>
                    <a:pt x="65800" y="0"/>
                  </a:lnTo>
                </a:path>
              </a:pathLst>
            </a:custGeom>
            <a:ln w="28575" cap="flat">
              <a:solidFill>
                <a:srgbClr val="4472C4"/>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177" name="Freeform: Shape 176">
              <a:extLst>
                <a:ext uri="{FF2B5EF4-FFF2-40B4-BE49-F238E27FC236}">
                  <a16:creationId xmlns:a16="http://schemas.microsoft.com/office/drawing/2014/main" id="{B7340501-2AC4-4377-8FF3-0C74F9A4E29A}"/>
                </a:ext>
              </a:extLst>
            </p:cNvPr>
            <p:cNvSpPr/>
            <p:nvPr/>
          </p:nvSpPr>
          <p:spPr>
            <a:xfrm>
              <a:off x="1583794" y="2745956"/>
              <a:ext cx="254310" cy="218741"/>
            </a:xfrm>
            <a:custGeom>
              <a:avLst/>
              <a:gdLst>
                <a:gd name="connsiteX0" fmla="*/ 0 w 254310"/>
                <a:gd name="connsiteY0" fmla="*/ 218741 h 218741"/>
                <a:gd name="connsiteX1" fmla="*/ 254310 w 254310"/>
                <a:gd name="connsiteY1" fmla="*/ 0 h 218741"/>
              </a:gdLst>
              <a:ahLst/>
              <a:cxnLst>
                <a:cxn ang="0">
                  <a:pos x="connsiteX0" y="connsiteY0"/>
                </a:cxn>
                <a:cxn ang="0">
                  <a:pos x="connsiteX1" y="connsiteY1"/>
                </a:cxn>
              </a:cxnLst>
              <a:rect l="l" t="t" r="r" b="b"/>
              <a:pathLst>
                <a:path w="254310" h="218741">
                  <a:moveTo>
                    <a:pt x="0" y="218741"/>
                  </a:moveTo>
                  <a:lnTo>
                    <a:pt x="254310" y="0"/>
                  </a:lnTo>
                </a:path>
              </a:pathLst>
            </a:custGeom>
            <a:ln w="28575" cap="flat">
              <a:solidFill>
                <a:srgbClr val="4472C4"/>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178" name="Freeform: Shape 177">
              <a:extLst>
                <a:ext uri="{FF2B5EF4-FFF2-40B4-BE49-F238E27FC236}">
                  <a16:creationId xmlns:a16="http://schemas.microsoft.com/office/drawing/2014/main" id="{A2F30E4B-BD5C-449B-BFC2-47ACAD9CA1E9}"/>
                </a:ext>
              </a:extLst>
            </p:cNvPr>
            <p:cNvSpPr/>
            <p:nvPr/>
          </p:nvSpPr>
          <p:spPr>
            <a:xfrm>
              <a:off x="1208554" y="2745956"/>
              <a:ext cx="256088" cy="222298"/>
            </a:xfrm>
            <a:custGeom>
              <a:avLst/>
              <a:gdLst>
                <a:gd name="connsiteX0" fmla="*/ 0 w 256088"/>
                <a:gd name="connsiteY0" fmla="*/ 0 h 222298"/>
                <a:gd name="connsiteX1" fmla="*/ 256088 w 256088"/>
                <a:gd name="connsiteY1" fmla="*/ 222298 h 222298"/>
              </a:gdLst>
              <a:ahLst/>
              <a:cxnLst>
                <a:cxn ang="0">
                  <a:pos x="connsiteX0" y="connsiteY0"/>
                </a:cxn>
                <a:cxn ang="0">
                  <a:pos x="connsiteX1" y="connsiteY1"/>
                </a:cxn>
              </a:cxnLst>
              <a:rect l="l" t="t" r="r" b="b"/>
              <a:pathLst>
                <a:path w="256088" h="222298">
                  <a:moveTo>
                    <a:pt x="0" y="0"/>
                  </a:moveTo>
                  <a:lnTo>
                    <a:pt x="256088" y="222298"/>
                  </a:lnTo>
                </a:path>
              </a:pathLst>
            </a:custGeom>
            <a:ln w="28575" cap="flat">
              <a:solidFill>
                <a:srgbClr val="4472C4"/>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sp>
          <p:nvSpPr>
            <p:cNvPr id="179" name="Freeform: Shape 178">
              <a:extLst>
                <a:ext uri="{FF2B5EF4-FFF2-40B4-BE49-F238E27FC236}">
                  <a16:creationId xmlns:a16="http://schemas.microsoft.com/office/drawing/2014/main" id="{DEA16F3D-8467-4EA9-8EC8-85CEF9BF9315}"/>
                </a:ext>
              </a:extLst>
            </p:cNvPr>
            <p:cNvSpPr/>
            <p:nvPr/>
          </p:nvSpPr>
          <p:spPr>
            <a:xfrm>
              <a:off x="1221002" y="2219554"/>
              <a:ext cx="604653" cy="469493"/>
            </a:xfrm>
            <a:custGeom>
              <a:avLst/>
              <a:gdLst>
                <a:gd name="connsiteX0" fmla="*/ 553080 w 604653"/>
                <a:gd name="connsiteY0" fmla="*/ 0 h 469493"/>
                <a:gd name="connsiteX1" fmla="*/ 553080 w 604653"/>
                <a:gd name="connsiteY1" fmla="*/ 55130 h 469493"/>
                <a:gd name="connsiteX2" fmla="*/ 604653 w 604653"/>
                <a:gd name="connsiteY2" fmla="*/ 144049 h 469493"/>
                <a:gd name="connsiteX3" fmla="*/ 544188 w 604653"/>
                <a:gd name="connsiteY3" fmla="*/ 250752 h 469493"/>
                <a:gd name="connsiteX4" fmla="*/ 544188 w 604653"/>
                <a:gd name="connsiteY4" fmla="*/ 250752 h 469493"/>
                <a:gd name="connsiteX5" fmla="*/ 510399 w 604653"/>
                <a:gd name="connsiteY5" fmla="*/ 334336 h 469493"/>
                <a:gd name="connsiteX6" fmla="*/ 337895 w 604653"/>
                <a:gd name="connsiteY6" fmla="*/ 464158 h 469493"/>
                <a:gd name="connsiteX7" fmla="*/ 302327 w 604653"/>
                <a:gd name="connsiteY7" fmla="*/ 469493 h 469493"/>
                <a:gd name="connsiteX8" fmla="*/ 266759 w 604653"/>
                <a:gd name="connsiteY8" fmla="*/ 464158 h 469493"/>
                <a:gd name="connsiteX9" fmla="*/ 94255 w 604653"/>
                <a:gd name="connsiteY9" fmla="*/ 334336 h 469493"/>
                <a:gd name="connsiteX10" fmla="*/ 60465 w 604653"/>
                <a:gd name="connsiteY10" fmla="*/ 250752 h 469493"/>
                <a:gd name="connsiteX11" fmla="*/ 60465 w 604653"/>
                <a:gd name="connsiteY11" fmla="*/ 250752 h 469493"/>
                <a:gd name="connsiteX12" fmla="*/ 0 w 604653"/>
                <a:gd name="connsiteY12" fmla="*/ 144049 h 469493"/>
                <a:gd name="connsiteX13" fmla="*/ 51573 w 604653"/>
                <a:gd name="connsiteY13" fmla="*/ 55130 h 469493"/>
                <a:gd name="connsiteX14" fmla="*/ 51573 w 604653"/>
                <a:gd name="connsiteY14" fmla="*/ 0 h 469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04653" h="469493">
                  <a:moveTo>
                    <a:pt x="553080" y="0"/>
                  </a:moveTo>
                  <a:lnTo>
                    <a:pt x="553080" y="55130"/>
                  </a:lnTo>
                  <a:cubicBezTo>
                    <a:pt x="558415" y="55130"/>
                    <a:pt x="604653" y="58687"/>
                    <a:pt x="604653" y="144049"/>
                  </a:cubicBezTo>
                  <a:cubicBezTo>
                    <a:pt x="604653" y="160055"/>
                    <a:pt x="597540" y="250752"/>
                    <a:pt x="544188" y="250752"/>
                  </a:cubicBezTo>
                  <a:lnTo>
                    <a:pt x="544188" y="250752"/>
                  </a:lnTo>
                  <a:cubicBezTo>
                    <a:pt x="537074" y="279206"/>
                    <a:pt x="526404" y="307661"/>
                    <a:pt x="510399" y="334336"/>
                  </a:cubicBezTo>
                  <a:cubicBezTo>
                    <a:pt x="473052" y="398358"/>
                    <a:pt x="410809" y="444596"/>
                    <a:pt x="337895" y="464158"/>
                  </a:cubicBezTo>
                  <a:cubicBezTo>
                    <a:pt x="325446" y="467715"/>
                    <a:pt x="312997" y="469493"/>
                    <a:pt x="302327" y="469493"/>
                  </a:cubicBezTo>
                  <a:cubicBezTo>
                    <a:pt x="291656" y="469493"/>
                    <a:pt x="279208" y="467715"/>
                    <a:pt x="266759" y="464158"/>
                  </a:cubicBezTo>
                  <a:cubicBezTo>
                    <a:pt x="195623" y="444596"/>
                    <a:pt x="131601" y="398358"/>
                    <a:pt x="94255" y="334336"/>
                  </a:cubicBezTo>
                  <a:cubicBezTo>
                    <a:pt x="78249" y="309439"/>
                    <a:pt x="67579" y="280985"/>
                    <a:pt x="60465" y="250752"/>
                  </a:cubicBezTo>
                  <a:lnTo>
                    <a:pt x="60465" y="250752"/>
                  </a:lnTo>
                  <a:cubicBezTo>
                    <a:pt x="7114" y="250752"/>
                    <a:pt x="0" y="160055"/>
                    <a:pt x="0" y="144049"/>
                  </a:cubicBezTo>
                  <a:cubicBezTo>
                    <a:pt x="0" y="58687"/>
                    <a:pt x="46238" y="55130"/>
                    <a:pt x="51573" y="55130"/>
                  </a:cubicBezTo>
                  <a:lnTo>
                    <a:pt x="51573" y="0"/>
                  </a:lnTo>
                </a:path>
              </a:pathLst>
            </a:custGeom>
            <a:noFill/>
            <a:ln w="28575" cap="flat">
              <a:solidFill>
                <a:srgbClr val="4472C4"/>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ndParaRPr>
            </a:p>
          </p:txBody>
        </p:sp>
      </p:grpSp>
      <p:pic>
        <p:nvPicPr>
          <p:cNvPr id="180" name="Content Placeholder 3">
            <a:extLst>
              <a:ext uri="{FF2B5EF4-FFF2-40B4-BE49-F238E27FC236}">
                <a16:creationId xmlns:a16="http://schemas.microsoft.com/office/drawing/2014/main" id="{20EBA7DE-529B-42DB-9851-3AEF37DF7F1F}"/>
              </a:ext>
            </a:extLst>
          </p:cNvPr>
          <p:cNvPicPr>
            <a:picLocks noChangeAspect="1"/>
          </p:cNvPicPr>
          <p:nvPr/>
        </p:nvPicPr>
        <p:blipFill>
          <a:blip r:embed="rId4"/>
          <a:stretch>
            <a:fillRect/>
          </a:stretch>
        </p:blipFill>
        <p:spPr>
          <a:xfrm>
            <a:off x="6737690" y="4856548"/>
            <a:ext cx="4641510" cy="1061694"/>
          </a:xfrm>
          <a:prstGeom prst="rect">
            <a:avLst/>
          </a:prstGeom>
        </p:spPr>
      </p:pic>
    </p:spTree>
    <p:extLst>
      <p:ext uri="{BB962C8B-B14F-4D97-AF65-F5344CB8AC3E}">
        <p14:creationId xmlns:p14="http://schemas.microsoft.com/office/powerpoint/2010/main" val="249289882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18B04D8D-1FC5-47D3-A165-E9672E5DF0E7}"/>
              </a:ext>
            </a:extLst>
          </p:cNvPr>
          <p:cNvSpPr txBox="1"/>
          <p:nvPr/>
        </p:nvSpPr>
        <p:spPr>
          <a:xfrm>
            <a:off x="443696" y="117796"/>
            <a:ext cx="11687815" cy="923330"/>
          </a:xfrm>
          <a:prstGeom prst="rect">
            <a:avLst/>
          </a:prstGeom>
          <a:noFill/>
        </p:spPr>
        <p:txBody>
          <a:bodyPr wrap="none" rtlCol="0">
            <a:spAutoFit/>
          </a:bodyPr>
          <a:lstStyle/>
          <a:p>
            <a:r>
              <a:rPr lang="en-US" sz="5400" dirty="0"/>
              <a:t>COVID-19 Cases in the US and in NJ</a:t>
            </a:r>
          </a:p>
        </p:txBody>
      </p:sp>
      <p:pic>
        <p:nvPicPr>
          <p:cNvPr id="4" name="Picture 3">
            <a:extLst>
              <a:ext uri="{FF2B5EF4-FFF2-40B4-BE49-F238E27FC236}">
                <a16:creationId xmlns:a16="http://schemas.microsoft.com/office/drawing/2014/main" id="{3D3C722F-940B-4C75-B388-7CF4EDFD4EC8}"/>
              </a:ext>
            </a:extLst>
          </p:cNvPr>
          <p:cNvPicPr>
            <a:picLocks noChangeAspect="1"/>
          </p:cNvPicPr>
          <p:nvPr/>
        </p:nvPicPr>
        <p:blipFill>
          <a:blip r:embed="rId3"/>
          <a:stretch>
            <a:fillRect/>
          </a:stretch>
        </p:blipFill>
        <p:spPr>
          <a:xfrm>
            <a:off x="726142" y="969360"/>
            <a:ext cx="10851570" cy="3591817"/>
          </a:xfrm>
          <a:prstGeom prst="rect">
            <a:avLst/>
          </a:prstGeom>
        </p:spPr>
      </p:pic>
      <p:pic>
        <p:nvPicPr>
          <p:cNvPr id="13" name="Picture 12">
            <a:extLst>
              <a:ext uri="{FF2B5EF4-FFF2-40B4-BE49-F238E27FC236}">
                <a16:creationId xmlns:a16="http://schemas.microsoft.com/office/drawing/2014/main" id="{720D0AEA-9D17-4466-9CCB-5BDA38FECD13}"/>
              </a:ext>
            </a:extLst>
          </p:cNvPr>
          <p:cNvPicPr>
            <a:picLocks noChangeAspect="1"/>
          </p:cNvPicPr>
          <p:nvPr/>
        </p:nvPicPr>
        <p:blipFill>
          <a:blip r:embed="rId4"/>
          <a:stretch>
            <a:fillRect/>
          </a:stretch>
        </p:blipFill>
        <p:spPr>
          <a:xfrm>
            <a:off x="8306814" y="1552365"/>
            <a:ext cx="1517800" cy="923329"/>
          </a:xfrm>
          <a:prstGeom prst="rect">
            <a:avLst/>
          </a:prstGeom>
        </p:spPr>
      </p:pic>
      <p:sp>
        <p:nvSpPr>
          <p:cNvPr id="16" name="TextBox 15">
            <a:extLst>
              <a:ext uri="{FF2B5EF4-FFF2-40B4-BE49-F238E27FC236}">
                <a16:creationId xmlns:a16="http://schemas.microsoft.com/office/drawing/2014/main" id="{79692D48-2CEC-4DEA-B6B0-54D7FC1944AC}"/>
              </a:ext>
            </a:extLst>
          </p:cNvPr>
          <p:cNvSpPr txBox="1"/>
          <p:nvPr/>
        </p:nvSpPr>
        <p:spPr>
          <a:xfrm>
            <a:off x="1974216" y="1783196"/>
            <a:ext cx="2975495" cy="461665"/>
          </a:xfrm>
          <a:prstGeom prst="rect">
            <a:avLst/>
          </a:prstGeom>
          <a:noFill/>
        </p:spPr>
        <p:txBody>
          <a:bodyPr wrap="none" rtlCol="0">
            <a:spAutoFit/>
          </a:bodyPr>
          <a:lstStyle/>
          <a:p>
            <a:r>
              <a:rPr lang="en-US" sz="2400" dirty="0"/>
              <a:t>September 19, 2021</a:t>
            </a:r>
          </a:p>
        </p:txBody>
      </p:sp>
      <p:pic>
        <p:nvPicPr>
          <p:cNvPr id="7" name="Picture 6">
            <a:extLst>
              <a:ext uri="{FF2B5EF4-FFF2-40B4-BE49-F238E27FC236}">
                <a16:creationId xmlns:a16="http://schemas.microsoft.com/office/drawing/2014/main" id="{FE6C9E29-F0DD-4974-A6F6-2AB6A1F85583}"/>
              </a:ext>
            </a:extLst>
          </p:cNvPr>
          <p:cNvPicPr>
            <a:picLocks noChangeAspect="1"/>
          </p:cNvPicPr>
          <p:nvPr/>
        </p:nvPicPr>
        <p:blipFill>
          <a:blip r:embed="rId5"/>
          <a:stretch>
            <a:fillRect/>
          </a:stretch>
        </p:blipFill>
        <p:spPr>
          <a:xfrm>
            <a:off x="726142" y="4561177"/>
            <a:ext cx="10567146" cy="1800476"/>
          </a:xfrm>
          <a:prstGeom prst="rect">
            <a:avLst/>
          </a:prstGeom>
        </p:spPr>
      </p:pic>
      <p:pic>
        <p:nvPicPr>
          <p:cNvPr id="17" name="Picture 16">
            <a:extLst>
              <a:ext uri="{FF2B5EF4-FFF2-40B4-BE49-F238E27FC236}">
                <a16:creationId xmlns:a16="http://schemas.microsoft.com/office/drawing/2014/main" id="{A04EAAD0-3915-462B-99BB-CEC975249D13}"/>
              </a:ext>
            </a:extLst>
          </p:cNvPr>
          <p:cNvPicPr>
            <a:picLocks noChangeAspect="1"/>
          </p:cNvPicPr>
          <p:nvPr/>
        </p:nvPicPr>
        <p:blipFill>
          <a:blip r:embed="rId6"/>
          <a:stretch>
            <a:fillRect/>
          </a:stretch>
        </p:blipFill>
        <p:spPr>
          <a:xfrm>
            <a:off x="9255548" y="4917381"/>
            <a:ext cx="946370" cy="776508"/>
          </a:xfrm>
          <a:prstGeom prst="rect">
            <a:avLst/>
          </a:prstGeom>
        </p:spPr>
      </p:pic>
      <p:sp>
        <p:nvSpPr>
          <p:cNvPr id="18" name="TextBox 17">
            <a:extLst>
              <a:ext uri="{FF2B5EF4-FFF2-40B4-BE49-F238E27FC236}">
                <a16:creationId xmlns:a16="http://schemas.microsoft.com/office/drawing/2014/main" id="{127EB7F5-5809-4748-B747-9088E4903933}"/>
              </a:ext>
            </a:extLst>
          </p:cNvPr>
          <p:cNvSpPr txBox="1"/>
          <p:nvPr/>
        </p:nvSpPr>
        <p:spPr>
          <a:xfrm>
            <a:off x="2591794" y="4843970"/>
            <a:ext cx="2975495" cy="461665"/>
          </a:xfrm>
          <a:prstGeom prst="rect">
            <a:avLst/>
          </a:prstGeom>
          <a:noFill/>
        </p:spPr>
        <p:txBody>
          <a:bodyPr wrap="none" rtlCol="0">
            <a:spAutoFit/>
          </a:bodyPr>
          <a:lstStyle/>
          <a:p>
            <a:r>
              <a:rPr lang="en-US" sz="2400" dirty="0"/>
              <a:t>September 21, 2021</a:t>
            </a:r>
          </a:p>
        </p:txBody>
      </p:sp>
      <p:sp>
        <p:nvSpPr>
          <p:cNvPr id="8" name="TextBox 7">
            <a:extLst>
              <a:ext uri="{FF2B5EF4-FFF2-40B4-BE49-F238E27FC236}">
                <a16:creationId xmlns:a16="http://schemas.microsoft.com/office/drawing/2014/main" id="{9F9BB486-CB57-4E7B-B015-0C7F13121FDB}"/>
              </a:ext>
            </a:extLst>
          </p:cNvPr>
          <p:cNvSpPr txBox="1"/>
          <p:nvPr/>
        </p:nvSpPr>
        <p:spPr>
          <a:xfrm>
            <a:off x="3163752" y="6108729"/>
            <a:ext cx="6660862" cy="369332"/>
          </a:xfrm>
          <a:prstGeom prst="rect">
            <a:avLst/>
          </a:prstGeom>
          <a:noFill/>
        </p:spPr>
        <p:txBody>
          <a:bodyPr wrap="none" rtlCol="0">
            <a:spAutoFit/>
          </a:bodyPr>
          <a:lstStyle/>
          <a:p>
            <a:r>
              <a:rPr lang="en-US" dirty="0">
                <a:hlinkClick r:id="rId7"/>
              </a:rPr>
              <a:t>https://www.nj.gov/health/cd/topics/covid2019_dashboard.shtml</a:t>
            </a:r>
            <a:r>
              <a:rPr lang="en-US" dirty="0"/>
              <a:t> </a:t>
            </a:r>
          </a:p>
        </p:txBody>
      </p:sp>
      <p:sp>
        <p:nvSpPr>
          <p:cNvPr id="9" name="TextBox 8">
            <a:extLst>
              <a:ext uri="{FF2B5EF4-FFF2-40B4-BE49-F238E27FC236}">
                <a16:creationId xmlns:a16="http://schemas.microsoft.com/office/drawing/2014/main" id="{9DCC308B-DCAA-4951-8D1B-A48A2EBF8655}"/>
              </a:ext>
            </a:extLst>
          </p:cNvPr>
          <p:cNvSpPr txBox="1"/>
          <p:nvPr/>
        </p:nvSpPr>
        <p:spPr>
          <a:xfrm>
            <a:off x="3461963" y="4431641"/>
            <a:ext cx="6288901" cy="369332"/>
          </a:xfrm>
          <a:prstGeom prst="rect">
            <a:avLst/>
          </a:prstGeom>
          <a:noFill/>
        </p:spPr>
        <p:txBody>
          <a:bodyPr wrap="none" rtlCol="0">
            <a:spAutoFit/>
          </a:bodyPr>
          <a:lstStyle/>
          <a:p>
            <a:r>
              <a:rPr lang="en-US" dirty="0">
                <a:hlinkClick r:id="rId8"/>
              </a:rPr>
              <a:t>https://covid.cdc.gov/covid-data-tracker/#trends_dailycases</a:t>
            </a:r>
            <a:r>
              <a:rPr lang="en-US" dirty="0"/>
              <a:t> </a:t>
            </a:r>
          </a:p>
        </p:txBody>
      </p:sp>
    </p:spTree>
    <p:extLst>
      <p:ext uri="{BB962C8B-B14F-4D97-AF65-F5344CB8AC3E}">
        <p14:creationId xmlns:p14="http://schemas.microsoft.com/office/powerpoint/2010/main" val="171054693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B19E077-5498-4555-88FA-D12FE158EA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6" progId="TCLayout.ActiveDocument.1">
                  <p:embed/>
                </p:oleObj>
              </mc:Choice>
              <mc:Fallback>
                <p:oleObj name="think-cell Slide" r:id="rId6" imgW="395" imgH="396" progId="TCLayout.ActiveDocument.1">
                  <p:embed/>
                  <p:pic>
                    <p:nvPicPr>
                      <p:cNvPr id="9" name="Object 8" hidden="1">
                        <a:extLst>
                          <a:ext uri="{FF2B5EF4-FFF2-40B4-BE49-F238E27FC236}">
                            <a16:creationId xmlns:a16="http://schemas.microsoft.com/office/drawing/2014/main" id="{3B19E077-5498-4555-88FA-D12FE158EA0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BBE4FC75-0575-4156-AAA7-C749CB35F41B}"/>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dirty="0">
              <a:ln>
                <a:noFill/>
              </a:ln>
              <a:solidFill>
                <a:prstClr val="white"/>
              </a:solidFill>
              <a:effectLst/>
              <a:uLnTx/>
              <a:uFillTx/>
              <a:latin typeface="Calibri Light" panose="020F0302020204030204" pitchFamily="34" charset="0"/>
              <a:ea typeface="+mn-ea"/>
              <a:cs typeface="+mn-cs"/>
              <a:sym typeface="Calibri Light" panose="020F0302020204030204" pitchFamily="34" charset="0"/>
            </a:endParaRPr>
          </a:p>
        </p:txBody>
      </p:sp>
      <p:sp>
        <p:nvSpPr>
          <p:cNvPr id="2" name="Title 1">
            <a:extLst>
              <a:ext uri="{FF2B5EF4-FFF2-40B4-BE49-F238E27FC236}">
                <a16:creationId xmlns:a16="http://schemas.microsoft.com/office/drawing/2014/main" id="{7E1BED5D-F8F1-4107-9035-C8E554149AB5}"/>
              </a:ext>
            </a:extLst>
          </p:cNvPr>
          <p:cNvSpPr>
            <a:spLocks noGrp="1"/>
          </p:cNvSpPr>
          <p:nvPr>
            <p:ph type="title"/>
          </p:nvPr>
        </p:nvSpPr>
        <p:spPr>
          <a:xfrm>
            <a:off x="838200" y="612409"/>
            <a:ext cx="10515600" cy="830997"/>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p>
            <a:pPr algn="ctr"/>
            <a:r>
              <a:rPr lang="en-US" sz="6000" dirty="0"/>
              <a:t>COVID-19 Basics</a:t>
            </a:r>
          </a:p>
        </p:txBody>
      </p:sp>
      <p:sp>
        <p:nvSpPr>
          <p:cNvPr id="4" name="TextBox 3">
            <a:extLst>
              <a:ext uri="{FF2B5EF4-FFF2-40B4-BE49-F238E27FC236}">
                <a16:creationId xmlns:a16="http://schemas.microsoft.com/office/drawing/2014/main" id="{B388B97B-8AE0-4DF9-90DB-7CC361C060D6}"/>
              </a:ext>
            </a:extLst>
          </p:cNvPr>
          <p:cNvSpPr txBox="1"/>
          <p:nvPr>
            <p:custDataLst>
              <p:tags r:id="rId3"/>
            </p:custDataLst>
          </p:nvPr>
        </p:nvSpPr>
        <p:spPr>
          <a:xfrm>
            <a:off x="635732" y="1514823"/>
            <a:ext cx="8843908" cy="4569456"/>
          </a:xfrm>
          <a:prstGeom prst="rect">
            <a:avLst/>
          </a:prstGeom>
        </p:spPr>
        <p:txBody>
          <a:bodyPr vert="horz" wrap="square" lIns="0" tIns="0" rIns="0" bIns="0" rtlCol="0" anchor="t" anchorCtr="0">
            <a:spAutoFit/>
          </a:bodyPr>
          <a:lstStyle>
            <a:lvl1pPr marL="228600" lvl="0" indent="-228600">
              <a:lnSpc>
                <a:spcPct val="90000"/>
              </a:lnSpc>
              <a:spcBef>
                <a:spcPts val="1000"/>
              </a:spcBef>
              <a:buFont typeface="Arial" panose="020B0604020202020204" pitchFamily="34" charset="0"/>
              <a:buChar char="•"/>
              <a:defRPr sz="2800"/>
            </a:lvl1pPr>
            <a:lvl2pPr marL="685800" lvl="1" indent="-228600">
              <a:lnSpc>
                <a:spcPct val="90000"/>
              </a:lnSpc>
              <a:spcBef>
                <a:spcPts val="500"/>
              </a:spcBef>
              <a:buFont typeface="Arial" panose="020B0604020202020204" pitchFamily="34" charset="0"/>
              <a:buChar char="•"/>
              <a:defRPr sz="2400"/>
            </a:lvl2pPr>
            <a:lvl3pPr marL="1143000" lvl="2" indent="-228600">
              <a:lnSpc>
                <a:spcPct val="90000"/>
              </a:lnSpc>
              <a:spcBef>
                <a:spcPts val="500"/>
              </a:spcBef>
              <a:buFont typeface="Arial" panose="020B0604020202020204" pitchFamily="34" charset="0"/>
              <a:buChar char="•"/>
              <a:defRPr sz="2000"/>
            </a:lvl3pPr>
            <a:lvl4pPr marL="1600200" lvl="3" indent="-228600">
              <a:lnSpc>
                <a:spcPct val="90000"/>
              </a:lnSpc>
              <a:spcBef>
                <a:spcPts val="500"/>
              </a:spcBef>
              <a:buFont typeface="Arial" panose="020B0604020202020204" pitchFamily="34" charset="0"/>
              <a:buChar char="•"/>
            </a:lvl4pPr>
            <a:lvl5pPr marL="2057400" lvl="4"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228600" marR="0" lvl="0" indent="-228600" algn="l" defTabSz="914400" rtl="0" eaLnBrk="1" fontAlgn="auto" latinLnBrk="0" hangingPunct="1">
              <a:lnSpc>
                <a:spcPct val="90000"/>
              </a:lnSpc>
              <a:spcBef>
                <a:spcPts val="1400"/>
              </a:spcBef>
              <a:spcAft>
                <a:spcPts val="0"/>
              </a:spcAft>
              <a:buClrTx/>
              <a:buSzTx/>
              <a:buFont typeface="Arial" panose="020B0604020202020204" pitchFamily="34" charset="0"/>
              <a:buChar char="•"/>
              <a:tabLst/>
              <a:defRPr/>
            </a:pPr>
            <a:r>
              <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rPr>
              <a:t>Disease varies from asymptomatic to mild upper respiratory illness to pneumonia to multiorgan involvement and death – to date 672,738 deaths    in US, 24,429 in NJ</a:t>
            </a:r>
          </a:p>
          <a:p>
            <a:pPr marL="228600" marR="0" lvl="0" indent="-228600" algn="l" defTabSz="914400" rtl="0" eaLnBrk="1" fontAlgn="auto" latinLnBrk="0" hangingPunct="1">
              <a:lnSpc>
                <a:spcPct val="90000"/>
              </a:lnSpc>
              <a:spcBef>
                <a:spcPts val="1400"/>
              </a:spcBef>
              <a:spcAft>
                <a:spcPts val="0"/>
              </a:spcAft>
              <a:buClrTx/>
              <a:buSzTx/>
              <a:buFont typeface="Arial" panose="020B0604020202020204" pitchFamily="34" charset="0"/>
              <a:buChar char="•"/>
              <a:tabLst/>
              <a:defRPr/>
            </a:pPr>
            <a:r>
              <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rPr>
              <a:t>Disease in children usually either asymptomatic or mild but not always, 460 deaths in US, 7 in NJ</a:t>
            </a:r>
          </a:p>
          <a:p>
            <a:pPr marL="685800" marR="0" lvl="1" indent="-228600" algn="l" defTabSz="914400" rtl="0" eaLnBrk="1" fontAlgn="auto" latinLnBrk="0" hangingPunct="1">
              <a:lnSpc>
                <a:spcPct val="90000"/>
              </a:lnSpc>
              <a:spcBef>
                <a:spcPts val="140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prstClr val="black"/>
                </a:solidFill>
                <a:effectLst/>
                <a:uLnTx/>
                <a:uFillTx/>
                <a:latin typeface="Calibri" panose="020F0502020204030204"/>
                <a:ea typeface="+mn-ea"/>
                <a:cs typeface="+mn-cs"/>
              </a:rPr>
              <a:t>Multisystem inflammatory syndrome – Children (MIS-C) is a rare post-infectious complication – as of August 27 - 4661 cases, </a:t>
            </a:r>
            <a:r>
              <a:rPr lang="en-US" sz="2800" dirty="0">
                <a:solidFill>
                  <a:prstClr val="black"/>
                </a:solidFill>
                <a:latin typeface="Calibri" panose="020F0502020204030204"/>
              </a:rPr>
              <a:t>41</a:t>
            </a:r>
            <a:r>
              <a:rPr kumimoji="0" lang="en-US" sz="2800" b="0" i="0" u="none" strike="noStrike" kern="1200" cap="none" spc="0" normalizeH="0" baseline="0" noProof="0" dirty="0">
                <a:ln>
                  <a:noFill/>
                </a:ln>
                <a:solidFill>
                  <a:prstClr val="black"/>
                </a:solidFill>
                <a:effectLst/>
                <a:uLnTx/>
                <a:uFillTx/>
                <a:latin typeface="Calibri" panose="020F0502020204030204"/>
                <a:ea typeface="+mn-ea"/>
                <a:cs typeface="+mn-cs"/>
              </a:rPr>
              <a:t> deaths</a:t>
            </a:r>
            <a:r>
              <a:rPr lang="en-US" sz="2800" dirty="0">
                <a:solidFill>
                  <a:prstClr val="black"/>
                </a:solidFill>
                <a:latin typeface="Calibri" panose="020F0502020204030204"/>
              </a:rPr>
              <a:t>; as of September 20,</a:t>
            </a:r>
            <a:r>
              <a:rPr kumimoji="0" lang="en-US" sz="2800" b="0" i="0" u="none" strike="noStrike" kern="1200" cap="none" spc="0" normalizeH="0" baseline="0" noProof="0" dirty="0">
                <a:ln>
                  <a:noFill/>
                </a:ln>
                <a:solidFill>
                  <a:prstClr val="black"/>
                </a:solidFill>
                <a:effectLst/>
                <a:uLnTx/>
                <a:uFillTx/>
                <a:latin typeface="Calibri" panose="020F0502020204030204"/>
                <a:ea typeface="+mn-ea"/>
                <a:cs typeface="+mn-cs"/>
              </a:rPr>
              <a:t>133 in NJ, 0 deaths</a:t>
            </a:r>
          </a:p>
        </p:txBody>
      </p:sp>
      <p:grpSp>
        <p:nvGrpSpPr>
          <p:cNvPr id="10" name="Graphic 4">
            <a:extLst>
              <a:ext uri="{FF2B5EF4-FFF2-40B4-BE49-F238E27FC236}">
                <a16:creationId xmlns:a16="http://schemas.microsoft.com/office/drawing/2014/main" id="{12E5B676-A7EC-4835-B4C8-46D9EB4AC193}"/>
              </a:ext>
            </a:extLst>
          </p:cNvPr>
          <p:cNvGrpSpPr/>
          <p:nvPr/>
        </p:nvGrpSpPr>
        <p:grpSpPr>
          <a:xfrm>
            <a:off x="9507920" y="1725030"/>
            <a:ext cx="2389688" cy="3943945"/>
            <a:chOff x="9427533" y="1653912"/>
            <a:chExt cx="2389688" cy="3943945"/>
          </a:xfrm>
          <a:solidFill>
            <a:schemeClr val="accent1"/>
          </a:solidFill>
        </p:grpSpPr>
        <p:sp>
          <p:nvSpPr>
            <p:cNvPr id="11" name="Freeform: Shape 10">
              <a:extLst>
                <a:ext uri="{FF2B5EF4-FFF2-40B4-BE49-F238E27FC236}">
                  <a16:creationId xmlns:a16="http://schemas.microsoft.com/office/drawing/2014/main" id="{F0FDB7D2-C405-457C-8533-335D837989CA}"/>
                </a:ext>
              </a:extLst>
            </p:cNvPr>
            <p:cNvSpPr/>
            <p:nvPr/>
          </p:nvSpPr>
          <p:spPr>
            <a:xfrm>
              <a:off x="9938334" y="1708248"/>
              <a:ext cx="1878887" cy="2528755"/>
            </a:xfrm>
            <a:custGeom>
              <a:avLst/>
              <a:gdLst>
                <a:gd name="connsiteX0" fmla="*/ 1137605 w 1878887"/>
                <a:gd name="connsiteY0" fmla="*/ 90940 h 2528755"/>
                <a:gd name="connsiteX1" fmla="*/ 1371591 w 1878887"/>
                <a:gd name="connsiteY1" fmla="*/ 719817 h 2528755"/>
                <a:gd name="connsiteX2" fmla="*/ 1713788 w 1878887"/>
                <a:gd name="connsiteY2" fmla="*/ 1053232 h 2528755"/>
                <a:gd name="connsiteX3" fmla="*/ 1693296 w 1878887"/>
                <a:gd name="connsiteY3" fmla="*/ 1181935 h 2528755"/>
                <a:gd name="connsiteX4" fmla="*/ 1745990 w 1878887"/>
                <a:gd name="connsiteY4" fmla="*/ 1336985 h 2528755"/>
                <a:gd name="connsiteX5" fmla="*/ 1649489 w 1878887"/>
                <a:gd name="connsiteY5" fmla="*/ 1427631 h 2528755"/>
                <a:gd name="connsiteX6" fmla="*/ 1854201 w 1878887"/>
                <a:gd name="connsiteY6" fmla="*/ 1968789 h 2528755"/>
                <a:gd name="connsiteX7" fmla="*/ 1658271 w 1878887"/>
                <a:gd name="connsiteY7" fmla="*/ 2103347 h 2528755"/>
                <a:gd name="connsiteX8" fmla="*/ 1482729 w 1878887"/>
                <a:gd name="connsiteY8" fmla="*/ 2515803 h 2528755"/>
                <a:gd name="connsiteX9" fmla="*/ 964990 w 1878887"/>
                <a:gd name="connsiteY9" fmla="*/ 2378318 h 2528755"/>
                <a:gd name="connsiteX10" fmla="*/ 543752 w 1878887"/>
                <a:gd name="connsiteY10" fmla="*/ 2495311 h 2528755"/>
                <a:gd name="connsiteX11" fmla="*/ 330258 w 1878887"/>
                <a:gd name="connsiteY11" fmla="*/ 2053581 h 2528755"/>
                <a:gd name="connsiteX12" fmla="*/ 57588 w 1878887"/>
                <a:gd name="connsiteY12" fmla="*/ 1997959 h 2528755"/>
                <a:gd name="connsiteX13" fmla="*/ 134329 w 1878887"/>
                <a:gd name="connsiteY13" fmla="*/ 1576721 h 2528755"/>
                <a:gd name="connsiteX14" fmla="*/ 2594 w 1878887"/>
                <a:gd name="connsiteY14" fmla="*/ 1430454 h 2528755"/>
                <a:gd name="connsiteX15" fmla="*/ 213160 w 1878887"/>
                <a:gd name="connsiteY15" fmla="*/ 1140846 h 2528755"/>
                <a:gd name="connsiteX16" fmla="*/ 419649 w 1878887"/>
                <a:gd name="connsiteY16" fmla="*/ 549816 h 2528755"/>
                <a:gd name="connsiteX17" fmla="*/ 1137605 w 1878887"/>
                <a:gd name="connsiteY17" fmla="*/ 90940 h 2528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78887" h="2528755">
                  <a:moveTo>
                    <a:pt x="1137605" y="90940"/>
                  </a:moveTo>
                  <a:cubicBezTo>
                    <a:pt x="1333534" y="219643"/>
                    <a:pt x="1239961" y="515105"/>
                    <a:pt x="1371591" y="719817"/>
                  </a:cubicBezTo>
                  <a:cubicBezTo>
                    <a:pt x="1503221" y="924529"/>
                    <a:pt x="1684618" y="939166"/>
                    <a:pt x="1713788" y="1053232"/>
                  </a:cubicBezTo>
                  <a:cubicBezTo>
                    <a:pt x="1743062" y="1167298"/>
                    <a:pt x="1693296" y="1181935"/>
                    <a:pt x="1693296" y="1181935"/>
                  </a:cubicBezTo>
                  <a:cubicBezTo>
                    <a:pt x="1693296" y="1181935"/>
                    <a:pt x="1766377" y="1266726"/>
                    <a:pt x="1745990" y="1336985"/>
                  </a:cubicBezTo>
                  <a:cubicBezTo>
                    <a:pt x="1725602" y="1407243"/>
                    <a:pt x="1649489" y="1427631"/>
                    <a:pt x="1649489" y="1427631"/>
                  </a:cubicBezTo>
                  <a:cubicBezTo>
                    <a:pt x="1649489" y="1427631"/>
                    <a:pt x="1968371" y="1775683"/>
                    <a:pt x="1854201" y="1968789"/>
                  </a:cubicBezTo>
                  <a:cubicBezTo>
                    <a:pt x="1740135" y="2161896"/>
                    <a:pt x="1658271" y="2103347"/>
                    <a:pt x="1658271" y="2103347"/>
                  </a:cubicBezTo>
                  <a:cubicBezTo>
                    <a:pt x="1658271" y="2103347"/>
                    <a:pt x="1728425" y="2471891"/>
                    <a:pt x="1482729" y="2515803"/>
                  </a:cubicBezTo>
                  <a:cubicBezTo>
                    <a:pt x="1237033" y="2559714"/>
                    <a:pt x="1079056" y="2486528"/>
                    <a:pt x="964990" y="2378318"/>
                  </a:cubicBezTo>
                  <a:cubicBezTo>
                    <a:pt x="964990" y="2378318"/>
                    <a:pt x="807013" y="2530440"/>
                    <a:pt x="543752" y="2495311"/>
                  </a:cubicBezTo>
                  <a:cubicBezTo>
                    <a:pt x="280491" y="2460182"/>
                    <a:pt x="330258" y="2053581"/>
                    <a:pt x="330258" y="2053581"/>
                  </a:cubicBezTo>
                  <a:cubicBezTo>
                    <a:pt x="330258" y="2053581"/>
                    <a:pt x="157121" y="2153009"/>
                    <a:pt x="57588" y="1997959"/>
                  </a:cubicBezTo>
                  <a:cubicBezTo>
                    <a:pt x="-41841" y="1842909"/>
                    <a:pt x="134329" y="1576721"/>
                    <a:pt x="134329" y="1576721"/>
                  </a:cubicBezTo>
                  <a:cubicBezTo>
                    <a:pt x="134329" y="1576721"/>
                    <a:pt x="25908" y="1567939"/>
                    <a:pt x="2594" y="1430454"/>
                  </a:cubicBezTo>
                  <a:cubicBezTo>
                    <a:pt x="-20826" y="1292969"/>
                    <a:pt x="119587" y="1234524"/>
                    <a:pt x="213160" y="1140846"/>
                  </a:cubicBezTo>
                  <a:cubicBezTo>
                    <a:pt x="306734" y="1047272"/>
                    <a:pt x="418499" y="698802"/>
                    <a:pt x="419649" y="549816"/>
                  </a:cubicBezTo>
                  <a:cubicBezTo>
                    <a:pt x="420904" y="401040"/>
                    <a:pt x="644331" y="-232961"/>
                    <a:pt x="1137605" y="90940"/>
                  </a:cubicBezTo>
                  <a:close/>
                </a:path>
              </a:pathLst>
            </a:custGeom>
            <a:solidFill>
              <a:srgbClr val="2C1F30"/>
            </a:solidFill>
            <a:ln w="1045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Shape 11">
              <a:extLst>
                <a:ext uri="{FF2B5EF4-FFF2-40B4-BE49-F238E27FC236}">
                  <a16:creationId xmlns:a16="http://schemas.microsoft.com/office/drawing/2014/main" id="{7257F79B-B750-4CA9-ADF3-4F9F5A0759E8}"/>
                </a:ext>
              </a:extLst>
            </p:cNvPr>
            <p:cNvSpPr/>
            <p:nvPr/>
          </p:nvSpPr>
          <p:spPr>
            <a:xfrm>
              <a:off x="10074050" y="3969573"/>
              <a:ext cx="981483" cy="1628284"/>
            </a:xfrm>
            <a:custGeom>
              <a:avLst/>
              <a:gdLst>
                <a:gd name="connsiteX0" fmla="*/ 847571 w 981483"/>
                <a:gd name="connsiteY0" fmla="*/ 13173 h 1628284"/>
                <a:gd name="connsiteX1" fmla="*/ 84136 w 981483"/>
                <a:gd name="connsiteY1" fmla="*/ 0 h 1628284"/>
                <a:gd name="connsiteX2" fmla="*/ 5199 w 981483"/>
                <a:gd name="connsiteY2" fmla="*/ 704259 h 1628284"/>
                <a:gd name="connsiteX3" fmla="*/ 225385 w 981483"/>
                <a:gd name="connsiteY3" fmla="*/ 1613857 h 1628284"/>
                <a:gd name="connsiteX4" fmla="*/ 497428 w 981483"/>
                <a:gd name="connsiteY4" fmla="*/ 1589705 h 1628284"/>
                <a:gd name="connsiteX5" fmla="*/ 400090 w 981483"/>
                <a:gd name="connsiteY5" fmla="*/ 609849 h 1628284"/>
                <a:gd name="connsiteX6" fmla="*/ 468049 w 981483"/>
                <a:gd name="connsiteY6" fmla="*/ 603262 h 1628284"/>
                <a:gd name="connsiteX7" fmla="*/ 547822 w 981483"/>
                <a:gd name="connsiteY7" fmla="*/ 1589705 h 1628284"/>
                <a:gd name="connsiteX8" fmla="*/ 844016 w 981483"/>
                <a:gd name="connsiteY8" fmla="*/ 1596606 h 1628284"/>
                <a:gd name="connsiteX9" fmla="*/ 981397 w 981483"/>
                <a:gd name="connsiteY9" fmla="*/ 471736 h 1628284"/>
                <a:gd name="connsiteX10" fmla="*/ 847571 w 981483"/>
                <a:gd name="connsiteY10" fmla="*/ 13173 h 1628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81483" h="1628284">
                  <a:moveTo>
                    <a:pt x="847571" y="13173"/>
                  </a:moveTo>
                  <a:lnTo>
                    <a:pt x="84136" y="0"/>
                  </a:lnTo>
                  <a:cubicBezTo>
                    <a:pt x="84136" y="0"/>
                    <a:pt x="-24703" y="363839"/>
                    <a:pt x="5199" y="704259"/>
                  </a:cubicBezTo>
                  <a:cubicBezTo>
                    <a:pt x="44406" y="1150380"/>
                    <a:pt x="161817" y="1578728"/>
                    <a:pt x="225385" y="1613857"/>
                  </a:cubicBezTo>
                  <a:cubicBezTo>
                    <a:pt x="289057" y="1648986"/>
                    <a:pt x="468885" y="1611661"/>
                    <a:pt x="497428" y="1589705"/>
                  </a:cubicBezTo>
                  <a:cubicBezTo>
                    <a:pt x="525970" y="1567750"/>
                    <a:pt x="382526" y="625218"/>
                    <a:pt x="400090" y="609849"/>
                  </a:cubicBezTo>
                  <a:cubicBezTo>
                    <a:pt x="417655" y="594480"/>
                    <a:pt x="459371" y="594480"/>
                    <a:pt x="468049" y="603262"/>
                  </a:cubicBezTo>
                  <a:cubicBezTo>
                    <a:pt x="476831" y="612045"/>
                    <a:pt x="534125" y="1574127"/>
                    <a:pt x="547822" y="1589705"/>
                  </a:cubicBezTo>
                  <a:cubicBezTo>
                    <a:pt x="580755" y="1627030"/>
                    <a:pt x="798013" y="1633826"/>
                    <a:pt x="844016" y="1596606"/>
                  </a:cubicBezTo>
                  <a:cubicBezTo>
                    <a:pt x="890123" y="1559281"/>
                    <a:pt x="984742" y="1026800"/>
                    <a:pt x="981397" y="471736"/>
                  </a:cubicBezTo>
                  <a:cubicBezTo>
                    <a:pt x="980037" y="249983"/>
                    <a:pt x="847571" y="13173"/>
                    <a:pt x="847571" y="13173"/>
                  </a:cubicBezTo>
                  <a:close/>
                </a:path>
              </a:pathLst>
            </a:custGeom>
            <a:solidFill>
              <a:srgbClr val="72CFE8"/>
            </a:solidFill>
            <a:ln w="1045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13" name="Graphic 4">
              <a:extLst>
                <a:ext uri="{FF2B5EF4-FFF2-40B4-BE49-F238E27FC236}">
                  <a16:creationId xmlns:a16="http://schemas.microsoft.com/office/drawing/2014/main" id="{A8EFC8F8-53BB-4EE2-8DA9-68A1E5518138}"/>
                </a:ext>
              </a:extLst>
            </p:cNvPr>
            <p:cNvGrpSpPr/>
            <p:nvPr/>
          </p:nvGrpSpPr>
          <p:grpSpPr>
            <a:xfrm>
              <a:off x="9427533" y="2906407"/>
              <a:ext cx="1030728" cy="1045790"/>
              <a:chOff x="9427533" y="2906407"/>
              <a:chExt cx="1030728" cy="1045790"/>
            </a:xfrm>
            <a:solidFill>
              <a:schemeClr val="accent1"/>
            </a:solidFill>
          </p:grpSpPr>
          <p:grpSp>
            <p:nvGrpSpPr>
              <p:cNvPr id="59" name="Graphic 4">
                <a:extLst>
                  <a:ext uri="{FF2B5EF4-FFF2-40B4-BE49-F238E27FC236}">
                    <a16:creationId xmlns:a16="http://schemas.microsoft.com/office/drawing/2014/main" id="{072E4DBA-7EC0-4CF8-8347-5721766DEB58}"/>
                  </a:ext>
                </a:extLst>
              </p:cNvPr>
              <p:cNvGrpSpPr/>
              <p:nvPr/>
            </p:nvGrpSpPr>
            <p:grpSpPr>
              <a:xfrm>
                <a:off x="9427533" y="3034109"/>
                <a:ext cx="420604" cy="328097"/>
                <a:chOff x="9427533" y="3034109"/>
                <a:chExt cx="420604" cy="328097"/>
              </a:xfrm>
              <a:solidFill>
                <a:schemeClr val="accent1"/>
              </a:solidFill>
            </p:grpSpPr>
            <p:sp>
              <p:nvSpPr>
                <p:cNvPr id="61" name="Freeform: Shape 60">
                  <a:extLst>
                    <a:ext uri="{FF2B5EF4-FFF2-40B4-BE49-F238E27FC236}">
                      <a16:creationId xmlns:a16="http://schemas.microsoft.com/office/drawing/2014/main" id="{4E2C1E0A-C447-4B99-95F3-6C473AF50D2C}"/>
                    </a:ext>
                  </a:extLst>
                </p:cNvPr>
                <p:cNvSpPr/>
                <p:nvPr/>
              </p:nvSpPr>
              <p:spPr>
                <a:xfrm>
                  <a:off x="9427533" y="3034109"/>
                  <a:ext cx="420604" cy="328097"/>
                </a:xfrm>
                <a:custGeom>
                  <a:avLst/>
                  <a:gdLst>
                    <a:gd name="connsiteX0" fmla="*/ 257034 w 420604"/>
                    <a:gd name="connsiteY0" fmla="*/ 285362 h 328097"/>
                    <a:gd name="connsiteX1" fmla="*/ 83479 w 420604"/>
                    <a:gd name="connsiteY1" fmla="*/ 234864 h 328097"/>
                    <a:gd name="connsiteX2" fmla="*/ 72710 w 420604"/>
                    <a:gd name="connsiteY2" fmla="*/ 208517 h 328097"/>
                    <a:gd name="connsiteX3" fmla="*/ 147464 w 420604"/>
                    <a:gd name="connsiteY3" fmla="*/ 199212 h 328097"/>
                    <a:gd name="connsiteX4" fmla="*/ 81074 w 420604"/>
                    <a:gd name="connsiteY4" fmla="*/ 190116 h 328097"/>
                    <a:gd name="connsiteX5" fmla="*/ 10293 w 420604"/>
                    <a:gd name="connsiteY5" fmla="*/ 173910 h 328097"/>
                    <a:gd name="connsiteX6" fmla="*/ 153110 w 420604"/>
                    <a:gd name="connsiteY6" fmla="*/ 156136 h 328097"/>
                    <a:gd name="connsiteX7" fmla="*/ 29321 w 420604"/>
                    <a:gd name="connsiteY7" fmla="*/ 132926 h 328097"/>
                    <a:gd name="connsiteX8" fmla="*/ 51904 w 420604"/>
                    <a:gd name="connsiteY8" fmla="*/ 102815 h 328097"/>
                    <a:gd name="connsiteX9" fmla="*/ 177052 w 420604"/>
                    <a:gd name="connsiteY9" fmla="*/ 109507 h 328097"/>
                    <a:gd name="connsiteX10" fmla="*/ 95398 w 420604"/>
                    <a:gd name="connsiteY10" fmla="*/ 79082 h 328097"/>
                    <a:gd name="connsiteX11" fmla="*/ 110871 w 420604"/>
                    <a:gd name="connsiteY11" fmla="*/ 52003 h 328097"/>
                    <a:gd name="connsiteX12" fmla="*/ 253898 w 420604"/>
                    <a:gd name="connsiteY12" fmla="*/ 81382 h 328097"/>
                    <a:gd name="connsiteX13" fmla="*/ 218873 w 420604"/>
                    <a:gd name="connsiteY13" fmla="*/ 18756 h 328097"/>
                    <a:gd name="connsiteX14" fmla="*/ 283695 w 420604"/>
                    <a:gd name="connsiteY14" fmla="*/ 44998 h 328097"/>
                    <a:gd name="connsiteX15" fmla="*/ 388037 w 420604"/>
                    <a:gd name="connsiteY15" fmla="*/ 159169 h 328097"/>
                    <a:gd name="connsiteX16" fmla="*/ 409993 w 420604"/>
                    <a:gd name="connsiteY16" fmla="*/ 296967 h 328097"/>
                    <a:gd name="connsiteX17" fmla="*/ 257034 w 420604"/>
                    <a:gd name="connsiteY17" fmla="*/ 285362 h 328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20604" h="328097">
                      <a:moveTo>
                        <a:pt x="257034" y="285362"/>
                      </a:moveTo>
                      <a:cubicBezTo>
                        <a:pt x="205177" y="257552"/>
                        <a:pt x="130422" y="239882"/>
                        <a:pt x="83479" y="234864"/>
                      </a:cubicBezTo>
                      <a:cubicBezTo>
                        <a:pt x="33712" y="229532"/>
                        <a:pt x="29635" y="217613"/>
                        <a:pt x="72710" y="208517"/>
                      </a:cubicBezTo>
                      <a:cubicBezTo>
                        <a:pt x="110662" y="201094"/>
                        <a:pt x="145269" y="205171"/>
                        <a:pt x="147464" y="199212"/>
                      </a:cubicBezTo>
                      <a:cubicBezTo>
                        <a:pt x="148510" y="196389"/>
                        <a:pt x="121222" y="191998"/>
                        <a:pt x="81074" y="190116"/>
                      </a:cubicBezTo>
                      <a:cubicBezTo>
                        <a:pt x="39881" y="188129"/>
                        <a:pt x="9875" y="188129"/>
                        <a:pt x="10293" y="173910"/>
                      </a:cubicBezTo>
                      <a:cubicBezTo>
                        <a:pt x="11024" y="157496"/>
                        <a:pt x="124359" y="148086"/>
                        <a:pt x="153110" y="156136"/>
                      </a:cubicBezTo>
                      <a:cubicBezTo>
                        <a:pt x="183116" y="159691"/>
                        <a:pt x="70619" y="131253"/>
                        <a:pt x="29321" y="132926"/>
                      </a:cubicBezTo>
                      <a:cubicBezTo>
                        <a:pt x="-16054" y="131881"/>
                        <a:pt x="-8945" y="109088"/>
                        <a:pt x="51904" y="102815"/>
                      </a:cubicBezTo>
                      <a:cubicBezTo>
                        <a:pt x="112649" y="97797"/>
                        <a:pt x="161474" y="111284"/>
                        <a:pt x="177052" y="109507"/>
                      </a:cubicBezTo>
                      <a:cubicBezTo>
                        <a:pt x="167747" y="101770"/>
                        <a:pt x="154678" y="92778"/>
                        <a:pt x="95398" y="79082"/>
                      </a:cubicBezTo>
                      <a:cubicBezTo>
                        <a:pt x="51068" y="70823"/>
                        <a:pt x="62464" y="52212"/>
                        <a:pt x="110871" y="52003"/>
                      </a:cubicBezTo>
                      <a:cubicBezTo>
                        <a:pt x="169316" y="51271"/>
                        <a:pt x="240829" y="91524"/>
                        <a:pt x="253898" y="81382"/>
                      </a:cubicBezTo>
                      <a:cubicBezTo>
                        <a:pt x="259021" y="69359"/>
                        <a:pt x="240411" y="58904"/>
                        <a:pt x="218873" y="18756"/>
                      </a:cubicBezTo>
                      <a:cubicBezTo>
                        <a:pt x="197126" y="-20660"/>
                        <a:pt x="249297" y="8823"/>
                        <a:pt x="283695" y="44998"/>
                      </a:cubicBezTo>
                      <a:cubicBezTo>
                        <a:pt x="319661" y="81173"/>
                        <a:pt x="364722" y="119857"/>
                        <a:pt x="388037" y="159169"/>
                      </a:cubicBezTo>
                      <a:cubicBezTo>
                        <a:pt x="419717" y="211758"/>
                        <a:pt x="430799" y="258702"/>
                        <a:pt x="409993" y="296967"/>
                      </a:cubicBezTo>
                      <a:cubicBezTo>
                        <a:pt x="387515" y="337743"/>
                        <a:pt x="360854" y="342970"/>
                        <a:pt x="257034" y="285362"/>
                      </a:cubicBezTo>
                      <a:close/>
                    </a:path>
                  </a:pathLst>
                </a:custGeom>
                <a:solidFill>
                  <a:srgbClr val="E29A8F"/>
                </a:solidFill>
                <a:ln w="1045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2" name="Freeform: Shape 61">
                  <a:extLst>
                    <a:ext uri="{FF2B5EF4-FFF2-40B4-BE49-F238E27FC236}">
                      <a16:creationId xmlns:a16="http://schemas.microsoft.com/office/drawing/2014/main" id="{D225C132-E9AD-4582-88FF-D447D910C59A}"/>
                    </a:ext>
                  </a:extLst>
                </p:cNvPr>
                <p:cNvSpPr/>
                <p:nvPr/>
              </p:nvSpPr>
              <p:spPr>
                <a:xfrm>
                  <a:off x="9660847" y="3214877"/>
                  <a:ext cx="92928" cy="16578"/>
                </a:xfrm>
                <a:custGeom>
                  <a:avLst/>
                  <a:gdLst>
                    <a:gd name="connsiteX0" fmla="*/ 1033 w 92928"/>
                    <a:gd name="connsiteY0" fmla="*/ 5166 h 16578"/>
                    <a:gd name="connsiteX1" fmla="*/ 5424 w 92928"/>
                    <a:gd name="connsiteY1" fmla="*/ 2866 h 16578"/>
                    <a:gd name="connsiteX2" fmla="*/ 11174 w 92928"/>
                    <a:gd name="connsiteY2" fmla="*/ 1088 h 16578"/>
                    <a:gd name="connsiteX3" fmla="*/ 22570 w 92928"/>
                    <a:gd name="connsiteY3" fmla="*/ 147 h 16578"/>
                    <a:gd name="connsiteX4" fmla="*/ 45363 w 92928"/>
                    <a:gd name="connsiteY4" fmla="*/ 566 h 16578"/>
                    <a:gd name="connsiteX5" fmla="*/ 67632 w 92928"/>
                    <a:gd name="connsiteY5" fmla="*/ 2761 h 16578"/>
                    <a:gd name="connsiteX6" fmla="*/ 90111 w 92928"/>
                    <a:gd name="connsiteY6" fmla="*/ 7989 h 16578"/>
                    <a:gd name="connsiteX7" fmla="*/ 88229 w 92928"/>
                    <a:gd name="connsiteY7" fmla="*/ 16562 h 16578"/>
                    <a:gd name="connsiteX8" fmla="*/ 66587 w 92928"/>
                    <a:gd name="connsiteY8" fmla="*/ 14157 h 16578"/>
                    <a:gd name="connsiteX9" fmla="*/ 44317 w 92928"/>
                    <a:gd name="connsiteY9" fmla="*/ 12275 h 16578"/>
                    <a:gd name="connsiteX10" fmla="*/ 22466 w 92928"/>
                    <a:gd name="connsiteY10" fmla="*/ 12066 h 16578"/>
                    <a:gd name="connsiteX11" fmla="*/ 11593 w 92928"/>
                    <a:gd name="connsiteY11" fmla="*/ 12066 h 16578"/>
                    <a:gd name="connsiteX12" fmla="*/ 6260 w 92928"/>
                    <a:gd name="connsiteY12" fmla="*/ 11230 h 16578"/>
                    <a:gd name="connsiteX13" fmla="*/ 1242 w 92928"/>
                    <a:gd name="connsiteY13" fmla="*/ 9662 h 16578"/>
                    <a:gd name="connsiteX14" fmla="*/ 1033 w 92928"/>
                    <a:gd name="connsiteY14" fmla="*/ 5166 h 16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2928" h="16578">
                      <a:moveTo>
                        <a:pt x="1033" y="5166"/>
                      </a:moveTo>
                      <a:cubicBezTo>
                        <a:pt x="2287" y="4016"/>
                        <a:pt x="3751" y="3388"/>
                        <a:pt x="5424" y="2866"/>
                      </a:cubicBezTo>
                      <a:cubicBezTo>
                        <a:pt x="7410" y="2238"/>
                        <a:pt x="9083" y="1402"/>
                        <a:pt x="11174" y="1088"/>
                      </a:cubicBezTo>
                      <a:cubicBezTo>
                        <a:pt x="14938" y="566"/>
                        <a:pt x="18702" y="357"/>
                        <a:pt x="22570" y="147"/>
                      </a:cubicBezTo>
                      <a:cubicBezTo>
                        <a:pt x="30203" y="-166"/>
                        <a:pt x="37835" y="43"/>
                        <a:pt x="45363" y="566"/>
                      </a:cubicBezTo>
                      <a:cubicBezTo>
                        <a:pt x="52786" y="984"/>
                        <a:pt x="60313" y="1611"/>
                        <a:pt x="67632" y="2761"/>
                      </a:cubicBezTo>
                      <a:cubicBezTo>
                        <a:pt x="75055" y="3911"/>
                        <a:pt x="83315" y="4852"/>
                        <a:pt x="90111" y="7989"/>
                      </a:cubicBezTo>
                      <a:cubicBezTo>
                        <a:pt x="94816" y="10184"/>
                        <a:pt x="93247" y="16457"/>
                        <a:pt x="88229" y="16562"/>
                      </a:cubicBezTo>
                      <a:cubicBezTo>
                        <a:pt x="81119" y="16771"/>
                        <a:pt x="73696" y="14994"/>
                        <a:pt x="66587" y="14157"/>
                      </a:cubicBezTo>
                      <a:cubicBezTo>
                        <a:pt x="59163" y="13321"/>
                        <a:pt x="51740" y="12589"/>
                        <a:pt x="44317" y="12275"/>
                      </a:cubicBezTo>
                      <a:cubicBezTo>
                        <a:pt x="36999" y="11962"/>
                        <a:pt x="29785" y="11962"/>
                        <a:pt x="22466" y="12066"/>
                      </a:cubicBezTo>
                      <a:cubicBezTo>
                        <a:pt x="18807" y="12066"/>
                        <a:pt x="15252" y="12171"/>
                        <a:pt x="11593" y="12066"/>
                      </a:cubicBezTo>
                      <a:cubicBezTo>
                        <a:pt x="9711" y="12066"/>
                        <a:pt x="8142" y="11439"/>
                        <a:pt x="6260" y="11230"/>
                      </a:cubicBezTo>
                      <a:cubicBezTo>
                        <a:pt x="4379" y="11021"/>
                        <a:pt x="2810" y="10603"/>
                        <a:pt x="1242" y="9662"/>
                      </a:cubicBezTo>
                      <a:cubicBezTo>
                        <a:pt x="-431" y="8616"/>
                        <a:pt x="-326" y="6316"/>
                        <a:pt x="1033" y="5166"/>
                      </a:cubicBezTo>
                      <a:close/>
                    </a:path>
                  </a:pathLst>
                </a:custGeom>
                <a:solidFill>
                  <a:srgbClr val="BC4A60">
                    <a:alpha val="50000"/>
                  </a:srgbClr>
                </a:solidFill>
                <a:ln w="1045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60" name="Freeform: Shape 59">
                <a:extLst>
                  <a:ext uri="{FF2B5EF4-FFF2-40B4-BE49-F238E27FC236}">
                    <a16:creationId xmlns:a16="http://schemas.microsoft.com/office/drawing/2014/main" id="{94C23E1D-C1C1-41FD-9906-FEF5EDC867A3}"/>
                  </a:ext>
                </a:extLst>
              </p:cNvPr>
              <p:cNvSpPr/>
              <p:nvPr/>
            </p:nvSpPr>
            <p:spPr>
              <a:xfrm>
                <a:off x="9704536" y="2906407"/>
                <a:ext cx="753725" cy="1045790"/>
              </a:xfrm>
              <a:custGeom>
                <a:avLst/>
                <a:gdLst>
                  <a:gd name="connsiteX0" fmla="*/ 692758 w 753725"/>
                  <a:gd name="connsiteY0" fmla="*/ 4687 h 1045790"/>
                  <a:gd name="connsiteX1" fmla="*/ 722974 w 753725"/>
                  <a:gd name="connsiteY1" fmla="*/ 307991 h 1045790"/>
                  <a:gd name="connsiteX2" fmla="*/ 318359 w 753725"/>
                  <a:gd name="connsiteY2" fmla="*/ 1045602 h 1045790"/>
                  <a:gd name="connsiteX3" fmla="*/ 0 w 753725"/>
                  <a:gd name="connsiteY3" fmla="*/ 419129 h 1045790"/>
                  <a:gd name="connsiteX4" fmla="*/ 134976 w 753725"/>
                  <a:gd name="connsiteY4" fmla="*/ 362044 h 1045790"/>
                  <a:gd name="connsiteX5" fmla="*/ 320555 w 753725"/>
                  <a:gd name="connsiteY5" fmla="*/ 705600 h 1045790"/>
                  <a:gd name="connsiteX6" fmla="*/ 487942 w 753725"/>
                  <a:gd name="connsiteY6" fmla="*/ 218181 h 1045790"/>
                  <a:gd name="connsiteX7" fmla="*/ 692758 w 753725"/>
                  <a:gd name="connsiteY7" fmla="*/ 4687 h 1045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3725" h="1045790">
                    <a:moveTo>
                      <a:pt x="692758" y="4687"/>
                    </a:moveTo>
                    <a:cubicBezTo>
                      <a:pt x="777131" y="37412"/>
                      <a:pt x="760508" y="145622"/>
                      <a:pt x="722974" y="307991"/>
                    </a:cubicBezTo>
                    <a:cubicBezTo>
                      <a:pt x="693177" y="437007"/>
                      <a:pt x="492751" y="1028664"/>
                      <a:pt x="318359" y="1045602"/>
                    </a:cubicBezTo>
                    <a:cubicBezTo>
                      <a:pt x="195825" y="1057520"/>
                      <a:pt x="22792" y="502248"/>
                      <a:pt x="0" y="419129"/>
                    </a:cubicBezTo>
                    <a:cubicBezTo>
                      <a:pt x="34189" y="409510"/>
                      <a:pt x="70050" y="410033"/>
                      <a:pt x="134976" y="362044"/>
                    </a:cubicBezTo>
                    <a:cubicBezTo>
                      <a:pt x="164355" y="409406"/>
                      <a:pt x="293476" y="633146"/>
                      <a:pt x="320555" y="705600"/>
                    </a:cubicBezTo>
                    <a:cubicBezTo>
                      <a:pt x="338120" y="631055"/>
                      <a:pt x="437548" y="360685"/>
                      <a:pt x="487942" y="218181"/>
                    </a:cubicBezTo>
                    <a:cubicBezTo>
                      <a:pt x="523385" y="117812"/>
                      <a:pt x="608385" y="-28038"/>
                      <a:pt x="692758" y="4687"/>
                    </a:cubicBezTo>
                    <a:close/>
                  </a:path>
                </a:pathLst>
              </a:custGeom>
              <a:solidFill>
                <a:srgbClr val="FF9650"/>
              </a:solidFill>
              <a:ln w="1045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4" name="Freeform: Shape 13">
              <a:extLst>
                <a:ext uri="{FF2B5EF4-FFF2-40B4-BE49-F238E27FC236}">
                  <a16:creationId xmlns:a16="http://schemas.microsoft.com/office/drawing/2014/main" id="{285293EE-3F2A-4FFC-96ED-2E8AD6ACC99E}"/>
                </a:ext>
              </a:extLst>
            </p:cNvPr>
            <p:cNvSpPr/>
            <p:nvPr/>
          </p:nvSpPr>
          <p:spPr>
            <a:xfrm>
              <a:off x="10382468" y="2864359"/>
              <a:ext cx="520647" cy="398946"/>
            </a:xfrm>
            <a:custGeom>
              <a:avLst/>
              <a:gdLst>
                <a:gd name="connsiteX0" fmla="*/ 278088 w 520647"/>
                <a:gd name="connsiteY0" fmla="*/ 0 h 398946"/>
                <a:gd name="connsiteX1" fmla="*/ 712 w 520647"/>
                <a:gd name="connsiteY1" fmla="*/ 36802 h 398946"/>
                <a:gd name="connsiteX2" fmla="*/ 56752 w 520647"/>
                <a:gd name="connsiteY2" fmla="*/ 284694 h 398946"/>
                <a:gd name="connsiteX3" fmla="*/ 140916 w 520647"/>
                <a:gd name="connsiteY3" fmla="*/ 378476 h 398946"/>
                <a:gd name="connsiteX4" fmla="*/ 374170 w 520647"/>
                <a:gd name="connsiteY4" fmla="*/ 315955 h 398946"/>
                <a:gd name="connsiteX5" fmla="*/ 476631 w 520647"/>
                <a:gd name="connsiteY5" fmla="*/ 139890 h 398946"/>
                <a:gd name="connsiteX6" fmla="*/ 520647 w 520647"/>
                <a:gd name="connsiteY6" fmla="*/ 40043 h 398946"/>
                <a:gd name="connsiteX7" fmla="*/ 278088 w 520647"/>
                <a:gd name="connsiteY7" fmla="*/ 0 h 398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0647" h="398946">
                  <a:moveTo>
                    <a:pt x="278088" y="0"/>
                  </a:moveTo>
                  <a:cubicBezTo>
                    <a:pt x="191728" y="0"/>
                    <a:pt x="73271" y="3973"/>
                    <a:pt x="712" y="36802"/>
                  </a:cubicBezTo>
                  <a:cubicBezTo>
                    <a:pt x="-4410" y="120862"/>
                    <a:pt x="18486" y="210776"/>
                    <a:pt x="56752" y="284694"/>
                  </a:cubicBezTo>
                  <a:cubicBezTo>
                    <a:pt x="76512" y="322855"/>
                    <a:pt x="104323" y="357775"/>
                    <a:pt x="140916" y="378476"/>
                  </a:cubicBezTo>
                  <a:cubicBezTo>
                    <a:pt x="224244" y="425629"/>
                    <a:pt x="316876" y="385690"/>
                    <a:pt x="374170" y="315955"/>
                  </a:cubicBezTo>
                  <a:cubicBezTo>
                    <a:pt x="416932" y="263888"/>
                    <a:pt x="448716" y="201366"/>
                    <a:pt x="476631" y="139890"/>
                  </a:cubicBezTo>
                  <a:cubicBezTo>
                    <a:pt x="491687" y="106852"/>
                    <a:pt x="507055" y="73709"/>
                    <a:pt x="520647" y="40043"/>
                  </a:cubicBezTo>
                  <a:cubicBezTo>
                    <a:pt x="435960" y="12546"/>
                    <a:pt x="341655" y="0"/>
                    <a:pt x="278088" y="0"/>
                  </a:cubicBezTo>
                  <a:close/>
                </a:path>
              </a:pathLst>
            </a:custGeom>
            <a:solidFill>
              <a:srgbClr val="E29A8F"/>
            </a:solidFill>
            <a:ln w="1045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15" name="Graphic 4">
              <a:extLst>
                <a:ext uri="{FF2B5EF4-FFF2-40B4-BE49-F238E27FC236}">
                  <a16:creationId xmlns:a16="http://schemas.microsoft.com/office/drawing/2014/main" id="{D7E0ACE1-57EF-4D8C-96B8-604E50EC6A92}"/>
                </a:ext>
              </a:extLst>
            </p:cNvPr>
            <p:cNvGrpSpPr/>
            <p:nvPr/>
          </p:nvGrpSpPr>
          <p:grpSpPr>
            <a:xfrm>
              <a:off x="10136230" y="2884433"/>
              <a:ext cx="932390" cy="1214441"/>
              <a:chOff x="10136230" y="2884433"/>
              <a:chExt cx="932390" cy="1214441"/>
            </a:xfrm>
            <a:solidFill>
              <a:schemeClr val="accent1"/>
            </a:solidFill>
          </p:grpSpPr>
          <p:sp>
            <p:nvSpPr>
              <p:cNvPr id="50" name="Freeform: Shape 49">
                <a:extLst>
                  <a:ext uri="{FF2B5EF4-FFF2-40B4-BE49-F238E27FC236}">
                    <a16:creationId xmlns:a16="http://schemas.microsoft.com/office/drawing/2014/main" id="{C0E005E5-0C03-4B9D-AD78-27338599A173}"/>
                  </a:ext>
                </a:extLst>
              </p:cNvPr>
              <p:cNvSpPr/>
              <p:nvPr/>
            </p:nvSpPr>
            <p:spPr>
              <a:xfrm>
                <a:off x="10136230" y="2884433"/>
                <a:ext cx="932285" cy="1214441"/>
              </a:xfrm>
              <a:custGeom>
                <a:avLst/>
                <a:gdLst>
                  <a:gd name="connsiteX0" fmla="*/ 0 w 932285"/>
                  <a:gd name="connsiteY0" fmla="*/ 1100509 h 1214441"/>
                  <a:gd name="connsiteX1" fmla="*/ 418 w 932285"/>
                  <a:gd name="connsiteY1" fmla="*/ 1103123 h 1214441"/>
                  <a:gd name="connsiteX2" fmla="*/ 368544 w 932285"/>
                  <a:gd name="connsiteY2" fmla="*/ 1212379 h 1214441"/>
                  <a:gd name="connsiteX3" fmla="*/ 805987 w 932285"/>
                  <a:gd name="connsiteY3" fmla="*/ 1149544 h 1214441"/>
                  <a:gd name="connsiteX4" fmla="*/ 827002 w 932285"/>
                  <a:gd name="connsiteY4" fmla="*/ 1129052 h 1214441"/>
                  <a:gd name="connsiteX5" fmla="*/ 807974 w 932285"/>
                  <a:gd name="connsiteY5" fmla="*/ 1062348 h 1214441"/>
                  <a:gd name="connsiteX6" fmla="*/ 781104 w 932285"/>
                  <a:gd name="connsiteY6" fmla="*/ 974315 h 1214441"/>
                  <a:gd name="connsiteX7" fmla="*/ 763017 w 932285"/>
                  <a:gd name="connsiteY7" fmla="*/ 889524 h 1214441"/>
                  <a:gd name="connsiteX8" fmla="*/ 769917 w 932285"/>
                  <a:gd name="connsiteY8" fmla="*/ 793441 h 1214441"/>
                  <a:gd name="connsiteX9" fmla="*/ 774204 w 932285"/>
                  <a:gd name="connsiteY9" fmla="*/ 784973 h 1214441"/>
                  <a:gd name="connsiteX10" fmla="*/ 813097 w 932285"/>
                  <a:gd name="connsiteY10" fmla="*/ 700600 h 1214441"/>
                  <a:gd name="connsiteX11" fmla="*/ 856800 w 932285"/>
                  <a:gd name="connsiteY11" fmla="*/ 595212 h 1214441"/>
                  <a:gd name="connsiteX12" fmla="*/ 888060 w 932285"/>
                  <a:gd name="connsiteY12" fmla="*/ 508852 h 1214441"/>
                  <a:gd name="connsiteX13" fmla="*/ 920890 w 932285"/>
                  <a:gd name="connsiteY13" fmla="*/ 392591 h 1214441"/>
                  <a:gd name="connsiteX14" fmla="*/ 932286 w 932285"/>
                  <a:gd name="connsiteY14" fmla="*/ 301945 h 1214441"/>
                  <a:gd name="connsiteX15" fmla="*/ 932286 w 932285"/>
                  <a:gd name="connsiteY15" fmla="*/ 298808 h 1214441"/>
                  <a:gd name="connsiteX16" fmla="*/ 921517 w 932285"/>
                  <a:gd name="connsiteY16" fmla="*/ 190806 h 1214441"/>
                  <a:gd name="connsiteX17" fmla="*/ 881369 w 932285"/>
                  <a:gd name="connsiteY17" fmla="*/ 99847 h 1214441"/>
                  <a:gd name="connsiteX18" fmla="*/ 702586 w 932285"/>
                  <a:gd name="connsiteY18" fmla="*/ 0 h 1214441"/>
                  <a:gd name="connsiteX19" fmla="*/ 655015 w 932285"/>
                  <a:gd name="connsiteY19" fmla="*/ 103506 h 1214441"/>
                  <a:gd name="connsiteX20" fmla="*/ 606712 w 932285"/>
                  <a:gd name="connsiteY20" fmla="*/ 193629 h 1214441"/>
                  <a:gd name="connsiteX21" fmla="*/ 531853 w 932285"/>
                  <a:gd name="connsiteY21" fmla="*/ 301631 h 1214441"/>
                  <a:gd name="connsiteX22" fmla="*/ 434202 w 932285"/>
                  <a:gd name="connsiteY22" fmla="*/ 354534 h 1214441"/>
                  <a:gd name="connsiteX23" fmla="*/ 369381 w 932285"/>
                  <a:gd name="connsiteY23" fmla="*/ 286785 h 1214441"/>
                  <a:gd name="connsiteX24" fmla="*/ 335192 w 932285"/>
                  <a:gd name="connsiteY24" fmla="*/ 172196 h 1214441"/>
                  <a:gd name="connsiteX25" fmla="*/ 322123 w 932285"/>
                  <a:gd name="connsiteY25" fmla="*/ 76113 h 1214441"/>
                  <a:gd name="connsiteX26" fmla="*/ 317941 w 932285"/>
                  <a:gd name="connsiteY26" fmla="*/ 10142 h 1214441"/>
                  <a:gd name="connsiteX27" fmla="*/ 181920 w 932285"/>
                  <a:gd name="connsiteY27" fmla="*/ 51021 h 1214441"/>
                  <a:gd name="connsiteX28" fmla="*/ 181397 w 932285"/>
                  <a:gd name="connsiteY28" fmla="*/ 52276 h 1214441"/>
                  <a:gd name="connsiteX29" fmla="*/ 144386 w 932285"/>
                  <a:gd name="connsiteY29" fmla="*/ 143549 h 1214441"/>
                  <a:gd name="connsiteX30" fmla="*/ 107374 w 932285"/>
                  <a:gd name="connsiteY30" fmla="*/ 241828 h 1214441"/>
                  <a:gd name="connsiteX31" fmla="*/ 75591 w 932285"/>
                  <a:gd name="connsiteY31" fmla="*/ 334565 h 1214441"/>
                  <a:gd name="connsiteX32" fmla="*/ 46944 w 932285"/>
                  <a:gd name="connsiteY32" fmla="*/ 432216 h 1214441"/>
                  <a:gd name="connsiteX33" fmla="*/ 28333 w 932285"/>
                  <a:gd name="connsiteY33" fmla="*/ 524221 h 1214441"/>
                  <a:gd name="connsiteX34" fmla="*/ 26138 w 932285"/>
                  <a:gd name="connsiteY34" fmla="*/ 567401 h 1214441"/>
                  <a:gd name="connsiteX35" fmla="*/ 34398 w 932285"/>
                  <a:gd name="connsiteY35" fmla="*/ 629086 h 1214441"/>
                  <a:gd name="connsiteX36" fmla="*/ 34398 w 932285"/>
                  <a:gd name="connsiteY36" fmla="*/ 629191 h 1214441"/>
                  <a:gd name="connsiteX37" fmla="*/ 65031 w 932285"/>
                  <a:gd name="connsiteY37" fmla="*/ 723915 h 1214441"/>
                  <a:gd name="connsiteX38" fmla="*/ 60012 w 932285"/>
                  <a:gd name="connsiteY38" fmla="*/ 840699 h 1214441"/>
                  <a:gd name="connsiteX39" fmla="*/ 59176 w 932285"/>
                  <a:gd name="connsiteY39" fmla="*/ 845926 h 1214441"/>
                  <a:gd name="connsiteX40" fmla="*/ 42553 w 932285"/>
                  <a:gd name="connsiteY40" fmla="*/ 930508 h 1214441"/>
                  <a:gd name="connsiteX41" fmla="*/ 22061 w 932285"/>
                  <a:gd name="connsiteY41" fmla="*/ 1016241 h 1214441"/>
                  <a:gd name="connsiteX42" fmla="*/ 0 w 932285"/>
                  <a:gd name="connsiteY42" fmla="*/ 1100509 h 1214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932285" h="1214441">
                    <a:moveTo>
                      <a:pt x="0" y="1100509"/>
                    </a:moveTo>
                    <a:cubicBezTo>
                      <a:pt x="0" y="1101241"/>
                      <a:pt x="105" y="1102182"/>
                      <a:pt x="418" y="1103123"/>
                    </a:cubicBezTo>
                    <a:cubicBezTo>
                      <a:pt x="5855" y="1124765"/>
                      <a:pt x="76845" y="1197637"/>
                      <a:pt x="368544" y="1212379"/>
                    </a:cubicBezTo>
                    <a:cubicBezTo>
                      <a:pt x="609640" y="1224507"/>
                      <a:pt x="754653" y="1180491"/>
                      <a:pt x="805987" y="1149544"/>
                    </a:cubicBezTo>
                    <a:cubicBezTo>
                      <a:pt x="819579" y="1141284"/>
                      <a:pt x="826584" y="1134070"/>
                      <a:pt x="827002" y="1129052"/>
                    </a:cubicBezTo>
                    <a:cubicBezTo>
                      <a:pt x="827630" y="1121838"/>
                      <a:pt x="819266" y="1096536"/>
                      <a:pt x="807974" y="1062348"/>
                    </a:cubicBezTo>
                    <a:cubicBezTo>
                      <a:pt x="799505" y="1036628"/>
                      <a:pt x="789677" y="1006099"/>
                      <a:pt x="781104" y="974315"/>
                    </a:cubicBezTo>
                    <a:cubicBezTo>
                      <a:pt x="773472" y="945982"/>
                      <a:pt x="766781" y="916812"/>
                      <a:pt x="763017" y="889524"/>
                    </a:cubicBezTo>
                    <a:cubicBezTo>
                      <a:pt x="757789" y="851258"/>
                      <a:pt x="758312" y="816652"/>
                      <a:pt x="769917" y="793441"/>
                    </a:cubicBezTo>
                    <a:cubicBezTo>
                      <a:pt x="771276" y="790828"/>
                      <a:pt x="772636" y="788005"/>
                      <a:pt x="774204" y="784973"/>
                    </a:cubicBezTo>
                    <a:cubicBezTo>
                      <a:pt x="784345" y="764167"/>
                      <a:pt x="798042" y="734997"/>
                      <a:pt x="813097" y="700600"/>
                    </a:cubicBezTo>
                    <a:cubicBezTo>
                      <a:pt x="827002" y="669025"/>
                      <a:pt x="842162" y="633059"/>
                      <a:pt x="856800" y="595212"/>
                    </a:cubicBezTo>
                    <a:cubicBezTo>
                      <a:pt x="867673" y="566983"/>
                      <a:pt x="878442" y="537918"/>
                      <a:pt x="888060" y="508852"/>
                    </a:cubicBezTo>
                    <a:cubicBezTo>
                      <a:pt x="901338" y="468913"/>
                      <a:pt x="912839" y="429289"/>
                      <a:pt x="920890" y="392591"/>
                    </a:cubicBezTo>
                    <a:cubicBezTo>
                      <a:pt x="927999" y="359239"/>
                      <a:pt x="932286" y="328396"/>
                      <a:pt x="932286" y="301945"/>
                    </a:cubicBezTo>
                    <a:lnTo>
                      <a:pt x="932286" y="298808"/>
                    </a:lnTo>
                    <a:cubicBezTo>
                      <a:pt x="932181" y="260961"/>
                      <a:pt x="929358" y="224577"/>
                      <a:pt x="921517" y="190806"/>
                    </a:cubicBezTo>
                    <a:cubicBezTo>
                      <a:pt x="913885" y="157559"/>
                      <a:pt x="901234" y="126821"/>
                      <a:pt x="881369" y="99847"/>
                    </a:cubicBezTo>
                    <a:cubicBezTo>
                      <a:pt x="847285" y="53426"/>
                      <a:pt x="791559" y="18087"/>
                      <a:pt x="702586" y="0"/>
                    </a:cubicBezTo>
                    <a:cubicBezTo>
                      <a:pt x="702586" y="0"/>
                      <a:pt x="683976" y="45271"/>
                      <a:pt x="655015" y="103506"/>
                    </a:cubicBezTo>
                    <a:cubicBezTo>
                      <a:pt x="641110" y="131735"/>
                      <a:pt x="624591" y="162996"/>
                      <a:pt x="606712" y="193629"/>
                    </a:cubicBezTo>
                    <a:cubicBezTo>
                      <a:pt x="583607" y="233359"/>
                      <a:pt x="557991" y="271938"/>
                      <a:pt x="531853" y="301631"/>
                    </a:cubicBezTo>
                    <a:cubicBezTo>
                      <a:pt x="498501" y="339688"/>
                      <a:pt x="464522" y="362898"/>
                      <a:pt x="434202" y="354534"/>
                    </a:cubicBezTo>
                    <a:cubicBezTo>
                      <a:pt x="406601" y="346797"/>
                      <a:pt x="385377" y="320973"/>
                      <a:pt x="369381" y="286785"/>
                    </a:cubicBezTo>
                    <a:cubicBezTo>
                      <a:pt x="353698" y="253642"/>
                      <a:pt x="342720" y="212553"/>
                      <a:pt x="335192" y="172196"/>
                    </a:cubicBezTo>
                    <a:cubicBezTo>
                      <a:pt x="328710" y="137799"/>
                      <a:pt x="324632" y="103820"/>
                      <a:pt x="322123" y="76113"/>
                    </a:cubicBezTo>
                    <a:cubicBezTo>
                      <a:pt x="318464" y="37220"/>
                      <a:pt x="317941" y="10142"/>
                      <a:pt x="317941" y="10142"/>
                    </a:cubicBezTo>
                    <a:lnTo>
                      <a:pt x="181920" y="51021"/>
                    </a:lnTo>
                    <a:cubicBezTo>
                      <a:pt x="181920" y="51021"/>
                      <a:pt x="181711" y="51439"/>
                      <a:pt x="181397" y="52276"/>
                    </a:cubicBezTo>
                    <a:cubicBezTo>
                      <a:pt x="178574" y="59072"/>
                      <a:pt x="163832" y="94096"/>
                      <a:pt x="144386" y="143549"/>
                    </a:cubicBezTo>
                    <a:cubicBezTo>
                      <a:pt x="133199" y="172301"/>
                      <a:pt x="120339" y="205967"/>
                      <a:pt x="107374" y="241828"/>
                    </a:cubicBezTo>
                    <a:cubicBezTo>
                      <a:pt x="96605" y="271729"/>
                      <a:pt x="85732" y="303095"/>
                      <a:pt x="75591" y="334565"/>
                    </a:cubicBezTo>
                    <a:cubicBezTo>
                      <a:pt x="64926" y="367812"/>
                      <a:pt x="54994" y="400955"/>
                      <a:pt x="46944" y="432216"/>
                    </a:cubicBezTo>
                    <a:cubicBezTo>
                      <a:pt x="38266" y="465777"/>
                      <a:pt x="31574" y="497247"/>
                      <a:pt x="28333" y="524221"/>
                    </a:cubicBezTo>
                    <a:cubicBezTo>
                      <a:pt x="26347" y="540322"/>
                      <a:pt x="25511" y="554959"/>
                      <a:pt x="26138" y="567401"/>
                    </a:cubicBezTo>
                    <a:cubicBezTo>
                      <a:pt x="27392" y="592912"/>
                      <a:pt x="30425" y="612672"/>
                      <a:pt x="34398" y="629086"/>
                    </a:cubicBezTo>
                    <a:lnTo>
                      <a:pt x="34398" y="629191"/>
                    </a:lnTo>
                    <a:cubicBezTo>
                      <a:pt x="43807" y="669234"/>
                      <a:pt x="58549" y="688994"/>
                      <a:pt x="65031" y="723915"/>
                    </a:cubicBezTo>
                    <a:cubicBezTo>
                      <a:pt x="69736" y="749843"/>
                      <a:pt x="69840" y="783927"/>
                      <a:pt x="60012" y="840699"/>
                    </a:cubicBezTo>
                    <a:cubicBezTo>
                      <a:pt x="59803" y="842476"/>
                      <a:pt x="59490" y="844253"/>
                      <a:pt x="59176" y="845926"/>
                    </a:cubicBezTo>
                    <a:cubicBezTo>
                      <a:pt x="53426" y="877605"/>
                      <a:pt x="47885" y="905730"/>
                      <a:pt x="42553" y="930508"/>
                    </a:cubicBezTo>
                    <a:cubicBezTo>
                      <a:pt x="35129" y="965010"/>
                      <a:pt x="28124" y="993344"/>
                      <a:pt x="22061" y="1016241"/>
                    </a:cubicBezTo>
                    <a:cubicBezTo>
                      <a:pt x="8887" y="1066007"/>
                      <a:pt x="0" y="1090786"/>
                      <a:pt x="0" y="1100509"/>
                    </a:cubicBezTo>
                    <a:close/>
                  </a:path>
                </a:pathLst>
              </a:custGeom>
              <a:solidFill>
                <a:srgbClr val="658EE5"/>
              </a:solidFill>
              <a:ln w="1045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51" name="Graphic 4">
                <a:extLst>
                  <a:ext uri="{FF2B5EF4-FFF2-40B4-BE49-F238E27FC236}">
                    <a16:creationId xmlns:a16="http://schemas.microsoft.com/office/drawing/2014/main" id="{A5BACDA2-5FF9-4132-9C31-478410A75E18}"/>
                  </a:ext>
                </a:extLst>
              </p:cNvPr>
              <p:cNvGrpSpPr/>
              <p:nvPr/>
            </p:nvGrpSpPr>
            <p:grpSpPr>
              <a:xfrm>
                <a:off x="10136230" y="2936918"/>
                <a:ext cx="932390" cy="1104394"/>
                <a:chOff x="10136230" y="2936918"/>
                <a:chExt cx="932390" cy="1104394"/>
              </a:xfrm>
              <a:solidFill>
                <a:srgbClr val="FFFFFF"/>
              </a:solidFill>
            </p:grpSpPr>
            <p:sp>
              <p:nvSpPr>
                <p:cNvPr id="52" name="Freeform: Shape 51">
                  <a:extLst>
                    <a:ext uri="{FF2B5EF4-FFF2-40B4-BE49-F238E27FC236}">
                      <a16:creationId xmlns:a16="http://schemas.microsoft.com/office/drawing/2014/main" id="{E2E4119E-2624-4E9D-94A6-A26A1B1D8611}"/>
                    </a:ext>
                  </a:extLst>
                </p:cNvPr>
                <p:cNvSpPr/>
                <p:nvPr/>
              </p:nvSpPr>
              <p:spPr>
                <a:xfrm>
                  <a:off x="10212030" y="3126365"/>
                  <a:ext cx="856590" cy="157713"/>
                </a:xfrm>
                <a:custGeom>
                  <a:avLst/>
                  <a:gdLst>
                    <a:gd name="connsiteX0" fmla="*/ 0 w 856590"/>
                    <a:gd name="connsiteY0" fmla="*/ 92632 h 157713"/>
                    <a:gd name="connsiteX1" fmla="*/ 432216 w 856590"/>
                    <a:gd name="connsiteY1" fmla="*/ 149718 h 157713"/>
                    <a:gd name="connsiteX2" fmla="*/ 845194 w 856590"/>
                    <a:gd name="connsiteY2" fmla="*/ 150659 h 157713"/>
                    <a:gd name="connsiteX3" fmla="*/ 856590 w 856590"/>
                    <a:gd name="connsiteY3" fmla="*/ 60012 h 157713"/>
                    <a:gd name="connsiteX4" fmla="*/ 856590 w 856590"/>
                    <a:gd name="connsiteY4" fmla="*/ 56876 h 157713"/>
                    <a:gd name="connsiteX5" fmla="*/ 456263 w 856590"/>
                    <a:gd name="connsiteY5" fmla="*/ 59803 h 157713"/>
                    <a:gd name="connsiteX6" fmla="*/ 358612 w 856590"/>
                    <a:gd name="connsiteY6" fmla="*/ 112707 h 157713"/>
                    <a:gd name="connsiteX7" fmla="*/ 293790 w 856590"/>
                    <a:gd name="connsiteY7" fmla="*/ 44957 h 157713"/>
                    <a:gd name="connsiteX8" fmla="*/ 120757 w 856590"/>
                    <a:gd name="connsiteY8" fmla="*/ 18715 h 157713"/>
                    <a:gd name="connsiteX9" fmla="*/ 31784 w 856590"/>
                    <a:gd name="connsiteY9" fmla="*/ 0 h 157713"/>
                    <a:gd name="connsiteX10" fmla="*/ 0 w 856590"/>
                    <a:gd name="connsiteY10" fmla="*/ 92632 h 157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56590" h="157713">
                      <a:moveTo>
                        <a:pt x="0" y="92632"/>
                      </a:moveTo>
                      <a:cubicBezTo>
                        <a:pt x="142399" y="124730"/>
                        <a:pt x="291490" y="139890"/>
                        <a:pt x="432216" y="149718"/>
                      </a:cubicBezTo>
                      <a:cubicBezTo>
                        <a:pt x="568551" y="159232"/>
                        <a:pt x="707604" y="161114"/>
                        <a:pt x="845194" y="150659"/>
                      </a:cubicBezTo>
                      <a:cubicBezTo>
                        <a:pt x="852304" y="117307"/>
                        <a:pt x="856590" y="86464"/>
                        <a:pt x="856590" y="60012"/>
                      </a:cubicBezTo>
                      <a:lnTo>
                        <a:pt x="856590" y="56876"/>
                      </a:lnTo>
                      <a:cubicBezTo>
                        <a:pt x="723392" y="65449"/>
                        <a:pt x="590611" y="68377"/>
                        <a:pt x="456263" y="59803"/>
                      </a:cubicBezTo>
                      <a:cubicBezTo>
                        <a:pt x="422911" y="97860"/>
                        <a:pt x="388932" y="121071"/>
                        <a:pt x="358612" y="112707"/>
                      </a:cubicBezTo>
                      <a:cubicBezTo>
                        <a:pt x="331010" y="104970"/>
                        <a:pt x="309786" y="79145"/>
                        <a:pt x="293790" y="44957"/>
                      </a:cubicBezTo>
                      <a:cubicBezTo>
                        <a:pt x="235868" y="38057"/>
                        <a:pt x="178156" y="29274"/>
                        <a:pt x="120757" y="18715"/>
                      </a:cubicBezTo>
                      <a:cubicBezTo>
                        <a:pt x="90960" y="13069"/>
                        <a:pt x="61267" y="6796"/>
                        <a:pt x="31784" y="0"/>
                      </a:cubicBezTo>
                      <a:cubicBezTo>
                        <a:pt x="21119" y="29902"/>
                        <a:pt x="10246" y="61267"/>
                        <a:pt x="0" y="92632"/>
                      </a:cubicBezTo>
                      <a:close/>
                    </a:path>
                  </a:pathLst>
                </a:custGeom>
                <a:solidFill>
                  <a:srgbClr val="FFFFFF"/>
                </a:solidFill>
                <a:ln w="1045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 name="Freeform: Shape 52">
                  <a:extLst>
                    <a:ext uri="{FF2B5EF4-FFF2-40B4-BE49-F238E27FC236}">
                      <a16:creationId xmlns:a16="http://schemas.microsoft.com/office/drawing/2014/main" id="{DA169F8E-4608-47FD-9BE3-F677728FCE07}"/>
                    </a:ext>
                  </a:extLst>
                </p:cNvPr>
                <p:cNvSpPr/>
                <p:nvPr/>
              </p:nvSpPr>
              <p:spPr>
                <a:xfrm>
                  <a:off x="10743047" y="2984280"/>
                  <a:ext cx="314804" cy="97014"/>
                </a:xfrm>
                <a:custGeom>
                  <a:avLst/>
                  <a:gdLst>
                    <a:gd name="connsiteX0" fmla="*/ 0 w 314804"/>
                    <a:gd name="connsiteY0" fmla="*/ 93887 h 97014"/>
                    <a:gd name="connsiteX1" fmla="*/ 314804 w 314804"/>
                    <a:gd name="connsiteY1" fmla="*/ 90960 h 97014"/>
                    <a:gd name="connsiteX2" fmla="*/ 274657 w 314804"/>
                    <a:gd name="connsiteY2" fmla="*/ 0 h 97014"/>
                    <a:gd name="connsiteX3" fmla="*/ 48303 w 314804"/>
                    <a:gd name="connsiteY3" fmla="*/ 3764 h 97014"/>
                    <a:gd name="connsiteX4" fmla="*/ 0 w 314804"/>
                    <a:gd name="connsiteY4" fmla="*/ 93887 h 970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4804" h="97014">
                      <a:moveTo>
                        <a:pt x="0" y="93887"/>
                      </a:moveTo>
                      <a:cubicBezTo>
                        <a:pt x="104447" y="98592"/>
                        <a:pt x="210044" y="98278"/>
                        <a:pt x="314804" y="90960"/>
                      </a:cubicBezTo>
                      <a:cubicBezTo>
                        <a:pt x="307172" y="57712"/>
                        <a:pt x="294521" y="26974"/>
                        <a:pt x="274657" y="0"/>
                      </a:cubicBezTo>
                      <a:cubicBezTo>
                        <a:pt x="199275" y="3659"/>
                        <a:pt x="123894" y="5332"/>
                        <a:pt x="48303" y="3764"/>
                      </a:cubicBezTo>
                      <a:cubicBezTo>
                        <a:pt x="34398" y="31888"/>
                        <a:pt x="17878" y="63149"/>
                        <a:pt x="0" y="93887"/>
                      </a:cubicBezTo>
                      <a:close/>
                    </a:path>
                  </a:pathLst>
                </a:custGeom>
                <a:solidFill>
                  <a:srgbClr val="FFFFFF"/>
                </a:solidFill>
                <a:ln w="1045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 name="Freeform: Shape 53">
                  <a:extLst>
                    <a:ext uri="{FF2B5EF4-FFF2-40B4-BE49-F238E27FC236}">
                      <a16:creationId xmlns:a16="http://schemas.microsoft.com/office/drawing/2014/main" id="{C3A51BA2-775C-4519-8C50-64720B81BB07}"/>
                    </a:ext>
                  </a:extLst>
                </p:cNvPr>
                <p:cNvSpPr/>
                <p:nvPr/>
              </p:nvSpPr>
              <p:spPr>
                <a:xfrm>
                  <a:off x="10280825" y="2936918"/>
                  <a:ext cx="190701" cy="119816"/>
                </a:xfrm>
                <a:custGeom>
                  <a:avLst/>
                  <a:gdLst>
                    <a:gd name="connsiteX0" fmla="*/ 0 w 190701"/>
                    <a:gd name="connsiteY0" fmla="*/ 91169 h 119816"/>
                    <a:gd name="connsiteX1" fmla="*/ 190702 w 190701"/>
                    <a:gd name="connsiteY1" fmla="*/ 119816 h 119816"/>
                    <a:gd name="connsiteX2" fmla="*/ 177633 w 190701"/>
                    <a:gd name="connsiteY2" fmla="*/ 23733 h 119816"/>
                    <a:gd name="connsiteX3" fmla="*/ 65135 w 190701"/>
                    <a:gd name="connsiteY3" fmla="*/ 5541 h 119816"/>
                    <a:gd name="connsiteX4" fmla="*/ 36907 w 190701"/>
                    <a:gd name="connsiteY4" fmla="*/ 0 h 119816"/>
                    <a:gd name="connsiteX5" fmla="*/ 0 w 190701"/>
                    <a:gd name="connsiteY5" fmla="*/ 91169 h 119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0701" h="119816">
                      <a:moveTo>
                        <a:pt x="0" y="91169"/>
                      </a:moveTo>
                      <a:cubicBezTo>
                        <a:pt x="63045" y="103297"/>
                        <a:pt x="127134" y="112602"/>
                        <a:pt x="190702" y="119816"/>
                      </a:cubicBezTo>
                      <a:cubicBezTo>
                        <a:pt x="184220" y="85419"/>
                        <a:pt x="180142" y="51439"/>
                        <a:pt x="177633" y="23733"/>
                      </a:cubicBezTo>
                      <a:cubicBezTo>
                        <a:pt x="139994" y="18506"/>
                        <a:pt x="102460" y="12442"/>
                        <a:pt x="65135" y="5541"/>
                      </a:cubicBezTo>
                      <a:cubicBezTo>
                        <a:pt x="55726" y="3764"/>
                        <a:pt x="46316" y="1882"/>
                        <a:pt x="36907" y="0"/>
                      </a:cubicBezTo>
                      <a:cubicBezTo>
                        <a:pt x="34084" y="6691"/>
                        <a:pt x="19446" y="41612"/>
                        <a:pt x="0" y="91169"/>
                      </a:cubicBezTo>
                      <a:close/>
                    </a:path>
                  </a:pathLst>
                </a:custGeom>
                <a:solidFill>
                  <a:srgbClr val="FFFFFF"/>
                </a:solidFill>
                <a:ln w="1045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5" name="Freeform: Shape 54">
                  <a:extLst>
                    <a:ext uri="{FF2B5EF4-FFF2-40B4-BE49-F238E27FC236}">
                      <a16:creationId xmlns:a16="http://schemas.microsoft.com/office/drawing/2014/main" id="{5844167F-9D40-403E-9470-3D4A99CD7247}"/>
                    </a:ext>
                  </a:extLst>
                </p:cNvPr>
                <p:cNvSpPr/>
                <p:nvPr/>
              </p:nvSpPr>
              <p:spPr>
                <a:xfrm>
                  <a:off x="10164772" y="3316649"/>
                  <a:ext cx="859622" cy="163068"/>
                </a:xfrm>
                <a:custGeom>
                  <a:avLst/>
                  <a:gdLst>
                    <a:gd name="connsiteX0" fmla="*/ 0 w 859622"/>
                    <a:gd name="connsiteY0" fmla="*/ 92005 h 163068"/>
                    <a:gd name="connsiteX1" fmla="*/ 508643 w 859622"/>
                    <a:gd name="connsiteY1" fmla="*/ 152750 h 163068"/>
                    <a:gd name="connsiteX2" fmla="*/ 828361 w 859622"/>
                    <a:gd name="connsiteY2" fmla="*/ 162996 h 163068"/>
                    <a:gd name="connsiteX3" fmla="*/ 859622 w 859622"/>
                    <a:gd name="connsiteY3" fmla="*/ 76636 h 163068"/>
                    <a:gd name="connsiteX4" fmla="*/ 529553 w 859622"/>
                    <a:gd name="connsiteY4" fmla="*/ 67122 h 163068"/>
                    <a:gd name="connsiteX5" fmla="*/ 165400 w 859622"/>
                    <a:gd name="connsiteY5" fmla="*/ 26974 h 163068"/>
                    <a:gd name="connsiteX6" fmla="*/ 18610 w 859622"/>
                    <a:gd name="connsiteY6" fmla="*/ 0 h 163068"/>
                    <a:gd name="connsiteX7" fmla="*/ 0 w 859622"/>
                    <a:gd name="connsiteY7" fmla="*/ 92005 h 163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9622" h="163068">
                      <a:moveTo>
                        <a:pt x="0" y="92005"/>
                      </a:moveTo>
                      <a:cubicBezTo>
                        <a:pt x="167596" y="125566"/>
                        <a:pt x="342093" y="141145"/>
                        <a:pt x="508643" y="152750"/>
                      </a:cubicBezTo>
                      <a:cubicBezTo>
                        <a:pt x="615181" y="160173"/>
                        <a:pt x="721823" y="163623"/>
                        <a:pt x="828361" y="162996"/>
                      </a:cubicBezTo>
                      <a:cubicBezTo>
                        <a:pt x="839235" y="134767"/>
                        <a:pt x="850004" y="105702"/>
                        <a:pt x="859622" y="76636"/>
                      </a:cubicBezTo>
                      <a:cubicBezTo>
                        <a:pt x="749530" y="77577"/>
                        <a:pt x="639437" y="74441"/>
                        <a:pt x="529553" y="67122"/>
                      </a:cubicBezTo>
                      <a:cubicBezTo>
                        <a:pt x="407542" y="58862"/>
                        <a:pt x="286157" y="45584"/>
                        <a:pt x="165400" y="26974"/>
                      </a:cubicBezTo>
                      <a:cubicBezTo>
                        <a:pt x="116261" y="19342"/>
                        <a:pt x="67331" y="9828"/>
                        <a:pt x="18610" y="0"/>
                      </a:cubicBezTo>
                      <a:cubicBezTo>
                        <a:pt x="9932" y="33561"/>
                        <a:pt x="3241" y="65031"/>
                        <a:pt x="0" y="92005"/>
                      </a:cubicBezTo>
                      <a:close/>
                    </a:path>
                  </a:pathLst>
                </a:custGeom>
                <a:solidFill>
                  <a:srgbClr val="FFFFFF"/>
                </a:solidFill>
                <a:ln w="1045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6" name="Freeform: Shape 55">
                  <a:extLst>
                    <a:ext uri="{FF2B5EF4-FFF2-40B4-BE49-F238E27FC236}">
                      <a16:creationId xmlns:a16="http://schemas.microsoft.com/office/drawing/2014/main" id="{E792FF75-3A3F-4D1E-8657-2DB3447D29ED}"/>
                    </a:ext>
                  </a:extLst>
                </p:cNvPr>
                <p:cNvSpPr/>
                <p:nvPr/>
              </p:nvSpPr>
              <p:spPr>
                <a:xfrm>
                  <a:off x="10170836" y="3513624"/>
                  <a:ext cx="778595" cy="155781"/>
                </a:xfrm>
                <a:custGeom>
                  <a:avLst/>
                  <a:gdLst>
                    <a:gd name="connsiteX0" fmla="*/ 0 w 778595"/>
                    <a:gd name="connsiteY0" fmla="*/ 0 h 155781"/>
                    <a:gd name="connsiteX1" fmla="*/ 30634 w 778595"/>
                    <a:gd name="connsiteY1" fmla="*/ 94724 h 155781"/>
                    <a:gd name="connsiteX2" fmla="*/ 475605 w 778595"/>
                    <a:gd name="connsiteY2" fmla="*/ 142817 h 155781"/>
                    <a:gd name="connsiteX3" fmla="*/ 739702 w 778595"/>
                    <a:gd name="connsiteY3" fmla="*/ 155782 h 155781"/>
                    <a:gd name="connsiteX4" fmla="*/ 778595 w 778595"/>
                    <a:gd name="connsiteY4" fmla="*/ 71409 h 155781"/>
                    <a:gd name="connsiteX5" fmla="*/ 493170 w 778595"/>
                    <a:gd name="connsiteY5" fmla="*/ 58235 h 155781"/>
                    <a:gd name="connsiteX6" fmla="*/ 0 w 778595"/>
                    <a:gd name="connsiteY6" fmla="*/ 0 h 155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8595" h="155781">
                      <a:moveTo>
                        <a:pt x="0" y="0"/>
                      </a:moveTo>
                      <a:cubicBezTo>
                        <a:pt x="9410" y="40043"/>
                        <a:pt x="24151" y="59803"/>
                        <a:pt x="30634" y="94724"/>
                      </a:cubicBezTo>
                      <a:cubicBezTo>
                        <a:pt x="178051" y="118457"/>
                        <a:pt x="327769" y="131944"/>
                        <a:pt x="475605" y="142817"/>
                      </a:cubicBezTo>
                      <a:cubicBezTo>
                        <a:pt x="563533" y="149300"/>
                        <a:pt x="651670" y="153586"/>
                        <a:pt x="739702" y="155782"/>
                      </a:cubicBezTo>
                      <a:cubicBezTo>
                        <a:pt x="749843" y="134976"/>
                        <a:pt x="763540" y="105806"/>
                        <a:pt x="778595" y="71409"/>
                      </a:cubicBezTo>
                      <a:cubicBezTo>
                        <a:pt x="683349" y="69422"/>
                        <a:pt x="588207" y="65031"/>
                        <a:pt x="493170" y="58235"/>
                      </a:cubicBezTo>
                      <a:cubicBezTo>
                        <a:pt x="327455" y="46525"/>
                        <a:pt x="164041" y="23210"/>
                        <a:pt x="0" y="0"/>
                      </a:cubicBezTo>
                      <a:close/>
                    </a:path>
                  </a:pathLst>
                </a:custGeom>
                <a:solidFill>
                  <a:srgbClr val="FFFFFF"/>
                </a:solidFill>
                <a:ln w="1045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 name="Freeform: Shape 56">
                  <a:extLst>
                    <a:ext uri="{FF2B5EF4-FFF2-40B4-BE49-F238E27FC236}">
                      <a16:creationId xmlns:a16="http://schemas.microsoft.com/office/drawing/2014/main" id="{A9238806-041E-4E55-802C-E3C8CF567D07}"/>
                    </a:ext>
                  </a:extLst>
                </p:cNvPr>
                <p:cNvSpPr/>
                <p:nvPr/>
              </p:nvSpPr>
              <p:spPr>
                <a:xfrm>
                  <a:off x="10178782" y="3725236"/>
                  <a:ext cx="738656" cy="136670"/>
                </a:xfrm>
                <a:custGeom>
                  <a:avLst/>
                  <a:gdLst>
                    <a:gd name="connsiteX0" fmla="*/ 0 w 738656"/>
                    <a:gd name="connsiteY0" fmla="*/ 89810 h 136670"/>
                    <a:gd name="connsiteX1" fmla="*/ 404196 w 738656"/>
                    <a:gd name="connsiteY1" fmla="*/ 131839 h 136670"/>
                    <a:gd name="connsiteX2" fmla="*/ 738656 w 738656"/>
                    <a:gd name="connsiteY2" fmla="*/ 133512 h 136670"/>
                    <a:gd name="connsiteX3" fmla="*/ 720569 w 738656"/>
                    <a:gd name="connsiteY3" fmla="*/ 48721 h 136670"/>
                    <a:gd name="connsiteX4" fmla="*/ 426256 w 738656"/>
                    <a:gd name="connsiteY4" fmla="*/ 46525 h 136670"/>
                    <a:gd name="connsiteX5" fmla="*/ 17565 w 738656"/>
                    <a:gd name="connsiteY5" fmla="*/ 0 h 136670"/>
                    <a:gd name="connsiteX6" fmla="*/ 16728 w 738656"/>
                    <a:gd name="connsiteY6" fmla="*/ 5228 h 136670"/>
                    <a:gd name="connsiteX7" fmla="*/ 0 w 738656"/>
                    <a:gd name="connsiteY7" fmla="*/ 89810 h 136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8656" h="136670">
                      <a:moveTo>
                        <a:pt x="0" y="89810"/>
                      </a:moveTo>
                      <a:cubicBezTo>
                        <a:pt x="133617" y="113543"/>
                        <a:pt x="270684" y="124834"/>
                        <a:pt x="404196" y="131839"/>
                      </a:cubicBezTo>
                      <a:cubicBezTo>
                        <a:pt x="515752" y="137799"/>
                        <a:pt x="627309" y="138112"/>
                        <a:pt x="738656" y="133512"/>
                      </a:cubicBezTo>
                      <a:cubicBezTo>
                        <a:pt x="731024" y="105179"/>
                        <a:pt x="724333" y="76009"/>
                        <a:pt x="720569" y="48721"/>
                      </a:cubicBezTo>
                      <a:cubicBezTo>
                        <a:pt x="622500" y="51962"/>
                        <a:pt x="524326" y="51335"/>
                        <a:pt x="426256" y="46525"/>
                      </a:cubicBezTo>
                      <a:cubicBezTo>
                        <a:pt x="288144" y="39729"/>
                        <a:pt x="153063" y="20806"/>
                        <a:pt x="17565" y="0"/>
                      </a:cubicBezTo>
                      <a:cubicBezTo>
                        <a:pt x="17356" y="1777"/>
                        <a:pt x="17042" y="3555"/>
                        <a:pt x="16728" y="5228"/>
                      </a:cubicBezTo>
                      <a:cubicBezTo>
                        <a:pt x="10978" y="37011"/>
                        <a:pt x="5437" y="65031"/>
                        <a:pt x="0" y="89810"/>
                      </a:cubicBezTo>
                      <a:close/>
                    </a:path>
                  </a:pathLst>
                </a:custGeom>
                <a:solidFill>
                  <a:srgbClr val="FFFFFF"/>
                </a:solidFill>
                <a:ln w="1045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 name="Freeform: Shape 57">
                  <a:extLst>
                    <a:ext uri="{FF2B5EF4-FFF2-40B4-BE49-F238E27FC236}">
                      <a16:creationId xmlns:a16="http://schemas.microsoft.com/office/drawing/2014/main" id="{F229E056-F4E1-4A98-AE0C-347FD1369AF2}"/>
                    </a:ext>
                  </a:extLst>
                </p:cNvPr>
                <p:cNvSpPr/>
                <p:nvPr/>
              </p:nvSpPr>
              <p:spPr>
                <a:xfrm>
                  <a:off x="10136230" y="3900778"/>
                  <a:ext cx="827035" cy="140534"/>
                </a:xfrm>
                <a:custGeom>
                  <a:avLst/>
                  <a:gdLst>
                    <a:gd name="connsiteX0" fmla="*/ 0 w 827035"/>
                    <a:gd name="connsiteY0" fmla="*/ 84164 h 140534"/>
                    <a:gd name="connsiteX1" fmla="*/ 418 w 827035"/>
                    <a:gd name="connsiteY1" fmla="*/ 86778 h 140534"/>
                    <a:gd name="connsiteX2" fmla="*/ 805987 w 827035"/>
                    <a:gd name="connsiteY2" fmla="*/ 133199 h 140534"/>
                    <a:gd name="connsiteX3" fmla="*/ 827002 w 827035"/>
                    <a:gd name="connsiteY3" fmla="*/ 112707 h 140534"/>
                    <a:gd name="connsiteX4" fmla="*/ 807974 w 827035"/>
                    <a:gd name="connsiteY4" fmla="*/ 46003 h 140534"/>
                    <a:gd name="connsiteX5" fmla="*/ 21956 w 827035"/>
                    <a:gd name="connsiteY5" fmla="*/ 0 h 140534"/>
                    <a:gd name="connsiteX6" fmla="*/ 0 w 827035"/>
                    <a:gd name="connsiteY6" fmla="*/ 84164 h 140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7035" h="140534">
                      <a:moveTo>
                        <a:pt x="0" y="84164"/>
                      </a:moveTo>
                      <a:cubicBezTo>
                        <a:pt x="0" y="84896"/>
                        <a:pt x="105" y="85837"/>
                        <a:pt x="418" y="86778"/>
                      </a:cubicBezTo>
                      <a:cubicBezTo>
                        <a:pt x="263574" y="137903"/>
                        <a:pt x="537499" y="150554"/>
                        <a:pt x="805987" y="133199"/>
                      </a:cubicBezTo>
                      <a:cubicBezTo>
                        <a:pt x="819579" y="124939"/>
                        <a:pt x="826584" y="117725"/>
                        <a:pt x="827002" y="112707"/>
                      </a:cubicBezTo>
                      <a:cubicBezTo>
                        <a:pt x="827630" y="105492"/>
                        <a:pt x="819266" y="80191"/>
                        <a:pt x="807974" y="46003"/>
                      </a:cubicBezTo>
                      <a:cubicBezTo>
                        <a:pt x="544504" y="58444"/>
                        <a:pt x="283857" y="39939"/>
                        <a:pt x="21956" y="0"/>
                      </a:cubicBezTo>
                      <a:cubicBezTo>
                        <a:pt x="8887" y="49662"/>
                        <a:pt x="0" y="74441"/>
                        <a:pt x="0" y="84164"/>
                      </a:cubicBezTo>
                      <a:close/>
                    </a:path>
                  </a:pathLst>
                </a:custGeom>
                <a:solidFill>
                  <a:srgbClr val="FFFFFF"/>
                </a:solidFill>
                <a:ln w="1045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16" name="Freeform: Shape 15">
              <a:extLst>
                <a:ext uri="{FF2B5EF4-FFF2-40B4-BE49-F238E27FC236}">
                  <a16:creationId xmlns:a16="http://schemas.microsoft.com/office/drawing/2014/main" id="{56FADA4C-C0BA-48E6-99EA-87C0DFC58543}"/>
                </a:ext>
              </a:extLst>
            </p:cNvPr>
            <p:cNvSpPr/>
            <p:nvPr/>
          </p:nvSpPr>
          <p:spPr>
            <a:xfrm>
              <a:off x="10716530" y="2871819"/>
              <a:ext cx="435124" cy="1855542"/>
            </a:xfrm>
            <a:custGeom>
              <a:avLst/>
              <a:gdLst>
                <a:gd name="connsiteX0" fmla="*/ 434686 w 435124"/>
                <a:gd name="connsiteY0" fmla="*/ 258310 h 1855542"/>
                <a:gd name="connsiteX1" fmla="*/ 289150 w 435124"/>
                <a:gd name="connsiteY1" fmla="*/ 1012963 h 1855542"/>
                <a:gd name="connsiteX2" fmla="*/ 429562 w 435124"/>
                <a:gd name="connsiteY2" fmla="*/ 1796890 h 1855542"/>
                <a:gd name="connsiteX3" fmla="*/ 69801 w 435124"/>
                <a:gd name="connsiteY3" fmla="*/ 1808600 h 1855542"/>
                <a:gd name="connsiteX4" fmla="*/ 5397 w 435124"/>
                <a:gd name="connsiteY4" fmla="*/ 846203 h 1855542"/>
                <a:gd name="connsiteX5" fmla="*/ 79838 w 435124"/>
                <a:gd name="connsiteY5" fmla="*/ 6132 h 1855542"/>
                <a:gd name="connsiteX6" fmla="*/ 434686 w 435124"/>
                <a:gd name="connsiteY6" fmla="*/ 258310 h 1855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5124" h="1855542">
                  <a:moveTo>
                    <a:pt x="434686" y="258310"/>
                  </a:moveTo>
                  <a:cubicBezTo>
                    <a:pt x="445036" y="410224"/>
                    <a:pt x="268658" y="925244"/>
                    <a:pt x="289150" y="1012963"/>
                  </a:cubicBezTo>
                  <a:cubicBezTo>
                    <a:pt x="309642" y="1100682"/>
                    <a:pt x="426635" y="1755906"/>
                    <a:pt x="429562" y="1796890"/>
                  </a:cubicBezTo>
                  <a:cubicBezTo>
                    <a:pt x="432490" y="1837874"/>
                    <a:pt x="151665" y="1899246"/>
                    <a:pt x="69801" y="1808600"/>
                  </a:cubicBezTo>
                  <a:cubicBezTo>
                    <a:pt x="-12063" y="1717954"/>
                    <a:pt x="-3281" y="1162158"/>
                    <a:pt x="5397" y="846203"/>
                  </a:cubicBezTo>
                  <a:cubicBezTo>
                    <a:pt x="14179" y="530249"/>
                    <a:pt x="68128" y="50044"/>
                    <a:pt x="79838" y="6132"/>
                  </a:cubicBezTo>
                  <a:cubicBezTo>
                    <a:pt x="75342" y="-20842"/>
                    <a:pt x="419630" y="37288"/>
                    <a:pt x="434686" y="258310"/>
                  </a:cubicBezTo>
                  <a:close/>
                </a:path>
              </a:pathLst>
            </a:custGeom>
            <a:solidFill>
              <a:srgbClr val="FF9650"/>
            </a:solidFill>
            <a:ln w="1045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17" name="Graphic 4">
              <a:extLst>
                <a:ext uri="{FF2B5EF4-FFF2-40B4-BE49-F238E27FC236}">
                  <a16:creationId xmlns:a16="http://schemas.microsoft.com/office/drawing/2014/main" id="{BCCB09DD-5D7F-4446-BC0D-F6AA7D233237}"/>
                </a:ext>
              </a:extLst>
            </p:cNvPr>
            <p:cNvGrpSpPr/>
            <p:nvPr/>
          </p:nvGrpSpPr>
          <p:grpSpPr>
            <a:xfrm>
              <a:off x="10042359" y="2859880"/>
              <a:ext cx="586238" cy="1755594"/>
              <a:chOff x="10042359" y="2859880"/>
              <a:chExt cx="586238" cy="1755594"/>
            </a:xfrm>
            <a:solidFill>
              <a:schemeClr val="accent1"/>
            </a:solidFill>
          </p:grpSpPr>
          <p:sp>
            <p:nvSpPr>
              <p:cNvPr id="48" name="Freeform: Shape 47">
                <a:extLst>
                  <a:ext uri="{FF2B5EF4-FFF2-40B4-BE49-F238E27FC236}">
                    <a16:creationId xmlns:a16="http://schemas.microsoft.com/office/drawing/2014/main" id="{5A2755EF-5E06-4733-B905-2FAF152CC6E4}"/>
                  </a:ext>
                </a:extLst>
              </p:cNvPr>
              <p:cNvSpPr/>
              <p:nvPr/>
            </p:nvSpPr>
            <p:spPr>
              <a:xfrm>
                <a:off x="10042359" y="2859880"/>
                <a:ext cx="586238" cy="1755594"/>
              </a:xfrm>
              <a:custGeom>
                <a:avLst/>
                <a:gdLst>
                  <a:gd name="connsiteX0" fmla="*/ 586204 w 586238"/>
                  <a:gd name="connsiteY0" fmla="*/ 4166 h 1755594"/>
                  <a:gd name="connsiteX1" fmla="*/ 298478 w 586238"/>
                  <a:gd name="connsiteY1" fmla="*/ 478725 h 1755594"/>
                  <a:gd name="connsiteX2" fmla="*/ 217556 w 586238"/>
                  <a:gd name="connsiteY2" fmla="*/ 1723201 h 1755594"/>
                  <a:gd name="connsiteX3" fmla="*/ 21835 w 586238"/>
                  <a:gd name="connsiteY3" fmla="*/ 1720588 h 1755594"/>
                  <a:gd name="connsiteX4" fmla="*/ 113108 w 586238"/>
                  <a:gd name="connsiteY4" fmla="*/ 867448 h 1755594"/>
                  <a:gd name="connsiteX5" fmla="*/ 107881 w 586238"/>
                  <a:gd name="connsiteY5" fmla="*/ 515213 h 1755594"/>
                  <a:gd name="connsiteX6" fmla="*/ 325139 w 586238"/>
                  <a:gd name="connsiteY6" fmla="*/ 43582 h 1755594"/>
                  <a:gd name="connsiteX7" fmla="*/ 586204 w 586238"/>
                  <a:gd name="connsiteY7" fmla="*/ 4166 h 1755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6238" h="1755594">
                    <a:moveTo>
                      <a:pt x="586204" y="4166"/>
                    </a:moveTo>
                    <a:cubicBezTo>
                      <a:pt x="537169" y="30094"/>
                      <a:pt x="371560" y="142069"/>
                      <a:pt x="298478" y="478725"/>
                    </a:cubicBezTo>
                    <a:cubicBezTo>
                      <a:pt x="225397" y="815276"/>
                      <a:pt x="214942" y="1671030"/>
                      <a:pt x="217556" y="1723201"/>
                    </a:cubicBezTo>
                    <a:cubicBezTo>
                      <a:pt x="220169" y="1775373"/>
                      <a:pt x="97530" y="1757076"/>
                      <a:pt x="21835" y="1720588"/>
                    </a:cubicBezTo>
                    <a:cubicBezTo>
                      <a:pt x="-53860" y="1684099"/>
                      <a:pt x="89689" y="1016120"/>
                      <a:pt x="113108" y="867448"/>
                    </a:cubicBezTo>
                    <a:cubicBezTo>
                      <a:pt x="136633" y="718775"/>
                      <a:pt x="71393" y="645694"/>
                      <a:pt x="107881" y="515213"/>
                    </a:cubicBezTo>
                    <a:cubicBezTo>
                      <a:pt x="144370" y="384733"/>
                      <a:pt x="212642" y="84357"/>
                      <a:pt x="325139" y="43582"/>
                    </a:cubicBezTo>
                    <a:cubicBezTo>
                      <a:pt x="441191" y="1552"/>
                      <a:pt x="588818" y="-6289"/>
                      <a:pt x="586204" y="4166"/>
                    </a:cubicBezTo>
                    <a:close/>
                  </a:path>
                </a:pathLst>
              </a:custGeom>
              <a:solidFill>
                <a:srgbClr val="FF9650"/>
              </a:solidFill>
              <a:ln w="1045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9" name="Freeform: Shape 48">
                <a:extLst>
                  <a:ext uri="{FF2B5EF4-FFF2-40B4-BE49-F238E27FC236}">
                    <a16:creationId xmlns:a16="http://schemas.microsoft.com/office/drawing/2014/main" id="{DB44A524-7501-482E-A0AC-D2F56DEBAA60}"/>
                  </a:ext>
                </a:extLst>
              </p:cNvPr>
              <p:cNvSpPr/>
              <p:nvPr/>
            </p:nvSpPr>
            <p:spPr>
              <a:xfrm>
                <a:off x="10128532" y="3198466"/>
                <a:ext cx="82850" cy="682775"/>
              </a:xfrm>
              <a:custGeom>
                <a:avLst/>
                <a:gdLst>
                  <a:gd name="connsiteX0" fmla="*/ 15434 w 82850"/>
                  <a:gd name="connsiteY0" fmla="*/ 598492 h 682775"/>
                  <a:gd name="connsiteX1" fmla="*/ 25053 w 82850"/>
                  <a:gd name="connsiteY1" fmla="*/ 531475 h 682775"/>
                  <a:gd name="connsiteX2" fmla="*/ 21080 w 82850"/>
                  <a:gd name="connsiteY2" fmla="*/ 397753 h 682775"/>
                  <a:gd name="connsiteX3" fmla="*/ 2784 w 82850"/>
                  <a:gd name="connsiteY3" fmla="*/ 262568 h 682775"/>
                  <a:gd name="connsiteX4" fmla="*/ 22126 w 82850"/>
                  <a:gd name="connsiteY4" fmla="*/ 136270 h 682775"/>
                  <a:gd name="connsiteX5" fmla="*/ 47845 w 82850"/>
                  <a:gd name="connsiteY5" fmla="*/ 66534 h 682775"/>
                  <a:gd name="connsiteX6" fmla="*/ 79315 w 82850"/>
                  <a:gd name="connsiteY6" fmla="*/ 876 h 682775"/>
                  <a:gd name="connsiteX7" fmla="*/ 82766 w 82850"/>
                  <a:gd name="connsiteY7" fmla="*/ 2340 h 682775"/>
                  <a:gd name="connsiteX8" fmla="*/ 58928 w 82850"/>
                  <a:gd name="connsiteY8" fmla="*/ 61620 h 682775"/>
                  <a:gd name="connsiteX9" fmla="*/ 34881 w 82850"/>
                  <a:gd name="connsiteY9" fmla="*/ 124247 h 682775"/>
                  <a:gd name="connsiteX10" fmla="*/ 10311 w 82850"/>
                  <a:gd name="connsiteY10" fmla="*/ 251277 h 682775"/>
                  <a:gd name="connsiteX11" fmla="*/ 27144 w 82850"/>
                  <a:gd name="connsiteY11" fmla="*/ 389285 h 682775"/>
                  <a:gd name="connsiteX12" fmla="*/ 32581 w 82850"/>
                  <a:gd name="connsiteY12" fmla="*/ 520183 h 682775"/>
                  <a:gd name="connsiteX13" fmla="*/ 22544 w 82850"/>
                  <a:gd name="connsiteY13" fmla="*/ 591383 h 682775"/>
                  <a:gd name="connsiteX14" fmla="*/ 170 w 82850"/>
                  <a:gd name="connsiteY14" fmla="*/ 682761 h 682775"/>
                  <a:gd name="connsiteX15" fmla="*/ 15434 w 82850"/>
                  <a:gd name="connsiteY15" fmla="*/ 598492 h 682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850" h="682775">
                    <a:moveTo>
                      <a:pt x="15434" y="598492"/>
                    </a:moveTo>
                    <a:cubicBezTo>
                      <a:pt x="19930" y="576327"/>
                      <a:pt x="23171" y="553953"/>
                      <a:pt x="25053" y="531475"/>
                    </a:cubicBezTo>
                    <a:cubicBezTo>
                      <a:pt x="28713" y="486936"/>
                      <a:pt x="27562" y="442083"/>
                      <a:pt x="21080" y="397753"/>
                    </a:cubicBezTo>
                    <a:cubicBezTo>
                      <a:pt x="14493" y="352796"/>
                      <a:pt x="3829" y="308153"/>
                      <a:pt x="2784" y="262568"/>
                    </a:cubicBezTo>
                    <a:cubicBezTo>
                      <a:pt x="1843" y="219807"/>
                      <a:pt x="9579" y="177045"/>
                      <a:pt x="22126" y="136270"/>
                    </a:cubicBezTo>
                    <a:cubicBezTo>
                      <a:pt x="29445" y="112537"/>
                      <a:pt x="38331" y="89431"/>
                      <a:pt x="47845" y="66534"/>
                    </a:cubicBezTo>
                    <a:cubicBezTo>
                      <a:pt x="57151" y="44160"/>
                      <a:pt x="66769" y="21681"/>
                      <a:pt x="79315" y="876"/>
                    </a:cubicBezTo>
                    <a:cubicBezTo>
                      <a:pt x="80361" y="-902"/>
                      <a:pt x="83393" y="249"/>
                      <a:pt x="82766" y="2340"/>
                    </a:cubicBezTo>
                    <a:cubicBezTo>
                      <a:pt x="76179" y="22623"/>
                      <a:pt x="67292" y="41965"/>
                      <a:pt x="58928" y="61620"/>
                    </a:cubicBezTo>
                    <a:cubicBezTo>
                      <a:pt x="50146" y="82217"/>
                      <a:pt x="41991" y="103023"/>
                      <a:pt x="34881" y="124247"/>
                    </a:cubicBezTo>
                    <a:cubicBezTo>
                      <a:pt x="21080" y="165231"/>
                      <a:pt x="11043" y="207888"/>
                      <a:pt x="10311" y="251277"/>
                    </a:cubicBezTo>
                    <a:cubicBezTo>
                      <a:pt x="9579" y="297907"/>
                      <a:pt x="20244" y="343491"/>
                      <a:pt x="27144" y="389285"/>
                    </a:cubicBezTo>
                    <a:cubicBezTo>
                      <a:pt x="33731" y="432569"/>
                      <a:pt x="35927" y="476481"/>
                      <a:pt x="32581" y="520183"/>
                    </a:cubicBezTo>
                    <a:cubicBezTo>
                      <a:pt x="30699" y="544125"/>
                      <a:pt x="27353" y="567859"/>
                      <a:pt x="22544" y="591383"/>
                    </a:cubicBezTo>
                    <a:cubicBezTo>
                      <a:pt x="17525" y="615639"/>
                      <a:pt x="1947" y="683911"/>
                      <a:pt x="170" y="682761"/>
                    </a:cubicBezTo>
                    <a:cubicBezTo>
                      <a:pt x="-1607" y="681611"/>
                      <a:pt x="11043" y="620134"/>
                      <a:pt x="15434" y="598492"/>
                    </a:cubicBezTo>
                    <a:close/>
                  </a:path>
                </a:pathLst>
              </a:custGeom>
              <a:solidFill>
                <a:srgbClr val="B26167">
                  <a:alpha val="50000"/>
                </a:srgbClr>
              </a:solidFill>
              <a:ln w="1045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8" name="Graphic 4">
              <a:extLst>
                <a:ext uri="{FF2B5EF4-FFF2-40B4-BE49-F238E27FC236}">
                  <a16:creationId xmlns:a16="http://schemas.microsoft.com/office/drawing/2014/main" id="{6E4A1FAE-D6A0-49A8-BFDC-AC2C19C116B3}"/>
                </a:ext>
              </a:extLst>
            </p:cNvPr>
            <p:cNvGrpSpPr/>
            <p:nvPr/>
          </p:nvGrpSpPr>
          <p:grpSpPr>
            <a:xfrm>
              <a:off x="10877117" y="2929069"/>
              <a:ext cx="667298" cy="2080248"/>
              <a:chOff x="10877117" y="2929069"/>
              <a:chExt cx="667298" cy="2080248"/>
            </a:xfrm>
            <a:solidFill>
              <a:schemeClr val="accent1"/>
            </a:solidFill>
          </p:grpSpPr>
          <p:grpSp>
            <p:nvGrpSpPr>
              <p:cNvPr id="42" name="Graphic 4">
                <a:extLst>
                  <a:ext uri="{FF2B5EF4-FFF2-40B4-BE49-F238E27FC236}">
                    <a16:creationId xmlns:a16="http://schemas.microsoft.com/office/drawing/2014/main" id="{3DA56645-0667-4B70-8581-32E8FC8DCD72}"/>
                  </a:ext>
                </a:extLst>
              </p:cNvPr>
              <p:cNvGrpSpPr/>
              <p:nvPr/>
            </p:nvGrpSpPr>
            <p:grpSpPr>
              <a:xfrm>
                <a:off x="11252080" y="4682167"/>
                <a:ext cx="292335" cy="327150"/>
                <a:chOff x="11252080" y="4682167"/>
                <a:chExt cx="292335" cy="327150"/>
              </a:xfrm>
              <a:solidFill>
                <a:schemeClr val="accent1"/>
              </a:solidFill>
            </p:grpSpPr>
            <p:sp>
              <p:nvSpPr>
                <p:cNvPr id="45" name="Freeform: Shape 44">
                  <a:extLst>
                    <a:ext uri="{FF2B5EF4-FFF2-40B4-BE49-F238E27FC236}">
                      <a16:creationId xmlns:a16="http://schemas.microsoft.com/office/drawing/2014/main" id="{BE5A9EB1-AE03-416F-B4BD-38E063E66F09}"/>
                    </a:ext>
                  </a:extLst>
                </p:cNvPr>
                <p:cNvSpPr/>
                <p:nvPr/>
              </p:nvSpPr>
              <p:spPr>
                <a:xfrm>
                  <a:off x="11293986" y="4682167"/>
                  <a:ext cx="250429" cy="303950"/>
                </a:xfrm>
                <a:custGeom>
                  <a:avLst/>
                  <a:gdLst>
                    <a:gd name="connsiteX0" fmla="*/ 218769 w 250429"/>
                    <a:gd name="connsiteY0" fmla="*/ 90466 h 303950"/>
                    <a:gd name="connsiteX1" fmla="*/ 237170 w 250429"/>
                    <a:gd name="connsiteY1" fmla="*/ 257749 h 303950"/>
                    <a:gd name="connsiteX2" fmla="*/ 183116 w 250429"/>
                    <a:gd name="connsiteY2" fmla="*/ 283364 h 303950"/>
                    <a:gd name="connsiteX3" fmla="*/ 126031 w 250429"/>
                    <a:gd name="connsiteY3" fmla="*/ 295806 h 303950"/>
                    <a:gd name="connsiteX4" fmla="*/ 67169 w 250429"/>
                    <a:gd name="connsiteY4" fmla="*/ 298524 h 303950"/>
                    <a:gd name="connsiteX5" fmla="*/ 11234 w 250429"/>
                    <a:gd name="connsiteY5" fmla="*/ 273432 h 303950"/>
                    <a:gd name="connsiteX6" fmla="*/ 8411 w 250429"/>
                    <a:gd name="connsiteY6" fmla="*/ 49900 h 303950"/>
                    <a:gd name="connsiteX7" fmla="*/ 218769 w 250429"/>
                    <a:gd name="connsiteY7" fmla="*/ 90466 h 303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429" h="303950">
                      <a:moveTo>
                        <a:pt x="218769" y="90466"/>
                      </a:moveTo>
                      <a:cubicBezTo>
                        <a:pt x="236751" y="152256"/>
                        <a:pt x="268535" y="223770"/>
                        <a:pt x="237170" y="257749"/>
                      </a:cubicBezTo>
                      <a:cubicBezTo>
                        <a:pt x="209673" y="287441"/>
                        <a:pt x="202145" y="272386"/>
                        <a:pt x="183116" y="283364"/>
                      </a:cubicBezTo>
                      <a:cubicBezTo>
                        <a:pt x="162729" y="295178"/>
                        <a:pt x="144955" y="301138"/>
                        <a:pt x="126031" y="295806"/>
                      </a:cubicBezTo>
                      <a:cubicBezTo>
                        <a:pt x="103657" y="289428"/>
                        <a:pt x="103344" y="314520"/>
                        <a:pt x="67169" y="298524"/>
                      </a:cubicBezTo>
                      <a:cubicBezTo>
                        <a:pt x="46572" y="289428"/>
                        <a:pt x="25035" y="298524"/>
                        <a:pt x="11234" y="273432"/>
                      </a:cubicBezTo>
                      <a:cubicBezTo>
                        <a:pt x="-2567" y="248339"/>
                        <a:pt x="-3822" y="115663"/>
                        <a:pt x="8411" y="49900"/>
                      </a:cubicBezTo>
                      <a:cubicBezTo>
                        <a:pt x="20539" y="-15863"/>
                        <a:pt x="183744" y="-29977"/>
                        <a:pt x="218769" y="90466"/>
                      </a:cubicBezTo>
                      <a:close/>
                    </a:path>
                  </a:pathLst>
                </a:custGeom>
                <a:solidFill>
                  <a:srgbClr val="E29A8F"/>
                </a:solidFill>
                <a:ln w="1045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 name="Freeform: Shape 45">
                  <a:extLst>
                    <a:ext uri="{FF2B5EF4-FFF2-40B4-BE49-F238E27FC236}">
                      <a16:creationId xmlns:a16="http://schemas.microsoft.com/office/drawing/2014/main" id="{D69C4488-A3AB-4696-A682-FBD7FE506967}"/>
                    </a:ext>
                  </a:extLst>
                </p:cNvPr>
                <p:cNvSpPr/>
                <p:nvPr/>
              </p:nvSpPr>
              <p:spPr>
                <a:xfrm>
                  <a:off x="11252080" y="4734412"/>
                  <a:ext cx="119686" cy="274905"/>
                </a:xfrm>
                <a:custGeom>
                  <a:avLst/>
                  <a:gdLst>
                    <a:gd name="connsiteX0" fmla="*/ 73318 w 119686"/>
                    <a:gd name="connsiteY0" fmla="*/ 184594 h 274905"/>
                    <a:gd name="connsiteX1" fmla="*/ 90360 w 119686"/>
                    <a:gd name="connsiteY1" fmla="*/ 264680 h 274905"/>
                    <a:gd name="connsiteX2" fmla="*/ 14351 w 119686"/>
                    <a:gd name="connsiteY2" fmla="*/ 198394 h 274905"/>
                    <a:gd name="connsiteX3" fmla="*/ 61818 w 119686"/>
                    <a:gd name="connsiteY3" fmla="*/ 9888 h 274905"/>
                    <a:gd name="connsiteX4" fmla="*/ 73318 w 119686"/>
                    <a:gd name="connsiteY4" fmla="*/ 184594 h 2749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686" h="274905">
                      <a:moveTo>
                        <a:pt x="73318" y="184594"/>
                      </a:moveTo>
                      <a:cubicBezTo>
                        <a:pt x="138977" y="239378"/>
                        <a:pt x="125594" y="299287"/>
                        <a:pt x="90360" y="264680"/>
                      </a:cubicBezTo>
                      <a:cubicBezTo>
                        <a:pt x="55127" y="230074"/>
                        <a:pt x="37353" y="227773"/>
                        <a:pt x="14351" y="198394"/>
                      </a:cubicBezTo>
                      <a:cubicBezTo>
                        <a:pt x="-21405" y="152705"/>
                        <a:pt x="15397" y="53695"/>
                        <a:pt x="61818" y="9888"/>
                      </a:cubicBezTo>
                      <a:cubicBezTo>
                        <a:pt x="109807" y="-35383"/>
                        <a:pt x="120576" y="83806"/>
                        <a:pt x="73318" y="184594"/>
                      </a:cubicBezTo>
                      <a:close/>
                    </a:path>
                  </a:pathLst>
                </a:custGeom>
                <a:solidFill>
                  <a:srgbClr val="E29A8F"/>
                </a:solidFill>
                <a:ln w="1045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7" name="Freeform: Shape 46">
                  <a:extLst>
                    <a:ext uri="{FF2B5EF4-FFF2-40B4-BE49-F238E27FC236}">
                      <a16:creationId xmlns:a16="http://schemas.microsoft.com/office/drawing/2014/main" id="{828D1B68-0572-451A-8A7A-638A33B388CA}"/>
                    </a:ext>
                  </a:extLst>
                </p:cNvPr>
                <p:cNvSpPr/>
                <p:nvPr/>
              </p:nvSpPr>
              <p:spPr>
                <a:xfrm>
                  <a:off x="11284948" y="4821443"/>
                  <a:ext cx="80293" cy="162085"/>
                </a:xfrm>
                <a:custGeom>
                  <a:avLst/>
                  <a:gdLst>
                    <a:gd name="connsiteX0" fmla="*/ 5949 w 80293"/>
                    <a:gd name="connsiteY0" fmla="*/ 95157 h 162085"/>
                    <a:gd name="connsiteX1" fmla="*/ 199 w 80293"/>
                    <a:gd name="connsiteY1" fmla="*/ 33472 h 162085"/>
                    <a:gd name="connsiteX2" fmla="*/ 3753 w 80293"/>
                    <a:gd name="connsiteY2" fmla="*/ 1166 h 162085"/>
                    <a:gd name="connsiteX3" fmla="*/ 7935 w 80293"/>
                    <a:gd name="connsiteY3" fmla="*/ 1584 h 162085"/>
                    <a:gd name="connsiteX4" fmla="*/ 9713 w 80293"/>
                    <a:gd name="connsiteY4" fmla="*/ 29185 h 162085"/>
                    <a:gd name="connsiteX5" fmla="*/ 13163 w 80293"/>
                    <a:gd name="connsiteY5" fmla="*/ 85957 h 162085"/>
                    <a:gd name="connsiteX6" fmla="*/ 34178 w 80293"/>
                    <a:gd name="connsiteY6" fmla="*/ 140742 h 162085"/>
                    <a:gd name="connsiteX7" fmla="*/ 79553 w 80293"/>
                    <a:gd name="connsiteY7" fmla="*/ 159352 h 162085"/>
                    <a:gd name="connsiteX8" fmla="*/ 78612 w 80293"/>
                    <a:gd name="connsiteY8" fmla="*/ 162071 h 162085"/>
                    <a:gd name="connsiteX9" fmla="*/ 30623 w 80293"/>
                    <a:gd name="connsiteY9" fmla="*/ 148270 h 162085"/>
                    <a:gd name="connsiteX10" fmla="*/ 5949 w 80293"/>
                    <a:gd name="connsiteY10" fmla="*/ 95157 h 162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0293" h="162085">
                      <a:moveTo>
                        <a:pt x="5949" y="95157"/>
                      </a:moveTo>
                      <a:cubicBezTo>
                        <a:pt x="1767" y="74979"/>
                        <a:pt x="199" y="54069"/>
                        <a:pt x="199" y="33472"/>
                      </a:cubicBezTo>
                      <a:cubicBezTo>
                        <a:pt x="199" y="22808"/>
                        <a:pt x="-1265" y="9634"/>
                        <a:pt x="3753" y="1166"/>
                      </a:cubicBezTo>
                      <a:cubicBezTo>
                        <a:pt x="4694" y="-403"/>
                        <a:pt x="7413" y="-507"/>
                        <a:pt x="7935" y="1584"/>
                      </a:cubicBezTo>
                      <a:cubicBezTo>
                        <a:pt x="10027" y="10262"/>
                        <a:pt x="9817" y="19462"/>
                        <a:pt x="9713" y="29185"/>
                      </a:cubicBezTo>
                      <a:cubicBezTo>
                        <a:pt x="9504" y="48109"/>
                        <a:pt x="10340" y="67242"/>
                        <a:pt x="13163" y="85957"/>
                      </a:cubicBezTo>
                      <a:cubicBezTo>
                        <a:pt x="15986" y="104567"/>
                        <a:pt x="21213" y="126418"/>
                        <a:pt x="34178" y="140742"/>
                      </a:cubicBezTo>
                      <a:cubicBezTo>
                        <a:pt x="46410" y="154334"/>
                        <a:pt x="65230" y="150047"/>
                        <a:pt x="79553" y="159352"/>
                      </a:cubicBezTo>
                      <a:cubicBezTo>
                        <a:pt x="80912" y="160188"/>
                        <a:pt x="80285" y="162280"/>
                        <a:pt x="78612" y="162071"/>
                      </a:cubicBezTo>
                      <a:cubicBezTo>
                        <a:pt x="62093" y="159247"/>
                        <a:pt x="43692" y="160607"/>
                        <a:pt x="30623" y="148270"/>
                      </a:cubicBezTo>
                      <a:cubicBezTo>
                        <a:pt x="16509" y="134887"/>
                        <a:pt x="9817" y="113559"/>
                        <a:pt x="5949" y="95157"/>
                      </a:cubicBezTo>
                      <a:close/>
                    </a:path>
                  </a:pathLst>
                </a:custGeom>
                <a:solidFill>
                  <a:srgbClr val="BC4A60">
                    <a:alpha val="50000"/>
                  </a:srgbClr>
                </a:solidFill>
                <a:ln w="1045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43" name="Freeform: Shape 42">
                <a:extLst>
                  <a:ext uri="{FF2B5EF4-FFF2-40B4-BE49-F238E27FC236}">
                    <a16:creationId xmlns:a16="http://schemas.microsoft.com/office/drawing/2014/main" id="{FA884DFD-1686-4909-BBA2-1607503FBD43}"/>
                  </a:ext>
                </a:extLst>
              </p:cNvPr>
              <p:cNvSpPr/>
              <p:nvPr/>
            </p:nvSpPr>
            <p:spPr>
              <a:xfrm>
                <a:off x="10877117" y="2929069"/>
                <a:ext cx="652156" cy="1853705"/>
              </a:xfrm>
              <a:custGeom>
                <a:avLst/>
                <a:gdLst>
                  <a:gd name="connsiteX0" fmla="*/ 86220 w 652156"/>
                  <a:gd name="connsiteY0" fmla="*/ 739 h 1853705"/>
                  <a:gd name="connsiteX1" fmla="*/ 558583 w 652156"/>
                  <a:gd name="connsiteY1" fmla="*/ 856284 h 1853705"/>
                  <a:gd name="connsiteX2" fmla="*/ 652157 w 652156"/>
                  <a:gd name="connsiteY2" fmla="*/ 1847851 h 1853705"/>
                  <a:gd name="connsiteX3" fmla="*/ 400606 w 652156"/>
                  <a:gd name="connsiteY3" fmla="*/ 1853706 h 1853705"/>
                  <a:gd name="connsiteX4" fmla="*/ 304105 w 652156"/>
                  <a:gd name="connsiteY4" fmla="*/ 821155 h 1853705"/>
                  <a:gd name="connsiteX5" fmla="*/ 40844 w 652156"/>
                  <a:gd name="connsiteY5" fmla="*/ 209842 h 1853705"/>
                  <a:gd name="connsiteX6" fmla="*/ 86220 w 652156"/>
                  <a:gd name="connsiteY6" fmla="*/ 739 h 1853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2156" h="1853705">
                    <a:moveTo>
                      <a:pt x="86220" y="739"/>
                    </a:moveTo>
                    <a:cubicBezTo>
                      <a:pt x="204049" y="-18394"/>
                      <a:pt x="467937" y="335618"/>
                      <a:pt x="558583" y="856284"/>
                    </a:cubicBezTo>
                    <a:cubicBezTo>
                      <a:pt x="649229" y="1376951"/>
                      <a:pt x="652157" y="1847851"/>
                      <a:pt x="652157" y="1847851"/>
                    </a:cubicBezTo>
                    <a:lnTo>
                      <a:pt x="400606" y="1853706"/>
                    </a:lnTo>
                    <a:cubicBezTo>
                      <a:pt x="400606" y="1853706"/>
                      <a:pt x="415243" y="1195554"/>
                      <a:pt x="304105" y="821155"/>
                    </a:cubicBezTo>
                    <a:cubicBezTo>
                      <a:pt x="192967" y="446756"/>
                      <a:pt x="99393" y="285851"/>
                      <a:pt x="40844" y="209842"/>
                    </a:cubicBezTo>
                    <a:cubicBezTo>
                      <a:pt x="-17705" y="133833"/>
                      <a:pt x="-22096" y="18199"/>
                      <a:pt x="86220" y="739"/>
                    </a:cubicBezTo>
                    <a:close/>
                  </a:path>
                </a:pathLst>
              </a:custGeom>
              <a:solidFill>
                <a:srgbClr val="FF9650"/>
              </a:solidFill>
              <a:ln w="1045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 name="Freeform: Shape 43">
                <a:extLst>
                  <a:ext uri="{FF2B5EF4-FFF2-40B4-BE49-F238E27FC236}">
                    <a16:creationId xmlns:a16="http://schemas.microsoft.com/office/drawing/2014/main" id="{8DF2B45A-FC5E-4010-958E-B4EDB96C6A61}"/>
                  </a:ext>
                </a:extLst>
              </p:cNvPr>
              <p:cNvSpPr/>
              <p:nvPr/>
            </p:nvSpPr>
            <p:spPr>
              <a:xfrm>
                <a:off x="10970177" y="3216984"/>
                <a:ext cx="117889" cy="254101"/>
              </a:xfrm>
              <a:custGeom>
                <a:avLst/>
                <a:gdLst>
                  <a:gd name="connsiteX0" fmla="*/ 4451 w 117889"/>
                  <a:gd name="connsiteY0" fmla="*/ 1073 h 254101"/>
                  <a:gd name="connsiteX1" fmla="*/ 69482 w 117889"/>
                  <a:gd name="connsiteY1" fmla="*/ 118589 h 254101"/>
                  <a:gd name="connsiteX2" fmla="*/ 94365 w 117889"/>
                  <a:gd name="connsiteY2" fmla="*/ 179647 h 254101"/>
                  <a:gd name="connsiteX3" fmla="*/ 104820 w 117889"/>
                  <a:gd name="connsiteY3" fmla="*/ 210281 h 254101"/>
                  <a:gd name="connsiteX4" fmla="*/ 117889 w 117889"/>
                  <a:gd name="connsiteY4" fmla="*/ 253983 h 254101"/>
                  <a:gd name="connsiteX5" fmla="*/ 85792 w 117889"/>
                  <a:gd name="connsiteY5" fmla="*/ 182052 h 254101"/>
                  <a:gd name="connsiteX6" fmla="*/ 60804 w 117889"/>
                  <a:gd name="connsiteY6" fmla="*/ 120889 h 254101"/>
                  <a:gd name="connsiteX7" fmla="*/ 373 w 117889"/>
                  <a:gd name="connsiteY7" fmla="*/ 3582 h 254101"/>
                  <a:gd name="connsiteX8" fmla="*/ 4451 w 117889"/>
                  <a:gd name="connsiteY8" fmla="*/ 1073 h 254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7889" h="254101">
                    <a:moveTo>
                      <a:pt x="4451" y="1073"/>
                    </a:moveTo>
                    <a:cubicBezTo>
                      <a:pt x="31634" y="36412"/>
                      <a:pt x="51394" y="78128"/>
                      <a:pt x="69482" y="118589"/>
                    </a:cubicBezTo>
                    <a:cubicBezTo>
                      <a:pt x="78473" y="138663"/>
                      <a:pt x="86733" y="159051"/>
                      <a:pt x="94365" y="179647"/>
                    </a:cubicBezTo>
                    <a:cubicBezTo>
                      <a:pt x="98129" y="189789"/>
                      <a:pt x="101475" y="200035"/>
                      <a:pt x="104820" y="210281"/>
                    </a:cubicBezTo>
                    <a:cubicBezTo>
                      <a:pt x="108061" y="220318"/>
                      <a:pt x="117576" y="243319"/>
                      <a:pt x="117889" y="253983"/>
                    </a:cubicBezTo>
                    <a:cubicBezTo>
                      <a:pt x="117994" y="257224"/>
                      <a:pt x="89660" y="192612"/>
                      <a:pt x="85792" y="182052"/>
                    </a:cubicBezTo>
                    <a:cubicBezTo>
                      <a:pt x="78160" y="161351"/>
                      <a:pt x="69796" y="140963"/>
                      <a:pt x="60804" y="120889"/>
                    </a:cubicBezTo>
                    <a:cubicBezTo>
                      <a:pt x="42717" y="80637"/>
                      <a:pt x="19925" y="42998"/>
                      <a:pt x="373" y="3582"/>
                    </a:cubicBezTo>
                    <a:cubicBezTo>
                      <a:pt x="-1195" y="655"/>
                      <a:pt x="2569" y="-1331"/>
                      <a:pt x="4451" y="1073"/>
                    </a:cubicBezTo>
                    <a:close/>
                  </a:path>
                </a:pathLst>
              </a:custGeom>
              <a:solidFill>
                <a:srgbClr val="B26167">
                  <a:alpha val="50000"/>
                </a:srgbClr>
              </a:solidFill>
              <a:ln w="1045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9" name="Graphic 4">
              <a:extLst>
                <a:ext uri="{FF2B5EF4-FFF2-40B4-BE49-F238E27FC236}">
                  <a16:creationId xmlns:a16="http://schemas.microsoft.com/office/drawing/2014/main" id="{11B140EA-785A-43CF-8DC6-9DC58990D02F}"/>
                </a:ext>
              </a:extLst>
            </p:cNvPr>
            <p:cNvGrpSpPr/>
            <p:nvPr/>
          </p:nvGrpSpPr>
          <p:grpSpPr>
            <a:xfrm>
              <a:off x="10602529" y="2685785"/>
              <a:ext cx="179321" cy="237683"/>
              <a:chOff x="10602529" y="2685785"/>
              <a:chExt cx="179321" cy="237683"/>
            </a:xfrm>
            <a:solidFill>
              <a:schemeClr val="accent1"/>
            </a:solidFill>
          </p:grpSpPr>
          <p:sp>
            <p:nvSpPr>
              <p:cNvPr id="40" name="Freeform: Shape 39">
                <a:extLst>
                  <a:ext uri="{FF2B5EF4-FFF2-40B4-BE49-F238E27FC236}">
                    <a16:creationId xmlns:a16="http://schemas.microsoft.com/office/drawing/2014/main" id="{636EDF15-BEDB-4912-9EB0-DE4BBE76FAFF}"/>
                  </a:ext>
                </a:extLst>
              </p:cNvPr>
              <p:cNvSpPr/>
              <p:nvPr/>
            </p:nvSpPr>
            <p:spPr>
              <a:xfrm rot="10558121">
                <a:off x="10610471" y="2691440"/>
                <a:ext cx="163618" cy="226557"/>
              </a:xfrm>
              <a:custGeom>
                <a:avLst/>
                <a:gdLst>
                  <a:gd name="connsiteX0" fmla="*/ 0 w 163618"/>
                  <a:gd name="connsiteY0" fmla="*/ 0 h 226557"/>
                  <a:gd name="connsiteX1" fmla="*/ 163619 w 163618"/>
                  <a:gd name="connsiteY1" fmla="*/ 0 h 226557"/>
                  <a:gd name="connsiteX2" fmla="*/ 163619 w 163618"/>
                  <a:gd name="connsiteY2" fmla="*/ 226557 h 226557"/>
                  <a:gd name="connsiteX3" fmla="*/ 0 w 163618"/>
                  <a:gd name="connsiteY3" fmla="*/ 226557 h 226557"/>
                </a:gdLst>
                <a:ahLst/>
                <a:cxnLst>
                  <a:cxn ang="0">
                    <a:pos x="connsiteX0" y="connsiteY0"/>
                  </a:cxn>
                  <a:cxn ang="0">
                    <a:pos x="connsiteX1" y="connsiteY1"/>
                  </a:cxn>
                  <a:cxn ang="0">
                    <a:pos x="connsiteX2" y="connsiteY2"/>
                  </a:cxn>
                  <a:cxn ang="0">
                    <a:pos x="connsiteX3" y="connsiteY3"/>
                  </a:cxn>
                </a:cxnLst>
                <a:rect l="l" t="t" r="r" b="b"/>
                <a:pathLst>
                  <a:path w="163618" h="226557">
                    <a:moveTo>
                      <a:pt x="0" y="0"/>
                    </a:moveTo>
                    <a:lnTo>
                      <a:pt x="163619" y="0"/>
                    </a:lnTo>
                    <a:lnTo>
                      <a:pt x="163619" y="226557"/>
                    </a:lnTo>
                    <a:lnTo>
                      <a:pt x="0" y="226557"/>
                    </a:lnTo>
                    <a:close/>
                  </a:path>
                </a:pathLst>
              </a:custGeom>
              <a:solidFill>
                <a:srgbClr val="E29A8F"/>
              </a:solidFill>
              <a:ln w="1045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1" name="Freeform: Shape 40">
                <a:extLst>
                  <a:ext uri="{FF2B5EF4-FFF2-40B4-BE49-F238E27FC236}">
                    <a16:creationId xmlns:a16="http://schemas.microsoft.com/office/drawing/2014/main" id="{41F6C778-13AA-42D3-BD76-2929100D6118}"/>
                  </a:ext>
                </a:extLst>
              </p:cNvPr>
              <p:cNvSpPr/>
              <p:nvPr/>
            </p:nvSpPr>
            <p:spPr>
              <a:xfrm>
                <a:off x="10602529" y="2685785"/>
                <a:ext cx="168955" cy="117879"/>
              </a:xfrm>
              <a:custGeom>
                <a:avLst/>
                <a:gdLst>
                  <a:gd name="connsiteX0" fmla="*/ 117516 w 168955"/>
                  <a:gd name="connsiteY0" fmla="*/ 99847 h 117879"/>
                  <a:gd name="connsiteX1" fmla="*/ 167178 w 168955"/>
                  <a:gd name="connsiteY1" fmla="*/ 81864 h 117879"/>
                  <a:gd name="connsiteX2" fmla="*/ 168955 w 168955"/>
                  <a:gd name="connsiteY2" fmla="*/ 81236 h 117879"/>
                  <a:gd name="connsiteX3" fmla="*/ 163205 w 168955"/>
                  <a:gd name="connsiteY3" fmla="*/ 0 h 117879"/>
                  <a:gd name="connsiteX4" fmla="*/ 0 w 168955"/>
                  <a:gd name="connsiteY4" fmla="*/ 11501 h 117879"/>
                  <a:gd name="connsiteX5" fmla="*/ 7528 w 168955"/>
                  <a:gd name="connsiteY5" fmla="*/ 117620 h 117879"/>
                  <a:gd name="connsiteX6" fmla="*/ 117516 w 168955"/>
                  <a:gd name="connsiteY6" fmla="*/ 99847 h 117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955" h="117879">
                    <a:moveTo>
                      <a:pt x="117516" y="99847"/>
                    </a:moveTo>
                    <a:cubicBezTo>
                      <a:pt x="134139" y="94201"/>
                      <a:pt x="150659" y="87823"/>
                      <a:pt x="167178" y="81864"/>
                    </a:cubicBezTo>
                    <a:cubicBezTo>
                      <a:pt x="167701" y="81655"/>
                      <a:pt x="168432" y="81446"/>
                      <a:pt x="168955" y="81236"/>
                    </a:cubicBezTo>
                    <a:lnTo>
                      <a:pt x="163205" y="0"/>
                    </a:lnTo>
                    <a:lnTo>
                      <a:pt x="0" y="11501"/>
                    </a:lnTo>
                    <a:lnTo>
                      <a:pt x="7528" y="117620"/>
                    </a:lnTo>
                    <a:cubicBezTo>
                      <a:pt x="44748" y="119398"/>
                      <a:pt x="82282" y="111870"/>
                      <a:pt x="117516" y="99847"/>
                    </a:cubicBezTo>
                    <a:close/>
                  </a:path>
                </a:pathLst>
              </a:custGeom>
              <a:solidFill>
                <a:srgbClr val="BC4A60">
                  <a:alpha val="40000"/>
                </a:srgbClr>
              </a:solidFill>
              <a:ln w="1045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20" name="Freeform: Shape 19">
              <a:extLst>
                <a:ext uri="{FF2B5EF4-FFF2-40B4-BE49-F238E27FC236}">
                  <a16:creationId xmlns:a16="http://schemas.microsoft.com/office/drawing/2014/main" id="{CCB9E2C5-CFA2-451D-8735-0C6BBA2EB5B4}"/>
                </a:ext>
              </a:extLst>
            </p:cNvPr>
            <p:cNvSpPr/>
            <p:nvPr/>
          </p:nvSpPr>
          <p:spPr>
            <a:xfrm>
              <a:off x="10159518" y="1708426"/>
              <a:ext cx="914246" cy="1071919"/>
            </a:xfrm>
            <a:custGeom>
              <a:avLst/>
              <a:gdLst>
                <a:gd name="connsiteX0" fmla="*/ 2327 w 914246"/>
                <a:gd name="connsiteY0" fmla="*/ 724867 h 1071919"/>
                <a:gd name="connsiteX1" fmla="*/ 107088 w 914246"/>
                <a:gd name="connsiteY1" fmla="*/ 992623 h 1071919"/>
                <a:gd name="connsiteX2" fmla="*/ 291935 w 914246"/>
                <a:gd name="connsiteY2" fmla="*/ 1066332 h 1071919"/>
                <a:gd name="connsiteX3" fmla="*/ 436111 w 914246"/>
                <a:gd name="connsiteY3" fmla="*/ 1065077 h 1071919"/>
                <a:gd name="connsiteX4" fmla="*/ 720073 w 914246"/>
                <a:gd name="connsiteY4" fmla="*/ 905741 h 1071919"/>
                <a:gd name="connsiteX5" fmla="*/ 906070 w 914246"/>
                <a:gd name="connsiteY5" fmla="*/ 536047 h 1071919"/>
                <a:gd name="connsiteX6" fmla="*/ 12050 w 914246"/>
                <a:gd name="connsiteY6" fmla="*/ 456901 h 1071919"/>
                <a:gd name="connsiteX7" fmla="*/ 3477 w 914246"/>
                <a:gd name="connsiteY7" fmla="*/ 553298 h 1071919"/>
                <a:gd name="connsiteX8" fmla="*/ 2536 w 914246"/>
                <a:gd name="connsiteY8" fmla="*/ 569921 h 1071919"/>
                <a:gd name="connsiteX9" fmla="*/ 2327 w 914246"/>
                <a:gd name="connsiteY9" fmla="*/ 724867 h 1071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4246" h="1071919">
                  <a:moveTo>
                    <a:pt x="2327" y="724867"/>
                  </a:moveTo>
                  <a:cubicBezTo>
                    <a:pt x="11528" y="861411"/>
                    <a:pt x="48643" y="942752"/>
                    <a:pt x="107088" y="992623"/>
                  </a:cubicBezTo>
                  <a:cubicBezTo>
                    <a:pt x="155390" y="1034026"/>
                    <a:pt x="218121" y="1054099"/>
                    <a:pt x="291935" y="1066332"/>
                  </a:cubicBezTo>
                  <a:cubicBezTo>
                    <a:pt x="339401" y="1074278"/>
                    <a:pt x="388017" y="1073651"/>
                    <a:pt x="436111" y="1065077"/>
                  </a:cubicBezTo>
                  <a:cubicBezTo>
                    <a:pt x="537944" y="1046990"/>
                    <a:pt x="637373" y="992832"/>
                    <a:pt x="720073" y="905741"/>
                  </a:cubicBezTo>
                  <a:cubicBezTo>
                    <a:pt x="805073" y="816140"/>
                    <a:pt x="872405" y="691619"/>
                    <a:pt x="906070" y="536047"/>
                  </a:cubicBezTo>
                  <a:cubicBezTo>
                    <a:pt x="1010203" y="-100776"/>
                    <a:pt x="86596" y="-222579"/>
                    <a:pt x="12050" y="456901"/>
                  </a:cubicBezTo>
                  <a:cubicBezTo>
                    <a:pt x="8286" y="490881"/>
                    <a:pt x="5463" y="523082"/>
                    <a:pt x="3477" y="553298"/>
                  </a:cubicBezTo>
                  <a:cubicBezTo>
                    <a:pt x="3163" y="558944"/>
                    <a:pt x="2850" y="564485"/>
                    <a:pt x="2536" y="569921"/>
                  </a:cubicBezTo>
                  <a:cubicBezTo>
                    <a:pt x="-810" y="628261"/>
                    <a:pt x="-810" y="679596"/>
                    <a:pt x="2327" y="724867"/>
                  </a:cubicBezTo>
                  <a:close/>
                </a:path>
              </a:pathLst>
            </a:custGeom>
            <a:solidFill>
              <a:srgbClr val="E29A8F"/>
            </a:solidFill>
            <a:ln w="1045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Shape 20">
              <a:extLst>
                <a:ext uri="{FF2B5EF4-FFF2-40B4-BE49-F238E27FC236}">
                  <a16:creationId xmlns:a16="http://schemas.microsoft.com/office/drawing/2014/main" id="{464BE81D-6147-44C3-9991-E9A6F754FAB3}"/>
                </a:ext>
              </a:extLst>
            </p:cNvPr>
            <p:cNvSpPr/>
            <p:nvPr/>
          </p:nvSpPr>
          <p:spPr>
            <a:xfrm>
              <a:off x="10205693" y="1653912"/>
              <a:ext cx="984162" cy="674271"/>
            </a:xfrm>
            <a:custGeom>
              <a:avLst/>
              <a:gdLst>
                <a:gd name="connsiteX0" fmla="*/ 922835 w 984162"/>
                <a:gd name="connsiteY0" fmla="*/ 202361 h 674271"/>
                <a:gd name="connsiteX1" fmla="*/ 523657 w 984162"/>
                <a:gd name="connsiteY1" fmla="*/ 27656 h 674271"/>
                <a:gd name="connsiteX2" fmla="*/ 327623 w 984162"/>
                <a:gd name="connsiteY2" fmla="*/ 11137 h 674271"/>
                <a:gd name="connsiteX3" fmla="*/ 36552 w 984162"/>
                <a:gd name="connsiteY3" fmla="*/ 209680 h 674271"/>
                <a:gd name="connsiteX4" fmla="*/ 5813 w 984162"/>
                <a:gd name="connsiteY4" fmla="*/ 348629 h 674271"/>
                <a:gd name="connsiteX5" fmla="*/ 135980 w 984162"/>
                <a:gd name="connsiteY5" fmla="*/ 202361 h 674271"/>
                <a:gd name="connsiteX6" fmla="*/ 315600 w 984162"/>
                <a:gd name="connsiteY6" fmla="*/ 169114 h 674271"/>
                <a:gd name="connsiteX7" fmla="*/ 433743 w 984162"/>
                <a:gd name="connsiteY7" fmla="*/ 80977 h 674271"/>
                <a:gd name="connsiteX8" fmla="*/ 336405 w 984162"/>
                <a:gd name="connsiteY8" fmla="*/ 172459 h 674271"/>
                <a:gd name="connsiteX9" fmla="*/ 633645 w 984162"/>
                <a:gd name="connsiteY9" fmla="*/ 430179 h 674271"/>
                <a:gd name="connsiteX10" fmla="*/ 719168 w 984162"/>
                <a:gd name="connsiteY10" fmla="*/ 673679 h 674271"/>
                <a:gd name="connsiteX11" fmla="*/ 874532 w 984162"/>
                <a:gd name="connsiteY11" fmla="*/ 632382 h 674271"/>
                <a:gd name="connsiteX12" fmla="*/ 922835 w 984162"/>
                <a:gd name="connsiteY12" fmla="*/ 202361 h 674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84162" h="674271">
                  <a:moveTo>
                    <a:pt x="922835" y="202361"/>
                  </a:moveTo>
                  <a:cubicBezTo>
                    <a:pt x="803646" y="16678"/>
                    <a:pt x="571019" y="-4755"/>
                    <a:pt x="523657" y="27656"/>
                  </a:cubicBezTo>
                  <a:cubicBezTo>
                    <a:pt x="523657" y="27656"/>
                    <a:pt x="467408" y="-21379"/>
                    <a:pt x="327623" y="11137"/>
                  </a:cubicBezTo>
                  <a:cubicBezTo>
                    <a:pt x="187838" y="43547"/>
                    <a:pt x="90709" y="120497"/>
                    <a:pt x="36552" y="209680"/>
                  </a:cubicBezTo>
                  <a:cubicBezTo>
                    <a:pt x="5186" y="261433"/>
                    <a:pt x="-8824" y="312036"/>
                    <a:pt x="5813" y="348629"/>
                  </a:cubicBezTo>
                  <a:cubicBezTo>
                    <a:pt x="5813" y="348629"/>
                    <a:pt x="33624" y="257983"/>
                    <a:pt x="135980" y="202361"/>
                  </a:cubicBezTo>
                  <a:cubicBezTo>
                    <a:pt x="224012" y="154581"/>
                    <a:pt x="315600" y="169114"/>
                    <a:pt x="315600" y="169114"/>
                  </a:cubicBezTo>
                  <a:cubicBezTo>
                    <a:pt x="315600" y="169114"/>
                    <a:pt x="367143" y="100842"/>
                    <a:pt x="433743" y="80977"/>
                  </a:cubicBezTo>
                  <a:cubicBezTo>
                    <a:pt x="433743" y="80977"/>
                    <a:pt x="372162" y="115897"/>
                    <a:pt x="336405" y="172459"/>
                  </a:cubicBezTo>
                  <a:cubicBezTo>
                    <a:pt x="336405" y="172459"/>
                    <a:pt x="585447" y="202048"/>
                    <a:pt x="633645" y="430179"/>
                  </a:cubicBezTo>
                  <a:cubicBezTo>
                    <a:pt x="678602" y="642941"/>
                    <a:pt x="665115" y="664897"/>
                    <a:pt x="719168" y="673679"/>
                  </a:cubicBezTo>
                  <a:cubicBezTo>
                    <a:pt x="773326" y="682462"/>
                    <a:pt x="799986" y="589934"/>
                    <a:pt x="874532" y="632382"/>
                  </a:cubicBezTo>
                  <a:cubicBezTo>
                    <a:pt x="949181" y="674725"/>
                    <a:pt x="1051537" y="402682"/>
                    <a:pt x="922835" y="202361"/>
                  </a:cubicBezTo>
                  <a:close/>
                </a:path>
              </a:pathLst>
            </a:custGeom>
            <a:solidFill>
              <a:srgbClr val="2C1F30"/>
            </a:solidFill>
            <a:ln w="1045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22" name="Graphic 4">
              <a:extLst>
                <a:ext uri="{FF2B5EF4-FFF2-40B4-BE49-F238E27FC236}">
                  <a16:creationId xmlns:a16="http://schemas.microsoft.com/office/drawing/2014/main" id="{BE35586D-5220-43CD-935C-AF8E74C66284}"/>
                </a:ext>
              </a:extLst>
            </p:cNvPr>
            <p:cNvGrpSpPr/>
            <p:nvPr/>
          </p:nvGrpSpPr>
          <p:grpSpPr>
            <a:xfrm>
              <a:off x="10332275" y="2508978"/>
              <a:ext cx="168119" cy="84718"/>
              <a:chOff x="10332275" y="2508978"/>
              <a:chExt cx="168119" cy="84718"/>
            </a:xfrm>
            <a:solidFill>
              <a:schemeClr val="accent1"/>
            </a:solidFill>
          </p:grpSpPr>
          <p:sp>
            <p:nvSpPr>
              <p:cNvPr id="38" name="Freeform: Shape 37">
                <a:extLst>
                  <a:ext uri="{FF2B5EF4-FFF2-40B4-BE49-F238E27FC236}">
                    <a16:creationId xmlns:a16="http://schemas.microsoft.com/office/drawing/2014/main" id="{311DDF0F-B58F-49B1-B762-6AB148FE45F1}"/>
                  </a:ext>
                </a:extLst>
              </p:cNvPr>
              <p:cNvSpPr/>
              <p:nvPr/>
            </p:nvSpPr>
            <p:spPr>
              <a:xfrm>
                <a:off x="10332275" y="2508978"/>
                <a:ext cx="168119" cy="84620"/>
              </a:xfrm>
              <a:custGeom>
                <a:avLst/>
                <a:gdLst>
                  <a:gd name="connsiteX0" fmla="*/ 73279 w 168119"/>
                  <a:gd name="connsiteY0" fmla="*/ 14438 h 84620"/>
                  <a:gd name="connsiteX1" fmla="*/ 162252 w 168119"/>
                  <a:gd name="connsiteY1" fmla="*/ 22907 h 84620"/>
                  <a:gd name="connsiteX2" fmla="*/ 69515 w 168119"/>
                  <a:gd name="connsiteY2" fmla="*/ 82919 h 84620"/>
                  <a:gd name="connsiteX3" fmla="*/ 10548 w 168119"/>
                  <a:gd name="connsiteY3" fmla="*/ 4506 h 84620"/>
                  <a:gd name="connsiteX4" fmla="*/ 73279 w 168119"/>
                  <a:gd name="connsiteY4" fmla="*/ 14438 h 84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119" h="84620">
                    <a:moveTo>
                      <a:pt x="73279" y="14438"/>
                    </a:moveTo>
                    <a:cubicBezTo>
                      <a:pt x="113009" y="18934"/>
                      <a:pt x="136951" y="-7831"/>
                      <a:pt x="162252" y="22907"/>
                    </a:cubicBezTo>
                    <a:cubicBezTo>
                      <a:pt x="182431" y="47372"/>
                      <a:pt x="150334" y="94106"/>
                      <a:pt x="69515" y="82919"/>
                    </a:cubicBezTo>
                    <a:cubicBezTo>
                      <a:pt x="-8899" y="72151"/>
                      <a:pt x="-8376" y="17575"/>
                      <a:pt x="10548" y="4506"/>
                    </a:cubicBezTo>
                    <a:cubicBezTo>
                      <a:pt x="29472" y="-8354"/>
                      <a:pt x="33236" y="9943"/>
                      <a:pt x="73279" y="14438"/>
                    </a:cubicBezTo>
                    <a:close/>
                  </a:path>
                </a:pathLst>
              </a:custGeom>
              <a:solidFill>
                <a:srgbClr val="BC4A60"/>
              </a:solidFill>
              <a:ln w="1045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 name="Freeform: Shape 38">
                <a:extLst>
                  <a:ext uri="{FF2B5EF4-FFF2-40B4-BE49-F238E27FC236}">
                    <a16:creationId xmlns:a16="http://schemas.microsoft.com/office/drawing/2014/main" id="{8E3CD86B-3122-4535-BC26-2969689A8A55}"/>
                  </a:ext>
                </a:extLst>
              </p:cNvPr>
              <p:cNvSpPr/>
              <p:nvPr/>
            </p:nvSpPr>
            <p:spPr>
              <a:xfrm>
                <a:off x="10392903" y="2550669"/>
                <a:ext cx="105388" cy="43027"/>
              </a:xfrm>
              <a:custGeom>
                <a:avLst/>
                <a:gdLst>
                  <a:gd name="connsiteX0" fmla="*/ 90751 w 105388"/>
                  <a:gd name="connsiteY0" fmla="*/ 1813 h 43027"/>
                  <a:gd name="connsiteX1" fmla="*/ 26556 w 105388"/>
                  <a:gd name="connsiteY1" fmla="*/ 11432 h 43027"/>
                  <a:gd name="connsiteX2" fmla="*/ 0 w 105388"/>
                  <a:gd name="connsiteY2" fmla="*/ 39765 h 43027"/>
                  <a:gd name="connsiteX3" fmla="*/ 8887 w 105388"/>
                  <a:gd name="connsiteY3" fmla="*/ 41334 h 43027"/>
                  <a:gd name="connsiteX4" fmla="*/ 105388 w 105388"/>
                  <a:gd name="connsiteY4" fmla="*/ 7773 h 43027"/>
                  <a:gd name="connsiteX5" fmla="*/ 90751 w 105388"/>
                  <a:gd name="connsiteY5" fmla="*/ 1813 h 43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388" h="43027">
                    <a:moveTo>
                      <a:pt x="90751" y="1813"/>
                    </a:moveTo>
                    <a:cubicBezTo>
                      <a:pt x="69527" y="-2787"/>
                      <a:pt x="45794" y="1709"/>
                      <a:pt x="26556" y="11432"/>
                    </a:cubicBezTo>
                    <a:cubicBezTo>
                      <a:pt x="14533" y="17496"/>
                      <a:pt x="2928" y="27115"/>
                      <a:pt x="0" y="39765"/>
                    </a:cubicBezTo>
                    <a:cubicBezTo>
                      <a:pt x="2928" y="40288"/>
                      <a:pt x="5751" y="40915"/>
                      <a:pt x="8887" y="41334"/>
                    </a:cubicBezTo>
                    <a:cubicBezTo>
                      <a:pt x="64822" y="49070"/>
                      <a:pt x="97338" y="28997"/>
                      <a:pt x="105388" y="7773"/>
                    </a:cubicBezTo>
                    <a:cubicBezTo>
                      <a:pt x="101101" y="4950"/>
                      <a:pt x="96083" y="2963"/>
                      <a:pt x="90751" y="1813"/>
                    </a:cubicBezTo>
                    <a:close/>
                  </a:path>
                </a:pathLst>
              </a:custGeom>
              <a:solidFill>
                <a:srgbClr val="FC6B7F"/>
              </a:solidFill>
              <a:ln w="1045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23" name="Freeform: Shape 22">
              <a:extLst>
                <a:ext uri="{FF2B5EF4-FFF2-40B4-BE49-F238E27FC236}">
                  <a16:creationId xmlns:a16="http://schemas.microsoft.com/office/drawing/2014/main" id="{7E964039-51B9-40A6-8EF2-B0C6202904B9}"/>
                </a:ext>
              </a:extLst>
            </p:cNvPr>
            <p:cNvSpPr/>
            <p:nvPr/>
          </p:nvSpPr>
          <p:spPr>
            <a:xfrm>
              <a:off x="10567363" y="2071767"/>
              <a:ext cx="135569" cy="82206"/>
            </a:xfrm>
            <a:custGeom>
              <a:avLst/>
              <a:gdLst>
                <a:gd name="connsiteX0" fmla="*/ 117762 w 135569"/>
                <a:gd name="connsiteY0" fmla="*/ 40867 h 82206"/>
                <a:gd name="connsiteX1" fmla="*/ 83888 w 135569"/>
                <a:gd name="connsiteY1" fmla="*/ 14938 h 82206"/>
                <a:gd name="connsiteX2" fmla="*/ 44367 w 135569"/>
                <a:gd name="connsiteY2" fmla="*/ 1555 h 82206"/>
                <a:gd name="connsiteX3" fmla="*/ 2442 w 135569"/>
                <a:gd name="connsiteY3" fmla="*/ 5633 h 82206"/>
                <a:gd name="connsiteX4" fmla="*/ 3906 w 135569"/>
                <a:gd name="connsiteY4" fmla="*/ 15147 h 82206"/>
                <a:gd name="connsiteX5" fmla="*/ 21784 w 135569"/>
                <a:gd name="connsiteY5" fmla="*/ 17447 h 82206"/>
                <a:gd name="connsiteX6" fmla="*/ 39767 w 135569"/>
                <a:gd name="connsiteY6" fmla="*/ 20479 h 82206"/>
                <a:gd name="connsiteX7" fmla="*/ 74478 w 135569"/>
                <a:gd name="connsiteY7" fmla="*/ 33966 h 82206"/>
                <a:gd name="connsiteX8" fmla="*/ 102916 w 135569"/>
                <a:gd name="connsiteY8" fmla="*/ 56445 h 82206"/>
                <a:gd name="connsiteX9" fmla="*/ 128426 w 135569"/>
                <a:gd name="connsiteY9" fmla="*/ 81956 h 82206"/>
                <a:gd name="connsiteX10" fmla="*/ 134804 w 135569"/>
                <a:gd name="connsiteY10" fmla="*/ 78087 h 82206"/>
                <a:gd name="connsiteX11" fmla="*/ 117762 w 135569"/>
                <a:gd name="connsiteY11" fmla="*/ 40867 h 82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5569" h="82206">
                  <a:moveTo>
                    <a:pt x="117762" y="40867"/>
                  </a:moveTo>
                  <a:cubicBezTo>
                    <a:pt x="108248" y="30412"/>
                    <a:pt x="96329" y="21525"/>
                    <a:pt x="83888" y="14938"/>
                  </a:cubicBezTo>
                  <a:cubicBezTo>
                    <a:pt x="71760" y="8456"/>
                    <a:pt x="57959" y="3542"/>
                    <a:pt x="44367" y="1555"/>
                  </a:cubicBezTo>
                  <a:cubicBezTo>
                    <a:pt x="31298" y="-326"/>
                    <a:pt x="14152" y="-1895"/>
                    <a:pt x="2442" y="5633"/>
                  </a:cubicBezTo>
                  <a:cubicBezTo>
                    <a:pt x="-1531" y="8142"/>
                    <a:pt x="-381" y="13788"/>
                    <a:pt x="3906" y="15147"/>
                  </a:cubicBezTo>
                  <a:cubicBezTo>
                    <a:pt x="9656" y="16925"/>
                    <a:pt x="15825" y="16820"/>
                    <a:pt x="21784" y="17447"/>
                  </a:cubicBezTo>
                  <a:cubicBezTo>
                    <a:pt x="27848" y="18075"/>
                    <a:pt x="33912" y="19120"/>
                    <a:pt x="39767" y="20479"/>
                  </a:cubicBezTo>
                  <a:cubicBezTo>
                    <a:pt x="51999" y="23407"/>
                    <a:pt x="63500" y="27693"/>
                    <a:pt x="74478" y="33966"/>
                  </a:cubicBezTo>
                  <a:cubicBezTo>
                    <a:pt x="85142" y="40030"/>
                    <a:pt x="94447" y="47558"/>
                    <a:pt x="102916" y="56445"/>
                  </a:cubicBezTo>
                  <a:cubicBezTo>
                    <a:pt x="110548" y="64600"/>
                    <a:pt x="117553" y="78087"/>
                    <a:pt x="128426" y="81956"/>
                  </a:cubicBezTo>
                  <a:cubicBezTo>
                    <a:pt x="131250" y="83001"/>
                    <a:pt x="134072" y="80596"/>
                    <a:pt x="134804" y="78087"/>
                  </a:cubicBezTo>
                  <a:cubicBezTo>
                    <a:pt x="138882" y="65227"/>
                    <a:pt x="125708" y="49440"/>
                    <a:pt x="117762" y="40867"/>
                  </a:cubicBezTo>
                  <a:close/>
                </a:path>
              </a:pathLst>
            </a:custGeom>
            <a:solidFill>
              <a:srgbClr val="2C1F30"/>
            </a:solidFill>
            <a:ln w="1045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Freeform: Shape 23">
              <a:extLst>
                <a:ext uri="{FF2B5EF4-FFF2-40B4-BE49-F238E27FC236}">
                  <a16:creationId xmlns:a16="http://schemas.microsoft.com/office/drawing/2014/main" id="{CE1F2D29-19BD-4822-89F1-DD8A91A051F1}"/>
                </a:ext>
              </a:extLst>
            </p:cNvPr>
            <p:cNvSpPr/>
            <p:nvPr/>
          </p:nvSpPr>
          <p:spPr>
            <a:xfrm>
              <a:off x="10223739" y="2056990"/>
              <a:ext cx="111271" cy="61643"/>
            </a:xfrm>
            <a:custGeom>
              <a:avLst/>
              <a:gdLst>
                <a:gd name="connsiteX0" fmla="*/ 18088 w 111271"/>
                <a:gd name="connsiteY0" fmla="*/ 23546 h 61643"/>
                <a:gd name="connsiteX1" fmla="*/ 47258 w 111271"/>
                <a:gd name="connsiteY1" fmla="*/ 5145 h 61643"/>
                <a:gd name="connsiteX2" fmla="*/ 78937 w 111271"/>
                <a:gd name="connsiteY2" fmla="*/ 231 h 61643"/>
                <a:gd name="connsiteX3" fmla="*/ 109989 w 111271"/>
                <a:gd name="connsiteY3" fmla="*/ 12778 h 61643"/>
                <a:gd name="connsiteX4" fmla="*/ 107584 w 111271"/>
                <a:gd name="connsiteY4" fmla="*/ 21769 h 61643"/>
                <a:gd name="connsiteX5" fmla="*/ 93783 w 111271"/>
                <a:gd name="connsiteY5" fmla="*/ 20305 h 61643"/>
                <a:gd name="connsiteX6" fmla="*/ 79773 w 111271"/>
                <a:gd name="connsiteY6" fmla="*/ 19573 h 61643"/>
                <a:gd name="connsiteX7" fmla="*/ 51754 w 111271"/>
                <a:gd name="connsiteY7" fmla="*/ 25637 h 61643"/>
                <a:gd name="connsiteX8" fmla="*/ 27184 w 111271"/>
                <a:gd name="connsiteY8" fmla="*/ 41843 h 61643"/>
                <a:gd name="connsiteX9" fmla="*/ 4392 w 111271"/>
                <a:gd name="connsiteY9" fmla="*/ 61603 h 61643"/>
                <a:gd name="connsiteX10" fmla="*/ 105 w 111271"/>
                <a:gd name="connsiteY10" fmla="*/ 56480 h 61643"/>
                <a:gd name="connsiteX11" fmla="*/ 18088 w 111271"/>
                <a:gd name="connsiteY11" fmla="*/ 23546 h 61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1271" h="61643">
                  <a:moveTo>
                    <a:pt x="18088" y="23546"/>
                  </a:moveTo>
                  <a:cubicBezTo>
                    <a:pt x="26766" y="15287"/>
                    <a:pt x="37012" y="9014"/>
                    <a:pt x="47258" y="5145"/>
                  </a:cubicBezTo>
                  <a:cubicBezTo>
                    <a:pt x="57295" y="1277"/>
                    <a:pt x="68377" y="-710"/>
                    <a:pt x="78937" y="231"/>
                  </a:cubicBezTo>
                  <a:cubicBezTo>
                    <a:pt x="89079" y="1068"/>
                    <a:pt x="102252" y="3054"/>
                    <a:pt x="109989" y="12778"/>
                  </a:cubicBezTo>
                  <a:cubicBezTo>
                    <a:pt x="112603" y="16019"/>
                    <a:pt x="110930" y="21351"/>
                    <a:pt x="107584" y="21769"/>
                  </a:cubicBezTo>
                  <a:cubicBezTo>
                    <a:pt x="102984" y="22292"/>
                    <a:pt x="98384" y="20933"/>
                    <a:pt x="93783" y="20305"/>
                  </a:cubicBezTo>
                  <a:cubicBezTo>
                    <a:pt x="89183" y="19678"/>
                    <a:pt x="84478" y="19469"/>
                    <a:pt x="79773" y="19573"/>
                  </a:cubicBezTo>
                  <a:cubicBezTo>
                    <a:pt x="70155" y="19887"/>
                    <a:pt x="60850" y="21769"/>
                    <a:pt x="51754" y="25637"/>
                  </a:cubicBezTo>
                  <a:cubicBezTo>
                    <a:pt x="42867" y="29297"/>
                    <a:pt x="34816" y="34838"/>
                    <a:pt x="27184" y="41843"/>
                  </a:cubicBezTo>
                  <a:cubicBezTo>
                    <a:pt x="20284" y="48221"/>
                    <a:pt x="13070" y="60035"/>
                    <a:pt x="4392" y="61603"/>
                  </a:cubicBezTo>
                  <a:cubicBezTo>
                    <a:pt x="2092" y="62021"/>
                    <a:pt x="419" y="59094"/>
                    <a:pt x="105" y="56480"/>
                  </a:cubicBezTo>
                  <a:cubicBezTo>
                    <a:pt x="-1254" y="42993"/>
                    <a:pt x="10874" y="30342"/>
                    <a:pt x="18088" y="23546"/>
                  </a:cubicBezTo>
                  <a:close/>
                </a:path>
              </a:pathLst>
            </a:custGeom>
            <a:solidFill>
              <a:srgbClr val="2C1F30"/>
            </a:solidFill>
            <a:ln w="1045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Freeform: Shape 24">
              <a:extLst>
                <a:ext uri="{FF2B5EF4-FFF2-40B4-BE49-F238E27FC236}">
                  <a16:creationId xmlns:a16="http://schemas.microsoft.com/office/drawing/2014/main" id="{E488D92E-23C3-462C-9B0B-13B6D991EC93}"/>
                </a:ext>
              </a:extLst>
            </p:cNvPr>
            <p:cNvSpPr/>
            <p:nvPr/>
          </p:nvSpPr>
          <p:spPr>
            <a:xfrm>
              <a:off x="10602876" y="2314876"/>
              <a:ext cx="59527" cy="80635"/>
            </a:xfrm>
            <a:custGeom>
              <a:avLst/>
              <a:gdLst>
                <a:gd name="connsiteX0" fmla="*/ 176 w 59527"/>
                <a:gd name="connsiteY0" fmla="*/ 38017 h 80635"/>
                <a:gd name="connsiteX1" fmla="*/ 26627 w 59527"/>
                <a:gd name="connsiteY1" fmla="*/ 80570 h 80635"/>
                <a:gd name="connsiteX2" fmla="*/ 59352 w 59527"/>
                <a:gd name="connsiteY2" fmla="*/ 42618 h 80635"/>
                <a:gd name="connsiteX3" fmla="*/ 32900 w 59527"/>
                <a:gd name="connsiteY3" fmla="*/ 65 h 80635"/>
                <a:gd name="connsiteX4" fmla="*/ 176 w 59527"/>
                <a:gd name="connsiteY4" fmla="*/ 38017 h 80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527" h="80635">
                  <a:moveTo>
                    <a:pt x="176" y="38017"/>
                  </a:moveTo>
                  <a:cubicBezTo>
                    <a:pt x="-1602" y="60287"/>
                    <a:pt x="10317" y="79315"/>
                    <a:pt x="26627" y="80570"/>
                  </a:cubicBezTo>
                  <a:cubicBezTo>
                    <a:pt x="42937" y="81824"/>
                    <a:pt x="57575" y="64887"/>
                    <a:pt x="59352" y="42618"/>
                  </a:cubicBezTo>
                  <a:cubicBezTo>
                    <a:pt x="61129" y="20348"/>
                    <a:pt x="49210" y="1320"/>
                    <a:pt x="32900" y="65"/>
                  </a:cubicBezTo>
                  <a:cubicBezTo>
                    <a:pt x="16590" y="-1190"/>
                    <a:pt x="1848" y="15852"/>
                    <a:pt x="176" y="38017"/>
                  </a:cubicBezTo>
                  <a:close/>
                </a:path>
              </a:pathLst>
            </a:custGeom>
            <a:solidFill>
              <a:srgbClr val="2C1F30"/>
            </a:solidFill>
            <a:ln w="1045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Freeform: Shape 25">
              <a:extLst>
                <a:ext uri="{FF2B5EF4-FFF2-40B4-BE49-F238E27FC236}">
                  <a16:creationId xmlns:a16="http://schemas.microsoft.com/office/drawing/2014/main" id="{7AD40820-C08A-46F8-99DD-E588E8B68527}"/>
                </a:ext>
              </a:extLst>
            </p:cNvPr>
            <p:cNvSpPr/>
            <p:nvPr/>
          </p:nvSpPr>
          <p:spPr>
            <a:xfrm>
              <a:off x="10241259" y="2289267"/>
              <a:ext cx="55501" cy="75290"/>
            </a:xfrm>
            <a:custGeom>
              <a:avLst/>
              <a:gdLst>
                <a:gd name="connsiteX0" fmla="*/ 149 w 55501"/>
                <a:gd name="connsiteY0" fmla="*/ 35502 h 75290"/>
                <a:gd name="connsiteX1" fmla="*/ 24823 w 55501"/>
                <a:gd name="connsiteY1" fmla="*/ 75231 h 75290"/>
                <a:gd name="connsiteX2" fmla="*/ 55352 w 55501"/>
                <a:gd name="connsiteY2" fmla="*/ 39788 h 75290"/>
                <a:gd name="connsiteX3" fmla="*/ 30678 w 55501"/>
                <a:gd name="connsiteY3" fmla="*/ 59 h 75290"/>
                <a:gd name="connsiteX4" fmla="*/ 149 w 55501"/>
                <a:gd name="connsiteY4" fmla="*/ 35502 h 75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501" h="75290">
                  <a:moveTo>
                    <a:pt x="149" y="35502"/>
                  </a:moveTo>
                  <a:cubicBezTo>
                    <a:pt x="-1419" y="56307"/>
                    <a:pt x="9559" y="74081"/>
                    <a:pt x="24823" y="75231"/>
                  </a:cubicBezTo>
                  <a:cubicBezTo>
                    <a:pt x="40088" y="76381"/>
                    <a:pt x="53784" y="60594"/>
                    <a:pt x="55352" y="39788"/>
                  </a:cubicBezTo>
                  <a:cubicBezTo>
                    <a:pt x="56920" y="18983"/>
                    <a:pt x="45943" y="1209"/>
                    <a:pt x="30678" y="59"/>
                  </a:cubicBezTo>
                  <a:cubicBezTo>
                    <a:pt x="15518" y="-1091"/>
                    <a:pt x="1822" y="14800"/>
                    <a:pt x="149" y="35502"/>
                  </a:cubicBezTo>
                  <a:close/>
                </a:path>
              </a:pathLst>
            </a:custGeom>
            <a:solidFill>
              <a:srgbClr val="2C1F30"/>
            </a:solidFill>
            <a:ln w="1045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Freeform: Shape 26">
              <a:extLst>
                <a:ext uri="{FF2B5EF4-FFF2-40B4-BE49-F238E27FC236}">
                  <a16:creationId xmlns:a16="http://schemas.microsoft.com/office/drawing/2014/main" id="{4776671B-B82C-4FF6-9DCF-18CAFADF1444}"/>
                </a:ext>
              </a:extLst>
            </p:cNvPr>
            <p:cNvSpPr/>
            <p:nvPr/>
          </p:nvSpPr>
          <p:spPr>
            <a:xfrm>
              <a:off x="10338012" y="2299374"/>
              <a:ext cx="80164" cy="179736"/>
            </a:xfrm>
            <a:custGeom>
              <a:avLst/>
              <a:gdLst>
                <a:gd name="connsiteX0" fmla="*/ 77998 w 80164"/>
                <a:gd name="connsiteY0" fmla="*/ 171662 h 179736"/>
                <a:gd name="connsiteX1" fmla="*/ 43600 w 80164"/>
                <a:gd name="connsiteY1" fmla="*/ 161102 h 179736"/>
                <a:gd name="connsiteX2" fmla="*/ 15790 w 80164"/>
                <a:gd name="connsiteY2" fmla="*/ 150125 h 179736"/>
                <a:gd name="connsiteX3" fmla="*/ 49873 w 80164"/>
                <a:gd name="connsiteY3" fmla="*/ 93771 h 179736"/>
                <a:gd name="connsiteX4" fmla="*/ 66602 w 80164"/>
                <a:gd name="connsiteY4" fmla="*/ 3648 h 179736"/>
                <a:gd name="connsiteX5" fmla="*/ 60538 w 80164"/>
                <a:gd name="connsiteY5" fmla="*/ 2393 h 179736"/>
                <a:gd name="connsiteX6" fmla="*/ 42032 w 80164"/>
                <a:gd name="connsiteY6" fmla="*/ 84466 h 179736"/>
                <a:gd name="connsiteX7" fmla="*/ 2407 w 80164"/>
                <a:gd name="connsiteY7" fmla="*/ 147093 h 179736"/>
                <a:gd name="connsiteX8" fmla="*/ 2930 w 80164"/>
                <a:gd name="connsiteY8" fmla="*/ 156607 h 179736"/>
                <a:gd name="connsiteX9" fmla="*/ 38791 w 80164"/>
                <a:gd name="connsiteY9" fmla="*/ 171349 h 179736"/>
                <a:gd name="connsiteX10" fmla="*/ 76325 w 80164"/>
                <a:gd name="connsiteY10" fmla="*/ 179504 h 179736"/>
                <a:gd name="connsiteX11" fmla="*/ 77998 w 80164"/>
                <a:gd name="connsiteY11" fmla="*/ 171662 h 179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164" h="179736">
                  <a:moveTo>
                    <a:pt x="77998" y="171662"/>
                  </a:moveTo>
                  <a:cubicBezTo>
                    <a:pt x="67856" y="166016"/>
                    <a:pt x="54578" y="164657"/>
                    <a:pt x="43600" y="161102"/>
                  </a:cubicBezTo>
                  <a:cubicBezTo>
                    <a:pt x="34086" y="157966"/>
                    <a:pt x="24885" y="154202"/>
                    <a:pt x="15790" y="150125"/>
                  </a:cubicBezTo>
                  <a:cubicBezTo>
                    <a:pt x="32309" y="134965"/>
                    <a:pt x="42973" y="115100"/>
                    <a:pt x="49873" y="93771"/>
                  </a:cubicBezTo>
                  <a:cubicBezTo>
                    <a:pt x="59283" y="64811"/>
                    <a:pt x="63465" y="33759"/>
                    <a:pt x="66602" y="3648"/>
                  </a:cubicBezTo>
                  <a:cubicBezTo>
                    <a:pt x="67020" y="-220"/>
                    <a:pt x="61479" y="-1580"/>
                    <a:pt x="60538" y="2393"/>
                  </a:cubicBezTo>
                  <a:cubicBezTo>
                    <a:pt x="54474" y="29681"/>
                    <a:pt x="50082" y="57701"/>
                    <a:pt x="42032" y="84466"/>
                  </a:cubicBezTo>
                  <a:cubicBezTo>
                    <a:pt x="34818" y="108304"/>
                    <a:pt x="22690" y="131724"/>
                    <a:pt x="2407" y="147093"/>
                  </a:cubicBezTo>
                  <a:cubicBezTo>
                    <a:pt x="-834" y="149497"/>
                    <a:pt x="-939" y="154725"/>
                    <a:pt x="2930" y="156607"/>
                  </a:cubicBezTo>
                  <a:cubicBezTo>
                    <a:pt x="14535" y="162253"/>
                    <a:pt x="26558" y="167166"/>
                    <a:pt x="38791" y="171349"/>
                  </a:cubicBezTo>
                  <a:cubicBezTo>
                    <a:pt x="50082" y="175217"/>
                    <a:pt x="64197" y="180967"/>
                    <a:pt x="76325" y="179504"/>
                  </a:cubicBezTo>
                  <a:cubicBezTo>
                    <a:pt x="80402" y="178876"/>
                    <a:pt x="81657" y="173649"/>
                    <a:pt x="77998" y="171662"/>
                  </a:cubicBezTo>
                  <a:close/>
                </a:path>
              </a:pathLst>
            </a:custGeom>
            <a:solidFill>
              <a:srgbClr val="BC4A60">
                <a:alpha val="50000"/>
              </a:srgbClr>
            </a:solidFill>
            <a:ln w="1045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28" name="Graphic 4">
              <a:extLst>
                <a:ext uri="{FF2B5EF4-FFF2-40B4-BE49-F238E27FC236}">
                  <a16:creationId xmlns:a16="http://schemas.microsoft.com/office/drawing/2014/main" id="{4BF9B64A-7FDF-4F8A-8993-85C61CF3A0D4}"/>
                </a:ext>
              </a:extLst>
            </p:cNvPr>
            <p:cNvGrpSpPr/>
            <p:nvPr/>
          </p:nvGrpSpPr>
          <p:grpSpPr>
            <a:xfrm>
              <a:off x="10953127" y="2243070"/>
              <a:ext cx="215119" cy="267578"/>
              <a:chOff x="10953127" y="2243070"/>
              <a:chExt cx="215119" cy="267578"/>
            </a:xfrm>
            <a:solidFill>
              <a:schemeClr val="accent1"/>
            </a:solidFill>
          </p:grpSpPr>
          <p:sp>
            <p:nvSpPr>
              <p:cNvPr id="36" name="Freeform: Shape 35">
                <a:extLst>
                  <a:ext uri="{FF2B5EF4-FFF2-40B4-BE49-F238E27FC236}">
                    <a16:creationId xmlns:a16="http://schemas.microsoft.com/office/drawing/2014/main" id="{49581E5A-F612-4AE7-8B3C-A6FACE55DBB5}"/>
                  </a:ext>
                </a:extLst>
              </p:cNvPr>
              <p:cNvSpPr/>
              <p:nvPr/>
            </p:nvSpPr>
            <p:spPr>
              <a:xfrm>
                <a:off x="10953127" y="2243070"/>
                <a:ext cx="215119" cy="267578"/>
              </a:xfrm>
              <a:custGeom>
                <a:avLst/>
                <a:gdLst>
                  <a:gd name="connsiteX0" fmla="*/ 7073 w 215119"/>
                  <a:gd name="connsiteY0" fmla="*/ 227025 h 267578"/>
                  <a:gd name="connsiteX1" fmla="*/ 144349 w 215119"/>
                  <a:gd name="connsiteY1" fmla="*/ 246158 h 267578"/>
                  <a:gd name="connsiteX2" fmla="*/ 198402 w 215119"/>
                  <a:gd name="connsiteY2" fmla="*/ 34023 h 267578"/>
                  <a:gd name="connsiteX3" fmla="*/ 23696 w 215119"/>
                  <a:gd name="connsiteY3" fmla="*/ 73125 h 267578"/>
                  <a:gd name="connsiteX4" fmla="*/ 7073 w 215119"/>
                  <a:gd name="connsiteY4" fmla="*/ 227025 h 2675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119" h="267578">
                    <a:moveTo>
                      <a:pt x="7073" y="227025"/>
                    </a:moveTo>
                    <a:cubicBezTo>
                      <a:pt x="21501" y="268636"/>
                      <a:pt x="89459" y="283587"/>
                      <a:pt x="144349" y="246158"/>
                    </a:cubicBezTo>
                    <a:cubicBezTo>
                      <a:pt x="199238" y="208728"/>
                      <a:pt x="239177" y="95604"/>
                      <a:pt x="198402" y="34023"/>
                    </a:cubicBezTo>
                    <a:cubicBezTo>
                      <a:pt x="157627" y="-27558"/>
                      <a:pt x="60603" y="-165"/>
                      <a:pt x="23696" y="73125"/>
                    </a:cubicBezTo>
                    <a:cubicBezTo>
                      <a:pt x="-4219" y="128433"/>
                      <a:pt x="-4219" y="194614"/>
                      <a:pt x="7073" y="227025"/>
                    </a:cubicBezTo>
                    <a:close/>
                  </a:path>
                </a:pathLst>
              </a:custGeom>
              <a:solidFill>
                <a:srgbClr val="E29A8F"/>
              </a:solidFill>
              <a:ln w="1045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 name="Freeform: Shape 36">
                <a:extLst>
                  <a:ext uri="{FF2B5EF4-FFF2-40B4-BE49-F238E27FC236}">
                    <a16:creationId xmlns:a16="http://schemas.microsoft.com/office/drawing/2014/main" id="{F9EAFDA7-A952-4989-BE11-E9256978DB20}"/>
                  </a:ext>
                </a:extLst>
              </p:cNvPr>
              <p:cNvSpPr/>
              <p:nvPr/>
            </p:nvSpPr>
            <p:spPr>
              <a:xfrm>
                <a:off x="11011512" y="2310861"/>
                <a:ext cx="103344" cy="121701"/>
              </a:xfrm>
              <a:custGeom>
                <a:avLst/>
                <a:gdLst>
                  <a:gd name="connsiteX0" fmla="*/ 102170 w 103344"/>
                  <a:gd name="connsiteY0" fmla="*/ 7530 h 121701"/>
                  <a:gd name="connsiteX1" fmla="*/ 100393 w 103344"/>
                  <a:gd name="connsiteY1" fmla="*/ 734 h 121701"/>
                  <a:gd name="connsiteX2" fmla="*/ 62127 w 103344"/>
                  <a:gd name="connsiteY2" fmla="*/ 12235 h 121701"/>
                  <a:gd name="connsiteX3" fmla="*/ 30029 w 103344"/>
                  <a:gd name="connsiteY3" fmla="*/ 39000 h 121701"/>
                  <a:gd name="connsiteX4" fmla="*/ 23 w 103344"/>
                  <a:gd name="connsiteY4" fmla="*/ 116891 h 121701"/>
                  <a:gd name="connsiteX5" fmla="*/ 9642 w 103344"/>
                  <a:gd name="connsiteY5" fmla="*/ 118145 h 121701"/>
                  <a:gd name="connsiteX6" fmla="*/ 41635 w 103344"/>
                  <a:gd name="connsiteY6" fmla="*/ 49141 h 121701"/>
                  <a:gd name="connsiteX7" fmla="*/ 49162 w 103344"/>
                  <a:gd name="connsiteY7" fmla="*/ 41823 h 121701"/>
                  <a:gd name="connsiteX8" fmla="*/ 52403 w 103344"/>
                  <a:gd name="connsiteY8" fmla="*/ 45482 h 121701"/>
                  <a:gd name="connsiteX9" fmla="*/ 58049 w 103344"/>
                  <a:gd name="connsiteY9" fmla="*/ 51964 h 121701"/>
                  <a:gd name="connsiteX10" fmla="*/ 68086 w 103344"/>
                  <a:gd name="connsiteY10" fmla="*/ 66183 h 121701"/>
                  <a:gd name="connsiteX11" fmla="*/ 84814 w 103344"/>
                  <a:gd name="connsiteY11" fmla="*/ 97131 h 121701"/>
                  <a:gd name="connsiteX12" fmla="*/ 90146 w 103344"/>
                  <a:gd name="connsiteY12" fmla="*/ 96399 h 121701"/>
                  <a:gd name="connsiteX13" fmla="*/ 79482 w 103344"/>
                  <a:gd name="connsiteY13" fmla="*/ 59492 h 121701"/>
                  <a:gd name="connsiteX14" fmla="*/ 67668 w 103344"/>
                  <a:gd name="connsiteY14" fmla="*/ 43705 h 121701"/>
                  <a:gd name="connsiteX15" fmla="*/ 60976 w 103344"/>
                  <a:gd name="connsiteY15" fmla="*/ 37013 h 121701"/>
                  <a:gd name="connsiteX16" fmla="*/ 57631 w 103344"/>
                  <a:gd name="connsiteY16" fmla="*/ 34295 h 121701"/>
                  <a:gd name="connsiteX17" fmla="*/ 69968 w 103344"/>
                  <a:gd name="connsiteY17" fmla="*/ 25408 h 121701"/>
                  <a:gd name="connsiteX18" fmla="*/ 102170 w 103344"/>
                  <a:gd name="connsiteY18" fmla="*/ 7530 h 121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3344" h="121701">
                    <a:moveTo>
                      <a:pt x="102170" y="7530"/>
                    </a:moveTo>
                    <a:cubicBezTo>
                      <a:pt x="104366" y="5439"/>
                      <a:pt x="103320" y="1466"/>
                      <a:pt x="100393" y="734"/>
                    </a:cubicBezTo>
                    <a:cubicBezTo>
                      <a:pt x="87428" y="-2507"/>
                      <a:pt x="72895" y="5648"/>
                      <a:pt x="62127" y="12235"/>
                    </a:cubicBezTo>
                    <a:cubicBezTo>
                      <a:pt x="50208" y="19449"/>
                      <a:pt x="39125" y="28440"/>
                      <a:pt x="30029" y="39000"/>
                    </a:cubicBezTo>
                    <a:cubicBezTo>
                      <a:pt x="11628" y="60328"/>
                      <a:pt x="-604" y="88453"/>
                      <a:pt x="23" y="116891"/>
                    </a:cubicBezTo>
                    <a:cubicBezTo>
                      <a:pt x="128" y="122223"/>
                      <a:pt x="8387" y="123791"/>
                      <a:pt x="9642" y="118145"/>
                    </a:cubicBezTo>
                    <a:cubicBezTo>
                      <a:pt x="14974" y="92844"/>
                      <a:pt x="24279" y="68797"/>
                      <a:pt x="41635" y="49141"/>
                    </a:cubicBezTo>
                    <a:cubicBezTo>
                      <a:pt x="43935" y="46528"/>
                      <a:pt x="46653" y="44227"/>
                      <a:pt x="49162" y="41823"/>
                    </a:cubicBezTo>
                    <a:cubicBezTo>
                      <a:pt x="50208" y="43077"/>
                      <a:pt x="51358" y="44332"/>
                      <a:pt x="52403" y="45482"/>
                    </a:cubicBezTo>
                    <a:cubicBezTo>
                      <a:pt x="54285" y="47678"/>
                      <a:pt x="56167" y="49769"/>
                      <a:pt x="58049" y="51964"/>
                    </a:cubicBezTo>
                    <a:cubicBezTo>
                      <a:pt x="61813" y="56355"/>
                      <a:pt x="65054" y="61165"/>
                      <a:pt x="68086" y="66183"/>
                    </a:cubicBezTo>
                    <a:cubicBezTo>
                      <a:pt x="74255" y="76220"/>
                      <a:pt x="77914" y="87616"/>
                      <a:pt x="84814" y="97131"/>
                    </a:cubicBezTo>
                    <a:cubicBezTo>
                      <a:pt x="86069" y="98908"/>
                      <a:pt x="89728" y="99222"/>
                      <a:pt x="90146" y="96399"/>
                    </a:cubicBezTo>
                    <a:cubicBezTo>
                      <a:pt x="92238" y="83121"/>
                      <a:pt x="86278" y="70470"/>
                      <a:pt x="79482" y="59492"/>
                    </a:cubicBezTo>
                    <a:cubicBezTo>
                      <a:pt x="76032" y="53951"/>
                      <a:pt x="71955" y="48619"/>
                      <a:pt x="67668" y="43705"/>
                    </a:cubicBezTo>
                    <a:cubicBezTo>
                      <a:pt x="65577" y="41300"/>
                      <a:pt x="63381" y="39000"/>
                      <a:pt x="60976" y="37013"/>
                    </a:cubicBezTo>
                    <a:cubicBezTo>
                      <a:pt x="59827" y="36072"/>
                      <a:pt x="58781" y="35131"/>
                      <a:pt x="57631" y="34295"/>
                    </a:cubicBezTo>
                    <a:cubicBezTo>
                      <a:pt x="61604" y="31159"/>
                      <a:pt x="65577" y="28022"/>
                      <a:pt x="69968" y="25408"/>
                    </a:cubicBezTo>
                    <a:cubicBezTo>
                      <a:pt x="80110" y="19135"/>
                      <a:pt x="93492" y="15894"/>
                      <a:pt x="102170" y="7530"/>
                    </a:cubicBezTo>
                    <a:close/>
                  </a:path>
                </a:pathLst>
              </a:custGeom>
              <a:solidFill>
                <a:srgbClr val="BC4A60">
                  <a:alpha val="50000"/>
                </a:srgbClr>
              </a:solidFill>
              <a:ln w="1045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29" name="Freeform: Shape 28">
              <a:extLst>
                <a:ext uri="{FF2B5EF4-FFF2-40B4-BE49-F238E27FC236}">
                  <a16:creationId xmlns:a16="http://schemas.microsoft.com/office/drawing/2014/main" id="{9EB64C48-91DD-4EEE-89B7-833C2A6B338B}"/>
                </a:ext>
              </a:extLst>
            </p:cNvPr>
            <p:cNvSpPr/>
            <p:nvPr/>
          </p:nvSpPr>
          <p:spPr>
            <a:xfrm>
              <a:off x="10729440" y="2333133"/>
              <a:ext cx="232650" cy="194384"/>
            </a:xfrm>
            <a:custGeom>
              <a:avLst/>
              <a:gdLst>
                <a:gd name="connsiteX0" fmla="*/ 229715 w 232650"/>
                <a:gd name="connsiteY0" fmla="*/ 2196 h 194384"/>
                <a:gd name="connsiteX1" fmla="*/ 223546 w 232650"/>
                <a:gd name="connsiteY1" fmla="*/ 0 h 194384"/>
                <a:gd name="connsiteX2" fmla="*/ 217064 w 232650"/>
                <a:gd name="connsiteY2" fmla="*/ 3032 h 194384"/>
                <a:gd name="connsiteX3" fmla="*/ 127673 w 232650"/>
                <a:gd name="connsiteY3" fmla="*/ 99115 h 194384"/>
                <a:gd name="connsiteX4" fmla="*/ 128404 w 232650"/>
                <a:gd name="connsiteY4" fmla="*/ 98488 h 194384"/>
                <a:gd name="connsiteX5" fmla="*/ 126941 w 232650"/>
                <a:gd name="connsiteY5" fmla="*/ 99742 h 194384"/>
                <a:gd name="connsiteX6" fmla="*/ 126627 w 232650"/>
                <a:gd name="connsiteY6" fmla="*/ 100056 h 194384"/>
                <a:gd name="connsiteX7" fmla="*/ 126836 w 232650"/>
                <a:gd name="connsiteY7" fmla="*/ 99847 h 194384"/>
                <a:gd name="connsiteX8" fmla="*/ 24062 w 232650"/>
                <a:gd name="connsiteY8" fmla="*/ 168955 h 194384"/>
                <a:gd name="connsiteX9" fmla="*/ 25212 w 232650"/>
                <a:gd name="connsiteY9" fmla="*/ 168432 h 194384"/>
                <a:gd name="connsiteX10" fmla="*/ 6184 w 232650"/>
                <a:gd name="connsiteY10" fmla="*/ 176797 h 194384"/>
                <a:gd name="connsiteX11" fmla="*/ 956 w 232650"/>
                <a:gd name="connsiteY11" fmla="*/ 181292 h 194384"/>
                <a:gd name="connsiteX12" fmla="*/ 433 w 232650"/>
                <a:gd name="connsiteY12" fmla="*/ 188088 h 194384"/>
                <a:gd name="connsiteX13" fmla="*/ 11725 w 232650"/>
                <a:gd name="connsiteY13" fmla="*/ 193838 h 194384"/>
                <a:gd name="connsiteX14" fmla="*/ 132273 w 232650"/>
                <a:gd name="connsiteY14" fmla="*/ 118561 h 194384"/>
                <a:gd name="connsiteX15" fmla="*/ 230447 w 232650"/>
                <a:gd name="connsiteY15" fmla="*/ 14846 h 194384"/>
                <a:gd name="connsiteX16" fmla="*/ 232642 w 232650"/>
                <a:gd name="connsiteY16" fmla="*/ 8469 h 194384"/>
                <a:gd name="connsiteX17" fmla="*/ 229715 w 232650"/>
                <a:gd name="connsiteY17" fmla="*/ 2196 h 194384"/>
                <a:gd name="connsiteX18" fmla="*/ 127045 w 232650"/>
                <a:gd name="connsiteY18" fmla="*/ 99742 h 194384"/>
                <a:gd name="connsiteX19" fmla="*/ 127777 w 232650"/>
                <a:gd name="connsiteY19" fmla="*/ 99115 h 194384"/>
                <a:gd name="connsiteX20" fmla="*/ 127045 w 232650"/>
                <a:gd name="connsiteY20" fmla="*/ 99742 h 194384"/>
                <a:gd name="connsiteX21" fmla="*/ 127045 w 232650"/>
                <a:gd name="connsiteY21" fmla="*/ 99742 h 194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32650" h="194384">
                  <a:moveTo>
                    <a:pt x="229715" y="2196"/>
                  </a:moveTo>
                  <a:cubicBezTo>
                    <a:pt x="228042" y="732"/>
                    <a:pt x="225846" y="0"/>
                    <a:pt x="223546" y="0"/>
                  </a:cubicBezTo>
                  <a:cubicBezTo>
                    <a:pt x="221037" y="0"/>
                    <a:pt x="218632" y="941"/>
                    <a:pt x="217064" y="3032"/>
                  </a:cubicBezTo>
                  <a:cubicBezTo>
                    <a:pt x="190717" y="38057"/>
                    <a:pt x="160711" y="70259"/>
                    <a:pt x="127673" y="99115"/>
                  </a:cubicBezTo>
                  <a:cubicBezTo>
                    <a:pt x="127882" y="98906"/>
                    <a:pt x="128195" y="98697"/>
                    <a:pt x="128404" y="98488"/>
                  </a:cubicBezTo>
                  <a:cubicBezTo>
                    <a:pt x="127882" y="98906"/>
                    <a:pt x="127463" y="99324"/>
                    <a:pt x="126941" y="99742"/>
                  </a:cubicBezTo>
                  <a:cubicBezTo>
                    <a:pt x="126836" y="99847"/>
                    <a:pt x="126732" y="99951"/>
                    <a:pt x="126627" y="100056"/>
                  </a:cubicBezTo>
                  <a:cubicBezTo>
                    <a:pt x="126732" y="99951"/>
                    <a:pt x="126836" y="99951"/>
                    <a:pt x="126836" y="99847"/>
                  </a:cubicBezTo>
                  <a:cubicBezTo>
                    <a:pt x="95471" y="126821"/>
                    <a:pt x="61387" y="150868"/>
                    <a:pt x="24062" y="168955"/>
                  </a:cubicBezTo>
                  <a:cubicBezTo>
                    <a:pt x="24480" y="168746"/>
                    <a:pt x="24898" y="168537"/>
                    <a:pt x="25212" y="168432"/>
                  </a:cubicBezTo>
                  <a:cubicBezTo>
                    <a:pt x="18939" y="171360"/>
                    <a:pt x="12666" y="174183"/>
                    <a:pt x="6184" y="176797"/>
                  </a:cubicBezTo>
                  <a:cubicBezTo>
                    <a:pt x="3884" y="177738"/>
                    <a:pt x="2001" y="179097"/>
                    <a:pt x="956" y="181292"/>
                  </a:cubicBezTo>
                  <a:cubicBezTo>
                    <a:pt x="-89" y="183383"/>
                    <a:pt x="-299" y="185788"/>
                    <a:pt x="433" y="188088"/>
                  </a:cubicBezTo>
                  <a:cubicBezTo>
                    <a:pt x="1897" y="192479"/>
                    <a:pt x="7229" y="195720"/>
                    <a:pt x="11725" y="193838"/>
                  </a:cubicBezTo>
                  <a:cubicBezTo>
                    <a:pt x="55846" y="175856"/>
                    <a:pt x="96098" y="149300"/>
                    <a:pt x="132273" y="118561"/>
                  </a:cubicBezTo>
                  <a:cubicBezTo>
                    <a:pt x="168657" y="87719"/>
                    <a:pt x="201800" y="53008"/>
                    <a:pt x="230447" y="14846"/>
                  </a:cubicBezTo>
                  <a:cubicBezTo>
                    <a:pt x="231910" y="12964"/>
                    <a:pt x="232747" y="10978"/>
                    <a:pt x="232642" y="8469"/>
                  </a:cubicBezTo>
                  <a:cubicBezTo>
                    <a:pt x="232642" y="6064"/>
                    <a:pt x="231492" y="3764"/>
                    <a:pt x="229715" y="2196"/>
                  </a:cubicBezTo>
                  <a:moveTo>
                    <a:pt x="127045" y="99742"/>
                  </a:moveTo>
                  <a:cubicBezTo>
                    <a:pt x="127254" y="99533"/>
                    <a:pt x="127568" y="99324"/>
                    <a:pt x="127777" y="99115"/>
                  </a:cubicBezTo>
                  <a:cubicBezTo>
                    <a:pt x="127463" y="99324"/>
                    <a:pt x="127254" y="99533"/>
                    <a:pt x="127045" y="99742"/>
                  </a:cubicBezTo>
                  <a:cubicBezTo>
                    <a:pt x="127045" y="99742"/>
                    <a:pt x="127045" y="99742"/>
                    <a:pt x="127045" y="99742"/>
                  </a:cubicBezTo>
                </a:path>
              </a:pathLst>
            </a:custGeom>
            <a:solidFill>
              <a:srgbClr val="FEFEFE"/>
            </a:solidFill>
            <a:ln w="1045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Freeform: Shape 29">
              <a:extLst>
                <a:ext uri="{FF2B5EF4-FFF2-40B4-BE49-F238E27FC236}">
                  <a16:creationId xmlns:a16="http://schemas.microsoft.com/office/drawing/2014/main" id="{9AF60CD9-1E22-466F-B28F-D8A9620F4358}"/>
                </a:ext>
              </a:extLst>
            </p:cNvPr>
            <p:cNvSpPr/>
            <p:nvPr/>
          </p:nvSpPr>
          <p:spPr>
            <a:xfrm>
              <a:off x="10138007" y="2325396"/>
              <a:ext cx="64339" cy="138022"/>
            </a:xfrm>
            <a:custGeom>
              <a:avLst/>
              <a:gdLst>
                <a:gd name="connsiteX0" fmla="*/ 22687 w 64339"/>
                <a:gd name="connsiteY0" fmla="*/ 52171 h 138022"/>
                <a:gd name="connsiteX1" fmla="*/ 7318 w 64339"/>
                <a:gd name="connsiteY1" fmla="*/ 0 h 138022"/>
                <a:gd name="connsiteX2" fmla="*/ 0 w 64339"/>
                <a:gd name="connsiteY2" fmla="*/ 40671 h 138022"/>
                <a:gd name="connsiteX3" fmla="*/ 11082 w 64339"/>
                <a:gd name="connsiteY3" fmla="*/ 71200 h 138022"/>
                <a:gd name="connsiteX4" fmla="*/ 48930 w 64339"/>
                <a:gd name="connsiteY4" fmla="*/ 135185 h 138022"/>
                <a:gd name="connsiteX5" fmla="*/ 61581 w 64339"/>
                <a:gd name="connsiteY5" fmla="*/ 135603 h 138022"/>
                <a:gd name="connsiteX6" fmla="*/ 61999 w 64339"/>
                <a:gd name="connsiteY6" fmla="*/ 122953 h 138022"/>
                <a:gd name="connsiteX7" fmla="*/ 52589 w 64339"/>
                <a:gd name="connsiteY7" fmla="*/ 110929 h 138022"/>
                <a:gd name="connsiteX8" fmla="*/ 22687 w 64339"/>
                <a:gd name="connsiteY8" fmla="*/ 52171 h 138022"/>
                <a:gd name="connsiteX9" fmla="*/ 52694 w 64339"/>
                <a:gd name="connsiteY9" fmla="*/ 111034 h 138022"/>
                <a:gd name="connsiteX10" fmla="*/ 53739 w 64339"/>
                <a:gd name="connsiteY10" fmla="*/ 112497 h 138022"/>
                <a:gd name="connsiteX11" fmla="*/ 52694 w 64339"/>
                <a:gd name="connsiteY11" fmla="*/ 111034 h 138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4339" h="138022">
                  <a:moveTo>
                    <a:pt x="22687" y="52171"/>
                  </a:moveTo>
                  <a:cubicBezTo>
                    <a:pt x="16519" y="35129"/>
                    <a:pt x="11500" y="17669"/>
                    <a:pt x="7318" y="0"/>
                  </a:cubicBezTo>
                  <a:cubicBezTo>
                    <a:pt x="4914" y="13592"/>
                    <a:pt x="2195" y="27079"/>
                    <a:pt x="0" y="40671"/>
                  </a:cubicBezTo>
                  <a:cubicBezTo>
                    <a:pt x="3241" y="51021"/>
                    <a:pt x="6900" y="61163"/>
                    <a:pt x="11082" y="71200"/>
                  </a:cubicBezTo>
                  <a:cubicBezTo>
                    <a:pt x="20597" y="94201"/>
                    <a:pt x="32829" y="116157"/>
                    <a:pt x="48930" y="135185"/>
                  </a:cubicBezTo>
                  <a:cubicBezTo>
                    <a:pt x="52066" y="138949"/>
                    <a:pt x="58131" y="138844"/>
                    <a:pt x="61581" y="135603"/>
                  </a:cubicBezTo>
                  <a:cubicBezTo>
                    <a:pt x="65240" y="132153"/>
                    <a:pt x="65135" y="126716"/>
                    <a:pt x="61999" y="122953"/>
                  </a:cubicBezTo>
                  <a:cubicBezTo>
                    <a:pt x="58653" y="119084"/>
                    <a:pt x="55517" y="115007"/>
                    <a:pt x="52589" y="110929"/>
                  </a:cubicBezTo>
                  <a:cubicBezTo>
                    <a:pt x="40043" y="92737"/>
                    <a:pt x="30425" y="72768"/>
                    <a:pt x="22687" y="52171"/>
                  </a:cubicBezTo>
                  <a:moveTo>
                    <a:pt x="52694" y="111034"/>
                  </a:moveTo>
                  <a:cubicBezTo>
                    <a:pt x="53112" y="111556"/>
                    <a:pt x="53426" y="111975"/>
                    <a:pt x="53739" y="112497"/>
                  </a:cubicBezTo>
                  <a:cubicBezTo>
                    <a:pt x="53321" y="112079"/>
                    <a:pt x="53007" y="111556"/>
                    <a:pt x="52694" y="111034"/>
                  </a:cubicBezTo>
                </a:path>
              </a:pathLst>
            </a:custGeom>
            <a:solidFill>
              <a:srgbClr val="FEFEFE"/>
            </a:solidFill>
            <a:ln w="1045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Freeform: Shape 30">
              <a:extLst>
                <a:ext uri="{FF2B5EF4-FFF2-40B4-BE49-F238E27FC236}">
                  <a16:creationId xmlns:a16="http://schemas.microsoft.com/office/drawing/2014/main" id="{24AB2BA3-2055-4B50-8B18-683D5F5A74C3}"/>
                </a:ext>
              </a:extLst>
            </p:cNvPr>
            <p:cNvSpPr/>
            <p:nvPr/>
          </p:nvSpPr>
          <p:spPr>
            <a:xfrm>
              <a:off x="10157777" y="2359062"/>
              <a:ext cx="632830" cy="441102"/>
            </a:xfrm>
            <a:custGeom>
              <a:avLst/>
              <a:gdLst>
                <a:gd name="connsiteX0" fmla="*/ 279665 w 632830"/>
                <a:gd name="connsiteY0" fmla="*/ 523 h 441102"/>
                <a:gd name="connsiteX1" fmla="*/ 266910 w 632830"/>
                <a:gd name="connsiteY1" fmla="*/ 0 h 441102"/>
                <a:gd name="connsiteX2" fmla="*/ 258442 w 632830"/>
                <a:gd name="connsiteY2" fmla="*/ 209 h 441102"/>
                <a:gd name="connsiteX3" fmla="*/ 235440 w 632830"/>
                <a:gd name="connsiteY3" fmla="*/ 3346 h 441102"/>
                <a:gd name="connsiteX4" fmla="*/ 212753 w 632830"/>
                <a:gd name="connsiteY4" fmla="*/ 9514 h 441102"/>
                <a:gd name="connsiteX5" fmla="*/ 121270 w 632830"/>
                <a:gd name="connsiteY5" fmla="*/ 48930 h 441102"/>
                <a:gd name="connsiteX6" fmla="*/ 75581 w 632830"/>
                <a:gd name="connsiteY6" fmla="*/ 63881 h 441102"/>
                <a:gd name="connsiteX7" fmla="*/ 68681 w 632830"/>
                <a:gd name="connsiteY7" fmla="*/ 65240 h 441102"/>
                <a:gd name="connsiteX8" fmla="*/ 64080 w 632830"/>
                <a:gd name="connsiteY8" fmla="*/ 66390 h 441102"/>
                <a:gd name="connsiteX9" fmla="*/ 49652 w 632830"/>
                <a:gd name="connsiteY9" fmla="*/ 68690 h 441102"/>
                <a:gd name="connsiteX10" fmla="*/ 32924 w 632830"/>
                <a:gd name="connsiteY10" fmla="*/ 69736 h 441102"/>
                <a:gd name="connsiteX11" fmla="*/ 26546 w 632830"/>
                <a:gd name="connsiteY11" fmla="*/ 70049 h 441102"/>
                <a:gd name="connsiteX12" fmla="*/ 24246 w 632830"/>
                <a:gd name="connsiteY12" fmla="*/ 74859 h 441102"/>
                <a:gd name="connsiteX13" fmla="*/ 24246 w 632830"/>
                <a:gd name="connsiteY13" fmla="*/ 74859 h 441102"/>
                <a:gd name="connsiteX14" fmla="*/ 24246 w 632830"/>
                <a:gd name="connsiteY14" fmla="*/ 74859 h 441102"/>
                <a:gd name="connsiteX15" fmla="*/ 24037 w 632830"/>
                <a:gd name="connsiteY15" fmla="*/ 75382 h 441102"/>
                <a:gd name="connsiteX16" fmla="*/ 24037 w 632830"/>
                <a:gd name="connsiteY16" fmla="*/ 75277 h 441102"/>
                <a:gd name="connsiteX17" fmla="*/ 12537 w 632830"/>
                <a:gd name="connsiteY17" fmla="*/ 106224 h 441102"/>
                <a:gd name="connsiteX18" fmla="*/ 4486 w 632830"/>
                <a:gd name="connsiteY18" fmla="*/ 140204 h 441102"/>
                <a:gd name="connsiteX19" fmla="*/ 4486 w 632830"/>
                <a:gd name="connsiteY19" fmla="*/ 140204 h 441102"/>
                <a:gd name="connsiteX20" fmla="*/ 200 w 632830"/>
                <a:gd name="connsiteY20" fmla="*/ 183070 h 441102"/>
                <a:gd name="connsiteX21" fmla="*/ 1558 w 632830"/>
                <a:gd name="connsiteY21" fmla="*/ 227190 h 441102"/>
                <a:gd name="connsiteX22" fmla="*/ 1558 w 632830"/>
                <a:gd name="connsiteY22" fmla="*/ 226981 h 441102"/>
                <a:gd name="connsiteX23" fmla="*/ 1558 w 632830"/>
                <a:gd name="connsiteY23" fmla="*/ 227295 h 441102"/>
                <a:gd name="connsiteX24" fmla="*/ 1558 w 632830"/>
                <a:gd name="connsiteY24" fmla="*/ 227609 h 441102"/>
                <a:gd name="connsiteX25" fmla="*/ 1558 w 632830"/>
                <a:gd name="connsiteY25" fmla="*/ 227609 h 441102"/>
                <a:gd name="connsiteX26" fmla="*/ 8564 w 632830"/>
                <a:gd name="connsiteY26" fmla="*/ 269638 h 441102"/>
                <a:gd name="connsiteX27" fmla="*/ 17868 w 632830"/>
                <a:gd name="connsiteY27" fmla="*/ 283857 h 441102"/>
                <a:gd name="connsiteX28" fmla="*/ 263146 w 632830"/>
                <a:gd name="connsiteY28" fmla="*/ 433052 h 441102"/>
                <a:gd name="connsiteX29" fmla="*/ 349819 w 632830"/>
                <a:gd name="connsiteY29" fmla="*/ 441103 h 441102"/>
                <a:gd name="connsiteX30" fmla="*/ 407950 w 632830"/>
                <a:gd name="connsiteY30" fmla="*/ 437339 h 441102"/>
                <a:gd name="connsiteX31" fmla="*/ 480927 w 632830"/>
                <a:gd name="connsiteY31" fmla="*/ 422284 h 441102"/>
                <a:gd name="connsiteX32" fmla="*/ 549095 w 632830"/>
                <a:gd name="connsiteY32" fmla="*/ 399387 h 441102"/>
                <a:gd name="connsiteX33" fmla="*/ 603148 w 632830"/>
                <a:gd name="connsiteY33" fmla="*/ 373249 h 441102"/>
                <a:gd name="connsiteX34" fmla="*/ 608166 w 632830"/>
                <a:gd name="connsiteY34" fmla="*/ 365721 h 441102"/>
                <a:gd name="connsiteX35" fmla="*/ 616321 w 632830"/>
                <a:gd name="connsiteY35" fmla="*/ 350352 h 441102"/>
                <a:gd name="connsiteX36" fmla="*/ 624372 w 632830"/>
                <a:gd name="connsiteY36" fmla="*/ 328605 h 441102"/>
                <a:gd name="connsiteX37" fmla="*/ 629599 w 632830"/>
                <a:gd name="connsiteY37" fmla="*/ 305918 h 441102"/>
                <a:gd name="connsiteX38" fmla="*/ 631377 w 632830"/>
                <a:gd name="connsiteY38" fmla="*/ 237541 h 441102"/>
                <a:gd name="connsiteX39" fmla="*/ 631481 w 632830"/>
                <a:gd name="connsiteY39" fmla="*/ 238168 h 441102"/>
                <a:gd name="connsiteX40" fmla="*/ 613603 w 632830"/>
                <a:gd name="connsiteY40" fmla="*/ 161637 h 441102"/>
                <a:gd name="connsiteX41" fmla="*/ 613498 w 632830"/>
                <a:gd name="connsiteY41" fmla="*/ 161323 h 441102"/>
                <a:gd name="connsiteX42" fmla="*/ 606598 w 632830"/>
                <a:gd name="connsiteY42" fmla="*/ 145222 h 441102"/>
                <a:gd name="connsiteX43" fmla="*/ 541881 w 632830"/>
                <a:gd name="connsiteY43" fmla="*/ 120757 h 441102"/>
                <a:gd name="connsiteX44" fmla="*/ 507797 w 632830"/>
                <a:gd name="connsiteY44" fmla="*/ 108106 h 441102"/>
                <a:gd name="connsiteX45" fmla="*/ 478209 w 632830"/>
                <a:gd name="connsiteY45" fmla="*/ 94096 h 441102"/>
                <a:gd name="connsiteX46" fmla="*/ 423633 w 632830"/>
                <a:gd name="connsiteY46" fmla="*/ 62313 h 441102"/>
                <a:gd name="connsiteX47" fmla="*/ 367175 w 632830"/>
                <a:gd name="connsiteY47" fmla="*/ 29693 h 441102"/>
                <a:gd name="connsiteX48" fmla="*/ 298903 w 632830"/>
                <a:gd name="connsiteY48" fmla="*/ 3555 h 441102"/>
                <a:gd name="connsiteX49" fmla="*/ 299112 w 632830"/>
                <a:gd name="connsiteY49" fmla="*/ 3659 h 441102"/>
                <a:gd name="connsiteX50" fmla="*/ 279665 w 632830"/>
                <a:gd name="connsiteY50" fmla="*/ 523 h 441102"/>
                <a:gd name="connsiteX51" fmla="*/ 299217 w 632830"/>
                <a:gd name="connsiteY51" fmla="*/ 3555 h 441102"/>
                <a:gd name="connsiteX52" fmla="*/ 299635 w 632830"/>
                <a:gd name="connsiteY52" fmla="*/ 3659 h 441102"/>
                <a:gd name="connsiteX53" fmla="*/ 299217 w 632830"/>
                <a:gd name="connsiteY53" fmla="*/ 3555 h 441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632830" h="441102">
                  <a:moveTo>
                    <a:pt x="279665" y="523"/>
                  </a:moveTo>
                  <a:cubicBezTo>
                    <a:pt x="275379" y="105"/>
                    <a:pt x="271197" y="0"/>
                    <a:pt x="266910" y="0"/>
                  </a:cubicBezTo>
                  <a:cubicBezTo>
                    <a:pt x="264087" y="0"/>
                    <a:pt x="261264" y="105"/>
                    <a:pt x="258442" y="209"/>
                  </a:cubicBezTo>
                  <a:cubicBezTo>
                    <a:pt x="250705" y="732"/>
                    <a:pt x="243072" y="1777"/>
                    <a:pt x="235440" y="3346"/>
                  </a:cubicBezTo>
                  <a:cubicBezTo>
                    <a:pt x="227703" y="4914"/>
                    <a:pt x="220176" y="7110"/>
                    <a:pt x="212753" y="9514"/>
                  </a:cubicBezTo>
                  <a:cubicBezTo>
                    <a:pt x="181178" y="20074"/>
                    <a:pt x="151904" y="36070"/>
                    <a:pt x="121270" y="48930"/>
                  </a:cubicBezTo>
                  <a:cubicBezTo>
                    <a:pt x="106424" y="55099"/>
                    <a:pt x="91264" y="60431"/>
                    <a:pt x="75581" y="63881"/>
                  </a:cubicBezTo>
                  <a:cubicBezTo>
                    <a:pt x="73281" y="64404"/>
                    <a:pt x="70981" y="64822"/>
                    <a:pt x="68681" y="65240"/>
                  </a:cubicBezTo>
                  <a:cubicBezTo>
                    <a:pt x="67112" y="65658"/>
                    <a:pt x="65649" y="65972"/>
                    <a:pt x="64080" y="66390"/>
                  </a:cubicBezTo>
                  <a:cubicBezTo>
                    <a:pt x="59271" y="67436"/>
                    <a:pt x="54461" y="68168"/>
                    <a:pt x="49652" y="68690"/>
                  </a:cubicBezTo>
                  <a:cubicBezTo>
                    <a:pt x="44111" y="69318"/>
                    <a:pt x="38465" y="69631"/>
                    <a:pt x="32924" y="69736"/>
                  </a:cubicBezTo>
                  <a:cubicBezTo>
                    <a:pt x="30833" y="69840"/>
                    <a:pt x="28742" y="69945"/>
                    <a:pt x="26546" y="70049"/>
                  </a:cubicBezTo>
                  <a:cubicBezTo>
                    <a:pt x="25710" y="71618"/>
                    <a:pt x="24978" y="73291"/>
                    <a:pt x="24246" y="74859"/>
                  </a:cubicBezTo>
                  <a:cubicBezTo>
                    <a:pt x="24246" y="74859"/>
                    <a:pt x="24246" y="74859"/>
                    <a:pt x="24246" y="74859"/>
                  </a:cubicBezTo>
                  <a:cubicBezTo>
                    <a:pt x="24246" y="74859"/>
                    <a:pt x="24246" y="74859"/>
                    <a:pt x="24246" y="74859"/>
                  </a:cubicBezTo>
                  <a:cubicBezTo>
                    <a:pt x="24142" y="75068"/>
                    <a:pt x="24142" y="75173"/>
                    <a:pt x="24037" y="75382"/>
                  </a:cubicBezTo>
                  <a:cubicBezTo>
                    <a:pt x="24037" y="75382"/>
                    <a:pt x="24037" y="75277"/>
                    <a:pt x="24037" y="75277"/>
                  </a:cubicBezTo>
                  <a:cubicBezTo>
                    <a:pt x="19541" y="85314"/>
                    <a:pt x="15673" y="95665"/>
                    <a:pt x="12537" y="106224"/>
                  </a:cubicBezTo>
                  <a:cubicBezTo>
                    <a:pt x="9086" y="117411"/>
                    <a:pt x="6472" y="128807"/>
                    <a:pt x="4486" y="140204"/>
                  </a:cubicBezTo>
                  <a:lnTo>
                    <a:pt x="4486" y="140204"/>
                  </a:lnTo>
                  <a:cubicBezTo>
                    <a:pt x="2081" y="154423"/>
                    <a:pt x="722" y="168642"/>
                    <a:pt x="200" y="183070"/>
                  </a:cubicBezTo>
                  <a:cubicBezTo>
                    <a:pt x="-323" y="197811"/>
                    <a:pt x="200" y="212449"/>
                    <a:pt x="1558" y="227190"/>
                  </a:cubicBezTo>
                  <a:lnTo>
                    <a:pt x="1558" y="226981"/>
                  </a:lnTo>
                  <a:cubicBezTo>
                    <a:pt x="1558" y="227086"/>
                    <a:pt x="1558" y="227190"/>
                    <a:pt x="1558" y="227295"/>
                  </a:cubicBezTo>
                  <a:cubicBezTo>
                    <a:pt x="1558" y="227400"/>
                    <a:pt x="1558" y="227504"/>
                    <a:pt x="1558" y="227609"/>
                  </a:cubicBezTo>
                  <a:lnTo>
                    <a:pt x="1558" y="227609"/>
                  </a:lnTo>
                  <a:cubicBezTo>
                    <a:pt x="3022" y="241723"/>
                    <a:pt x="5322" y="255733"/>
                    <a:pt x="8564" y="269638"/>
                  </a:cubicBezTo>
                  <a:cubicBezTo>
                    <a:pt x="11491" y="274552"/>
                    <a:pt x="14627" y="279257"/>
                    <a:pt x="17868" y="283857"/>
                  </a:cubicBezTo>
                  <a:cubicBezTo>
                    <a:pt x="71085" y="359553"/>
                    <a:pt x="160581" y="413919"/>
                    <a:pt x="263146" y="433052"/>
                  </a:cubicBezTo>
                  <a:cubicBezTo>
                    <a:pt x="292107" y="438384"/>
                    <a:pt x="321277" y="441103"/>
                    <a:pt x="349819" y="441103"/>
                  </a:cubicBezTo>
                  <a:cubicBezTo>
                    <a:pt x="369266" y="441103"/>
                    <a:pt x="388817" y="439848"/>
                    <a:pt x="407950" y="437339"/>
                  </a:cubicBezTo>
                  <a:cubicBezTo>
                    <a:pt x="431683" y="434098"/>
                    <a:pt x="455521" y="429184"/>
                    <a:pt x="480927" y="422284"/>
                  </a:cubicBezTo>
                  <a:cubicBezTo>
                    <a:pt x="505915" y="415592"/>
                    <a:pt x="528185" y="408065"/>
                    <a:pt x="549095" y="399387"/>
                  </a:cubicBezTo>
                  <a:cubicBezTo>
                    <a:pt x="569064" y="391127"/>
                    <a:pt x="586733" y="382554"/>
                    <a:pt x="603148" y="373249"/>
                  </a:cubicBezTo>
                  <a:cubicBezTo>
                    <a:pt x="604925" y="370740"/>
                    <a:pt x="606494" y="368230"/>
                    <a:pt x="608166" y="365721"/>
                  </a:cubicBezTo>
                  <a:cubicBezTo>
                    <a:pt x="611198" y="360807"/>
                    <a:pt x="613917" y="355580"/>
                    <a:pt x="616321" y="350352"/>
                  </a:cubicBezTo>
                  <a:cubicBezTo>
                    <a:pt x="619458" y="343243"/>
                    <a:pt x="622176" y="336029"/>
                    <a:pt x="624372" y="328605"/>
                  </a:cubicBezTo>
                  <a:cubicBezTo>
                    <a:pt x="626672" y="321182"/>
                    <a:pt x="628345" y="313550"/>
                    <a:pt x="629599" y="305918"/>
                  </a:cubicBezTo>
                  <a:cubicBezTo>
                    <a:pt x="633363" y="283335"/>
                    <a:pt x="633677" y="260333"/>
                    <a:pt x="631377" y="237541"/>
                  </a:cubicBezTo>
                  <a:cubicBezTo>
                    <a:pt x="631377" y="237750"/>
                    <a:pt x="631377" y="237959"/>
                    <a:pt x="631481" y="238168"/>
                  </a:cubicBezTo>
                  <a:cubicBezTo>
                    <a:pt x="628867" y="212030"/>
                    <a:pt x="622908" y="186206"/>
                    <a:pt x="613603" y="161637"/>
                  </a:cubicBezTo>
                  <a:cubicBezTo>
                    <a:pt x="613603" y="161532"/>
                    <a:pt x="613498" y="161428"/>
                    <a:pt x="613498" y="161323"/>
                  </a:cubicBezTo>
                  <a:cubicBezTo>
                    <a:pt x="611408" y="155886"/>
                    <a:pt x="609107" y="150450"/>
                    <a:pt x="606598" y="145222"/>
                  </a:cubicBezTo>
                  <a:cubicBezTo>
                    <a:pt x="585583" y="135499"/>
                    <a:pt x="563732" y="128285"/>
                    <a:pt x="541881" y="120757"/>
                  </a:cubicBezTo>
                  <a:cubicBezTo>
                    <a:pt x="530380" y="116784"/>
                    <a:pt x="519088" y="112707"/>
                    <a:pt x="507797" y="108106"/>
                  </a:cubicBezTo>
                  <a:cubicBezTo>
                    <a:pt x="497655" y="103924"/>
                    <a:pt x="487828" y="99219"/>
                    <a:pt x="478209" y="94096"/>
                  </a:cubicBezTo>
                  <a:cubicBezTo>
                    <a:pt x="459599" y="84268"/>
                    <a:pt x="441616" y="73186"/>
                    <a:pt x="423633" y="62313"/>
                  </a:cubicBezTo>
                  <a:cubicBezTo>
                    <a:pt x="405127" y="51021"/>
                    <a:pt x="386412" y="39730"/>
                    <a:pt x="367175" y="29693"/>
                  </a:cubicBezTo>
                  <a:cubicBezTo>
                    <a:pt x="345428" y="18506"/>
                    <a:pt x="322845" y="8782"/>
                    <a:pt x="298903" y="3555"/>
                  </a:cubicBezTo>
                  <a:cubicBezTo>
                    <a:pt x="298903" y="3555"/>
                    <a:pt x="299008" y="3555"/>
                    <a:pt x="299112" y="3659"/>
                  </a:cubicBezTo>
                  <a:cubicBezTo>
                    <a:pt x="292734" y="2196"/>
                    <a:pt x="286252" y="1255"/>
                    <a:pt x="279665" y="523"/>
                  </a:cubicBezTo>
                  <a:moveTo>
                    <a:pt x="299217" y="3555"/>
                  </a:moveTo>
                  <a:cubicBezTo>
                    <a:pt x="299321" y="3555"/>
                    <a:pt x="299530" y="3555"/>
                    <a:pt x="299635" y="3659"/>
                  </a:cubicBezTo>
                  <a:cubicBezTo>
                    <a:pt x="299426" y="3659"/>
                    <a:pt x="299321" y="3659"/>
                    <a:pt x="299217" y="3555"/>
                  </a:cubicBezTo>
                </a:path>
              </a:pathLst>
            </a:custGeom>
            <a:solidFill>
              <a:srgbClr val="81E5DA"/>
            </a:solidFill>
            <a:ln w="1045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Freeform: Shape 31">
              <a:extLst>
                <a:ext uri="{FF2B5EF4-FFF2-40B4-BE49-F238E27FC236}">
                  <a16:creationId xmlns:a16="http://schemas.microsoft.com/office/drawing/2014/main" id="{E9549013-9A46-475D-B677-7CEF69F25D88}"/>
                </a:ext>
              </a:extLst>
            </p:cNvPr>
            <p:cNvSpPr/>
            <p:nvPr/>
          </p:nvSpPr>
          <p:spPr>
            <a:xfrm>
              <a:off x="10469645" y="2365648"/>
              <a:ext cx="321178" cy="435038"/>
            </a:xfrm>
            <a:custGeom>
              <a:avLst/>
              <a:gdLst>
                <a:gd name="connsiteX0" fmla="*/ 55517 w 321178"/>
                <a:gd name="connsiteY0" fmla="*/ 22897 h 435038"/>
                <a:gd name="connsiteX1" fmla="*/ 0 w 321178"/>
                <a:gd name="connsiteY1" fmla="*/ 0 h 435038"/>
                <a:gd name="connsiteX2" fmla="*/ 1987 w 321178"/>
                <a:gd name="connsiteY2" fmla="*/ 1150 h 435038"/>
                <a:gd name="connsiteX3" fmla="*/ 35547 w 321178"/>
                <a:gd name="connsiteY3" fmla="*/ 23210 h 435038"/>
                <a:gd name="connsiteX4" fmla="*/ 100160 w 321178"/>
                <a:gd name="connsiteY4" fmla="*/ 73082 h 435038"/>
                <a:gd name="connsiteX5" fmla="*/ 100160 w 321178"/>
                <a:gd name="connsiteY5" fmla="*/ 73082 h 435038"/>
                <a:gd name="connsiteX6" fmla="*/ 100160 w 321178"/>
                <a:gd name="connsiteY6" fmla="*/ 73082 h 435038"/>
                <a:gd name="connsiteX7" fmla="*/ 100160 w 321178"/>
                <a:gd name="connsiteY7" fmla="*/ 73082 h 435038"/>
                <a:gd name="connsiteX8" fmla="*/ 100369 w 321178"/>
                <a:gd name="connsiteY8" fmla="*/ 73291 h 435038"/>
                <a:gd name="connsiteX9" fmla="*/ 113752 w 321178"/>
                <a:gd name="connsiteY9" fmla="*/ 82387 h 435038"/>
                <a:gd name="connsiteX10" fmla="*/ 128598 w 321178"/>
                <a:gd name="connsiteY10" fmla="*/ 91378 h 435038"/>
                <a:gd name="connsiteX11" fmla="*/ 154422 w 321178"/>
                <a:gd name="connsiteY11" fmla="*/ 107374 h 435038"/>
                <a:gd name="connsiteX12" fmla="*/ 196557 w 321178"/>
                <a:gd name="connsiteY12" fmla="*/ 142608 h 435038"/>
                <a:gd name="connsiteX13" fmla="*/ 211926 w 321178"/>
                <a:gd name="connsiteY13" fmla="*/ 163519 h 435038"/>
                <a:gd name="connsiteX14" fmla="*/ 222904 w 321178"/>
                <a:gd name="connsiteY14" fmla="*/ 187879 h 435038"/>
                <a:gd name="connsiteX15" fmla="*/ 229072 w 321178"/>
                <a:gd name="connsiteY15" fmla="*/ 216422 h 435038"/>
                <a:gd name="connsiteX16" fmla="*/ 230013 w 321178"/>
                <a:gd name="connsiteY16" fmla="*/ 247787 h 435038"/>
                <a:gd name="connsiteX17" fmla="*/ 220813 w 321178"/>
                <a:gd name="connsiteY17" fmla="*/ 298599 h 435038"/>
                <a:gd name="connsiteX18" fmla="*/ 199693 w 321178"/>
                <a:gd name="connsiteY18" fmla="*/ 340942 h 435038"/>
                <a:gd name="connsiteX19" fmla="*/ 168641 w 321178"/>
                <a:gd name="connsiteY19" fmla="*/ 375235 h 435038"/>
                <a:gd name="connsiteX20" fmla="*/ 129748 w 321178"/>
                <a:gd name="connsiteY20" fmla="*/ 401896 h 435038"/>
                <a:gd name="connsiteX21" fmla="*/ 85000 w 321178"/>
                <a:gd name="connsiteY21" fmla="*/ 421343 h 435038"/>
                <a:gd name="connsiteX22" fmla="*/ 35966 w 321178"/>
                <a:gd name="connsiteY22" fmla="*/ 433993 h 435038"/>
                <a:gd name="connsiteX23" fmla="*/ 30843 w 321178"/>
                <a:gd name="connsiteY23" fmla="*/ 434934 h 435038"/>
                <a:gd name="connsiteX24" fmla="*/ 38057 w 321178"/>
                <a:gd name="connsiteY24" fmla="*/ 435039 h 435038"/>
                <a:gd name="connsiteX25" fmla="*/ 96187 w 321178"/>
                <a:gd name="connsiteY25" fmla="*/ 431275 h 435038"/>
                <a:gd name="connsiteX26" fmla="*/ 169164 w 321178"/>
                <a:gd name="connsiteY26" fmla="*/ 416220 h 435038"/>
                <a:gd name="connsiteX27" fmla="*/ 237436 w 321178"/>
                <a:gd name="connsiteY27" fmla="*/ 393323 h 435038"/>
                <a:gd name="connsiteX28" fmla="*/ 291489 w 321178"/>
                <a:gd name="connsiteY28" fmla="*/ 367185 h 435038"/>
                <a:gd name="connsiteX29" fmla="*/ 296508 w 321178"/>
                <a:gd name="connsiteY29" fmla="*/ 359553 h 435038"/>
                <a:gd name="connsiteX30" fmla="*/ 304663 w 321178"/>
                <a:gd name="connsiteY30" fmla="*/ 344079 h 435038"/>
                <a:gd name="connsiteX31" fmla="*/ 312713 w 321178"/>
                <a:gd name="connsiteY31" fmla="*/ 322332 h 435038"/>
                <a:gd name="connsiteX32" fmla="*/ 317941 w 321178"/>
                <a:gd name="connsiteY32" fmla="*/ 299645 h 435038"/>
                <a:gd name="connsiteX33" fmla="*/ 319823 w 321178"/>
                <a:gd name="connsiteY33" fmla="*/ 231791 h 435038"/>
                <a:gd name="connsiteX34" fmla="*/ 301735 w 321178"/>
                <a:gd name="connsiteY34" fmla="*/ 154841 h 435038"/>
                <a:gd name="connsiteX35" fmla="*/ 294835 w 321178"/>
                <a:gd name="connsiteY35" fmla="*/ 138635 h 435038"/>
                <a:gd name="connsiteX36" fmla="*/ 238900 w 321178"/>
                <a:gd name="connsiteY36" fmla="*/ 117202 h 435038"/>
                <a:gd name="connsiteX37" fmla="*/ 237855 w 321178"/>
                <a:gd name="connsiteY37" fmla="*/ 116784 h 435038"/>
                <a:gd name="connsiteX38" fmla="*/ 230118 w 321178"/>
                <a:gd name="connsiteY38" fmla="*/ 114170 h 435038"/>
                <a:gd name="connsiteX39" fmla="*/ 196034 w 321178"/>
                <a:gd name="connsiteY39" fmla="*/ 101520 h 435038"/>
                <a:gd name="connsiteX40" fmla="*/ 166341 w 321178"/>
                <a:gd name="connsiteY40" fmla="*/ 87510 h 435038"/>
                <a:gd name="connsiteX41" fmla="*/ 117202 w 321178"/>
                <a:gd name="connsiteY41" fmla="*/ 58967 h 435038"/>
                <a:gd name="connsiteX42" fmla="*/ 111766 w 321178"/>
                <a:gd name="connsiteY42" fmla="*/ 55726 h 435038"/>
                <a:gd name="connsiteX43" fmla="*/ 55517 w 321178"/>
                <a:gd name="connsiteY43" fmla="*/ 22897 h 435038"/>
                <a:gd name="connsiteX44" fmla="*/ 99847 w 321178"/>
                <a:gd name="connsiteY44" fmla="*/ 72872 h 435038"/>
                <a:gd name="connsiteX45" fmla="*/ 100056 w 321178"/>
                <a:gd name="connsiteY45" fmla="*/ 72977 h 435038"/>
                <a:gd name="connsiteX46" fmla="*/ 99847 w 321178"/>
                <a:gd name="connsiteY46" fmla="*/ 72872 h 435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21178" h="435038">
                  <a:moveTo>
                    <a:pt x="55517" y="22897"/>
                  </a:moveTo>
                  <a:cubicBezTo>
                    <a:pt x="34920" y="12233"/>
                    <a:pt x="16937" y="4809"/>
                    <a:pt x="0" y="0"/>
                  </a:cubicBezTo>
                  <a:cubicBezTo>
                    <a:pt x="627" y="418"/>
                    <a:pt x="1359" y="732"/>
                    <a:pt x="1987" y="1150"/>
                  </a:cubicBezTo>
                  <a:cubicBezTo>
                    <a:pt x="13696" y="7632"/>
                    <a:pt x="24779" y="15265"/>
                    <a:pt x="35547" y="23210"/>
                  </a:cubicBezTo>
                  <a:cubicBezTo>
                    <a:pt x="57503" y="39311"/>
                    <a:pt x="78100" y="57190"/>
                    <a:pt x="100160" y="73082"/>
                  </a:cubicBezTo>
                  <a:lnTo>
                    <a:pt x="100160" y="73082"/>
                  </a:lnTo>
                  <a:lnTo>
                    <a:pt x="100160" y="73082"/>
                  </a:lnTo>
                  <a:cubicBezTo>
                    <a:pt x="100160" y="73082"/>
                    <a:pt x="100160" y="73082"/>
                    <a:pt x="100160" y="73082"/>
                  </a:cubicBezTo>
                  <a:cubicBezTo>
                    <a:pt x="100265" y="73082"/>
                    <a:pt x="100369" y="73186"/>
                    <a:pt x="100369" y="73291"/>
                  </a:cubicBezTo>
                  <a:cubicBezTo>
                    <a:pt x="104760" y="76427"/>
                    <a:pt x="109152" y="79459"/>
                    <a:pt x="113752" y="82387"/>
                  </a:cubicBezTo>
                  <a:cubicBezTo>
                    <a:pt x="118561" y="85523"/>
                    <a:pt x="123684" y="88451"/>
                    <a:pt x="128598" y="91378"/>
                  </a:cubicBezTo>
                  <a:cubicBezTo>
                    <a:pt x="137381" y="96501"/>
                    <a:pt x="145954" y="101833"/>
                    <a:pt x="154422" y="107374"/>
                  </a:cubicBezTo>
                  <a:cubicBezTo>
                    <a:pt x="169687" y="117516"/>
                    <a:pt x="184220" y="128912"/>
                    <a:pt x="196557" y="142608"/>
                  </a:cubicBezTo>
                  <a:cubicBezTo>
                    <a:pt x="202307" y="149090"/>
                    <a:pt x="207534" y="156095"/>
                    <a:pt x="211926" y="163519"/>
                  </a:cubicBezTo>
                  <a:cubicBezTo>
                    <a:pt x="216421" y="171151"/>
                    <a:pt x="220081" y="179410"/>
                    <a:pt x="222904" y="187879"/>
                  </a:cubicBezTo>
                  <a:cubicBezTo>
                    <a:pt x="226040" y="197080"/>
                    <a:pt x="227922" y="206698"/>
                    <a:pt x="229072" y="216422"/>
                  </a:cubicBezTo>
                  <a:cubicBezTo>
                    <a:pt x="230327" y="226772"/>
                    <a:pt x="230431" y="237332"/>
                    <a:pt x="230013" y="247787"/>
                  </a:cubicBezTo>
                  <a:cubicBezTo>
                    <a:pt x="229281" y="265038"/>
                    <a:pt x="226249" y="282185"/>
                    <a:pt x="220813" y="298599"/>
                  </a:cubicBezTo>
                  <a:cubicBezTo>
                    <a:pt x="215899" y="313655"/>
                    <a:pt x="208685" y="327874"/>
                    <a:pt x="199693" y="340942"/>
                  </a:cubicBezTo>
                  <a:cubicBezTo>
                    <a:pt x="190911" y="353698"/>
                    <a:pt x="180351" y="365198"/>
                    <a:pt x="168641" y="375235"/>
                  </a:cubicBezTo>
                  <a:cubicBezTo>
                    <a:pt x="156723" y="385586"/>
                    <a:pt x="143549" y="394368"/>
                    <a:pt x="129748" y="401896"/>
                  </a:cubicBezTo>
                  <a:cubicBezTo>
                    <a:pt x="115425" y="409737"/>
                    <a:pt x="100369" y="416010"/>
                    <a:pt x="85000" y="421343"/>
                  </a:cubicBezTo>
                  <a:cubicBezTo>
                    <a:pt x="69004" y="426779"/>
                    <a:pt x="52589" y="430857"/>
                    <a:pt x="35966" y="433993"/>
                  </a:cubicBezTo>
                  <a:cubicBezTo>
                    <a:pt x="34293" y="434307"/>
                    <a:pt x="32515" y="434621"/>
                    <a:pt x="30843" y="434934"/>
                  </a:cubicBezTo>
                  <a:cubicBezTo>
                    <a:pt x="33247" y="434934"/>
                    <a:pt x="35652" y="435039"/>
                    <a:pt x="38057" y="435039"/>
                  </a:cubicBezTo>
                  <a:cubicBezTo>
                    <a:pt x="57399" y="435039"/>
                    <a:pt x="76950" y="433784"/>
                    <a:pt x="96187" y="431275"/>
                  </a:cubicBezTo>
                  <a:cubicBezTo>
                    <a:pt x="119921" y="428034"/>
                    <a:pt x="143863" y="423120"/>
                    <a:pt x="169164" y="416220"/>
                  </a:cubicBezTo>
                  <a:cubicBezTo>
                    <a:pt x="194257" y="409528"/>
                    <a:pt x="216526" y="402001"/>
                    <a:pt x="237436" y="393323"/>
                  </a:cubicBezTo>
                  <a:cubicBezTo>
                    <a:pt x="257719" y="384959"/>
                    <a:pt x="275389" y="376385"/>
                    <a:pt x="291489" y="367185"/>
                  </a:cubicBezTo>
                  <a:cubicBezTo>
                    <a:pt x="293267" y="364676"/>
                    <a:pt x="294835" y="362166"/>
                    <a:pt x="296508" y="359553"/>
                  </a:cubicBezTo>
                  <a:cubicBezTo>
                    <a:pt x="299435" y="354848"/>
                    <a:pt x="302154" y="349725"/>
                    <a:pt x="304663" y="344079"/>
                  </a:cubicBezTo>
                  <a:cubicBezTo>
                    <a:pt x="307695" y="337283"/>
                    <a:pt x="310413" y="329965"/>
                    <a:pt x="312713" y="322332"/>
                  </a:cubicBezTo>
                  <a:cubicBezTo>
                    <a:pt x="314804" y="315432"/>
                    <a:pt x="316582" y="308009"/>
                    <a:pt x="317941" y="299645"/>
                  </a:cubicBezTo>
                  <a:cubicBezTo>
                    <a:pt x="321496" y="278316"/>
                    <a:pt x="322123" y="255524"/>
                    <a:pt x="319823" y="231791"/>
                  </a:cubicBezTo>
                  <a:cubicBezTo>
                    <a:pt x="317105" y="205026"/>
                    <a:pt x="311041" y="179201"/>
                    <a:pt x="301735" y="154841"/>
                  </a:cubicBezTo>
                  <a:cubicBezTo>
                    <a:pt x="299435" y="148986"/>
                    <a:pt x="297135" y="143654"/>
                    <a:pt x="294835" y="138635"/>
                  </a:cubicBezTo>
                  <a:cubicBezTo>
                    <a:pt x="276748" y="130271"/>
                    <a:pt x="257510" y="123580"/>
                    <a:pt x="238900" y="117202"/>
                  </a:cubicBezTo>
                  <a:lnTo>
                    <a:pt x="237855" y="116784"/>
                  </a:lnTo>
                  <a:lnTo>
                    <a:pt x="230118" y="114170"/>
                  </a:lnTo>
                  <a:cubicBezTo>
                    <a:pt x="219245" y="110406"/>
                    <a:pt x="207534" y="106224"/>
                    <a:pt x="196034" y="101520"/>
                  </a:cubicBezTo>
                  <a:cubicBezTo>
                    <a:pt x="186520" y="97651"/>
                    <a:pt x="176901" y="93051"/>
                    <a:pt x="166341" y="87510"/>
                  </a:cubicBezTo>
                  <a:cubicBezTo>
                    <a:pt x="149300" y="78518"/>
                    <a:pt x="132258" y="68168"/>
                    <a:pt x="117202" y="58967"/>
                  </a:cubicBezTo>
                  <a:lnTo>
                    <a:pt x="111766" y="55726"/>
                  </a:lnTo>
                  <a:cubicBezTo>
                    <a:pt x="92110" y="43389"/>
                    <a:pt x="74127" y="32620"/>
                    <a:pt x="55517" y="22897"/>
                  </a:cubicBezTo>
                  <a:moveTo>
                    <a:pt x="99847" y="72872"/>
                  </a:moveTo>
                  <a:cubicBezTo>
                    <a:pt x="99951" y="72872"/>
                    <a:pt x="99951" y="72977"/>
                    <a:pt x="100056" y="72977"/>
                  </a:cubicBezTo>
                  <a:cubicBezTo>
                    <a:pt x="99951" y="72977"/>
                    <a:pt x="99847" y="72872"/>
                    <a:pt x="99847" y="72872"/>
                  </a:cubicBezTo>
                </a:path>
              </a:pathLst>
            </a:custGeom>
            <a:solidFill>
              <a:srgbClr val="7AD8CE"/>
            </a:solidFill>
            <a:ln w="1045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 name="Freeform: Shape 32">
              <a:extLst>
                <a:ext uri="{FF2B5EF4-FFF2-40B4-BE49-F238E27FC236}">
                  <a16:creationId xmlns:a16="http://schemas.microsoft.com/office/drawing/2014/main" id="{0E62A162-3AE6-4410-AA2C-0512C249D885}"/>
                </a:ext>
              </a:extLst>
            </p:cNvPr>
            <p:cNvSpPr/>
            <p:nvPr/>
          </p:nvSpPr>
          <p:spPr>
            <a:xfrm>
              <a:off x="10258032" y="2415938"/>
              <a:ext cx="331949" cy="67823"/>
            </a:xfrm>
            <a:custGeom>
              <a:avLst/>
              <a:gdLst>
                <a:gd name="connsiteX0" fmla="*/ 216631 w 331949"/>
                <a:gd name="connsiteY0" fmla="*/ 12337 h 67823"/>
                <a:gd name="connsiteX1" fmla="*/ 150868 w 331949"/>
                <a:gd name="connsiteY1" fmla="*/ 0 h 67823"/>
                <a:gd name="connsiteX2" fmla="*/ 150450 w 331949"/>
                <a:gd name="connsiteY2" fmla="*/ 0 h 67823"/>
                <a:gd name="connsiteX3" fmla="*/ 114170 w 331949"/>
                <a:gd name="connsiteY3" fmla="*/ 3136 h 67823"/>
                <a:gd name="connsiteX4" fmla="*/ 78205 w 331949"/>
                <a:gd name="connsiteY4" fmla="*/ 10873 h 67823"/>
                <a:gd name="connsiteX5" fmla="*/ 42553 w 331949"/>
                <a:gd name="connsiteY5" fmla="*/ 19865 h 67823"/>
                <a:gd name="connsiteX6" fmla="*/ 6900 w 331949"/>
                <a:gd name="connsiteY6" fmla="*/ 26556 h 67823"/>
                <a:gd name="connsiteX7" fmla="*/ 7005 w 331949"/>
                <a:gd name="connsiteY7" fmla="*/ 26556 h 67823"/>
                <a:gd name="connsiteX8" fmla="*/ 6691 w 331949"/>
                <a:gd name="connsiteY8" fmla="*/ 26556 h 67823"/>
                <a:gd name="connsiteX9" fmla="*/ 6482 w 331949"/>
                <a:gd name="connsiteY9" fmla="*/ 26556 h 67823"/>
                <a:gd name="connsiteX10" fmla="*/ 6587 w 331949"/>
                <a:gd name="connsiteY10" fmla="*/ 26556 h 67823"/>
                <a:gd name="connsiteX11" fmla="*/ 2300 w 331949"/>
                <a:gd name="connsiteY11" fmla="*/ 26974 h 67823"/>
                <a:gd name="connsiteX12" fmla="*/ 0 w 331949"/>
                <a:gd name="connsiteY12" fmla="*/ 29170 h 67823"/>
                <a:gd name="connsiteX13" fmla="*/ 2196 w 331949"/>
                <a:gd name="connsiteY13" fmla="*/ 31470 h 67823"/>
                <a:gd name="connsiteX14" fmla="*/ 31261 w 331949"/>
                <a:gd name="connsiteY14" fmla="*/ 27183 h 67823"/>
                <a:gd name="connsiteX15" fmla="*/ 59385 w 331949"/>
                <a:gd name="connsiteY15" fmla="*/ 21119 h 67823"/>
                <a:gd name="connsiteX16" fmla="*/ 89078 w 331949"/>
                <a:gd name="connsiteY16" fmla="*/ 14533 h 67823"/>
                <a:gd name="connsiteX17" fmla="*/ 117516 w 331949"/>
                <a:gd name="connsiteY17" fmla="*/ 9723 h 67823"/>
                <a:gd name="connsiteX18" fmla="*/ 116889 w 331949"/>
                <a:gd name="connsiteY18" fmla="*/ 9828 h 67823"/>
                <a:gd name="connsiteX19" fmla="*/ 143968 w 331949"/>
                <a:gd name="connsiteY19" fmla="*/ 8050 h 67823"/>
                <a:gd name="connsiteX20" fmla="*/ 169269 w 331949"/>
                <a:gd name="connsiteY20" fmla="*/ 9932 h 67823"/>
                <a:gd name="connsiteX21" fmla="*/ 202935 w 331949"/>
                <a:gd name="connsiteY21" fmla="*/ 17983 h 67823"/>
                <a:gd name="connsiteX22" fmla="*/ 235450 w 331949"/>
                <a:gd name="connsiteY22" fmla="*/ 30529 h 67823"/>
                <a:gd name="connsiteX23" fmla="*/ 235346 w 331949"/>
                <a:gd name="connsiteY23" fmla="*/ 30529 h 67823"/>
                <a:gd name="connsiteX24" fmla="*/ 278107 w 331949"/>
                <a:gd name="connsiteY24" fmla="*/ 49976 h 67823"/>
                <a:gd name="connsiteX25" fmla="*/ 300063 w 331949"/>
                <a:gd name="connsiteY25" fmla="*/ 59176 h 67823"/>
                <a:gd name="connsiteX26" fmla="*/ 324946 w 331949"/>
                <a:gd name="connsiteY26" fmla="*/ 67645 h 67823"/>
                <a:gd name="connsiteX27" fmla="*/ 331742 w 331949"/>
                <a:gd name="connsiteY27" fmla="*/ 63881 h 67823"/>
                <a:gd name="connsiteX28" fmla="*/ 327978 w 331949"/>
                <a:gd name="connsiteY28" fmla="*/ 57085 h 67823"/>
                <a:gd name="connsiteX29" fmla="*/ 313341 w 331949"/>
                <a:gd name="connsiteY29" fmla="*/ 52380 h 67823"/>
                <a:gd name="connsiteX30" fmla="*/ 301736 w 331949"/>
                <a:gd name="connsiteY30" fmla="*/ 47989 h 67823"/>
                <a:gd name="connsiteX31" fmla="*/ 279780 w 331949"/>
                <a:gd name="connsiteY31" fmla="*/ 38789 h 67823"/>
                <a:gd name="connsiteX32" fmla="*/ 279885 w 331949"/>
                <a:gd name="connsiteY32" fmla="*/ 38789 h 67823"/>
                <a:gd name="connsiteX33" fmla="*/ 216631 w 331949"/>
                <a:gd name="connsiteY33" fmla="*/ 12337 h 67823"/>
                <a:gd name="connsiteX34" fmla="*/ 6587 w 331949"/>
                <a:gd name="connsiteY34" fmla="*/ 26661 h 67823"/>
                <a:gd name="connsiteX35" fmla="*/ 6900 w 331949"/>
                <a:gd name="connsiteY35" fmla="*/ 26661 h 67823"/>
                <a:gd name="connsiteX36" fmla="*/ 6482 w 331949"/>
                <a:gd name="connsiteY36" fmla="*/ 26765 h 67823"/>
                <a:gd name="connsiteX37" fmla="*/ 6587 w 331949"/>
                <a:gd name="connsiteY37" fmla="*/ 26661 h 67823"/>
                <a:gd name="connsiteX38" fmla="*/ 116471 w 331949"/>
                <a:gd name="connsiteY38" fmla="*/ 9932 h 67823"/>
                <a:gd name="connsiteX39" fmla="*/ 116784 w 331949"/>
                <a:gd name="connsiteY39" fmla="*/ 9932 h 67823"/>
                <a:gd name="connsiteX40" fmla="*/ 116471 w 331949"/>
                <a:gd name="connsiteY40" fmla="*/ 9932 h 67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31949" h="67823">
                  <a:moveTo>
                    <a:pt x="216631" y="12337"/>
                  </a:moveTo>
                  <a:cubicBezTo>
                    <a:pt x="195511" y="5123"/>
                    <a:pt x="173347" y="0"/>
                    <a:pt x="150868" y="0"/>
                  </a:cubicBezTo>
                  <a:lnTo>
                    <a:pt x="150450" y="0"/>
                  </a:lnTo>
                  <a:cubicBezTo>
                    <a:pt x="138217" y="104"/>
                    <a:pt x="126194" y="1150"/>
                    <a:pt x="114170" y="3136"/>
                  </a:cubicBezTo>
                  <a:cubicBezTo>
                    <a:pt x="102042" y="5123"/>
                    <a:pt x="90123" y="7946"/>
                    <a:pt x="78205" y="10873"/>
                  </a:cubicBezTo>
                  <a:cubicBezTo>
                    <a:pt x="66286" y="13801"/>
                    <a:pt x="54472" y="17146"/>
                    <a:pt x="42553" y="19865"/>
                  </a:cubicBezTo>
                  <a:cubicBezTo>
                    <a:pt x="30738" y="22583"/>
                    <a:pt x="18924" y="24988"/>
                    <a:pt x="6900" y="26556"/>
                  </a:cubicBezTo>
                  <a:cubicBezTo>
                    <a:pt x="6900" y="26556"/>
                    <a:pt x="7005" y="26556"/>
                    <a:pt x="7005" y="26556"/>
                  </a:cubicBezTo>
                  <a:cubicBezTo>
                    <a:pt x="6900" y="26556"/>
                    <a:pt x="6796" y="26556"/>
                    <a:pt x="6691" y="26556"/>
                  </a:cubicBezTo>
                  <a:lnTo>
                    <a:pt x="6482" y="26556"/>
                  </a:lnTo>
                  <a:cubicBezTo>
                    <a:pt x="6482" y="26556"/>
                    <a:pt x="6587" y="26556"/>
                    <a:pt x="6587" y="26556"/>
                  </a:cubicBezTo>
                  <a:cubicBezTo>
                    <a:pt x="5123" y="26661"/>
                    <a:pt x="3764" y="26870"/>
                    <a:pt x="2300" y="26974"/>
                  </a:cubicBezTo>
                  <a:cubicBezTo>
                    <a:pt x="1046" y="27079"/>
                    <a:pt x="105" y="27811"/>
                    <a:pt x="0" y="29170"/>
                  </a:cubicBezTo>
                  <a:cubicBezTo>
                    <a:pt x="0" y="30320"/>
                    <a:pt x="1046" y="31575"/>
                    <a:pt x="2196" y="31470"/>
                  </a:cubicBezTo>
                  <a:cubicBezTo>
                    <a:pt x="11919" y="30424"/>
                    <a:pt x="21642" y="28961"/>
                    <a:pt x="31261" y="27183"/>
                  </a:cubicBezTo>
                  <a:cubicBezTo>
                    <a:pt x="40671" y="25406"/>
                    <a:pt x="50080" y="23210"/>
                    <a:pt x="59385" y="21119"/>
                  </a:cubicBezTo>
                  <a:cubicBezTo>
                    <a:pt x="69318" y="18924"/>
                    <a:pt x="79146" y="16519"/>
                    <a:pt x="89078" y="14533"/>
                  </a:cubicBezTo>
                  <a:cubicBezTo>
                    <a:pt x="98488" y="12651"/>
                    <a:pt x="108002" y="10978"/>
                    <a:pt x="117516" y="9723"/>
                  </a:cubicBezTo>
                  <a:cubicBezTo>
                    <a:pt x="117307" y="9828"/>
                    <a:pt x="117098" y="9828"/>
                    <a:pt x="116889" y="9828"/>
                  </a:cubicBezTo>
                  <a:cubicBezTo>
                    <a:pt x="125880" y="8782"/>
                    <a:pt x="134976" y="8050"/>
                    <a:pt x="143968" y="8050"/>
                  </a:cubicBezTo>
                  <a:cubicBezTo>
                    <a:pt x="152436" y="8050"/>
                    <a:pt x="160905" y="8678"/>
                    <a:pt x="169269" y="9932"/>
                  </a:cubicBezTo>
                  <a:cubicBezTo>
                    <a:pt x="180665" y="11710"/>
                    <a:pt x="191957" y="14428"/>
                    <a:pt x="202935" y="17983"/>
                  </a:cubicBezTo>
                  <a:cubicBezTo>
                    <a:pt x="214017" y="21642"/>
                    <a:pt x="224786" y="25929"/>
                    <a:pt x="235450" y="30529"/>
                  </a:cubicBezTo>
                  <a:cubicBezTo>
                    <a:pt x="235450" y="30529"/>
                    <a:pt x="235450" y="30529"/>
                    <a:pt x="235346" y="30529"/>
                  </a:cubicBezTo>
                  <a:cubicBezTo>
                    <a:pt x="249669" y="36802"/>
                    <a:pt x="263784" y="43703"/>
                    <a:pt x="278107" y="49976"/>
                  </a:cubicBezTo>
                  <a:cubicBezTo>
                    <a:pt x="285321" y="53217"/>
                    <a:pt x="292640" y="56353"/>
                    <a:pt x="300063" y="59176"/>
                  </a:cubicBezTo>
                  <a:cubicBezTo>
                    <a:pt x="308218" y="62313"/>
                    <a:pt x="316478" y="65345"/>
                    <a:pt x="324946" y="67645"/>
                  </a:cubicBezTo>
                  <a:cubicBezTo>
                    <a:pt x="327874" y="68377"/>
                    <a:pt x="330905" y="66808"/>
                    <a:pt x="331742" y="63881"/>
                  </a:cubicBezTo>
                  <a:cubicBezTo>
                    <a:pt x="332578" y="60953"/>
                    <a:pt x="330801" y="58026"/>
                    <a:pt x="327978" y="57085"/>
                  </a:cubicBezTo>
                  <a:cubicBezTo>
                    <a:pt x="323064" y="55517"/>
                    <a:pt x="318150" y="54053"/>
                    <a:pt x="313341" y="52380"/>
                  </a:cubicBezTo>
                  <a:cubicBezTo>
                    <a:pt x="309473" y="51021"/>
                    <a:pt x="305604" y="49557"/>
                    <a:pt x="301736" y="47989"/>
                  </a:cubicBezTo>
                  <a:cubicBezTo>
                    <a:pt x="294417" y="45062"/>
                    <a:pt x="287099" y="41925"/>
                    <a:pt x="279780" y="38789"/>
                  </a:cubicBezTo>
                  <a:cubicBezTo>
                    <a:pt x="279780" y="38789"/>
                    <a:pt x="279885" y="38789"/>
                    <a:pt x="279885" y="38789"/>
                  </a:cubicBezTo>
                  <a:cubicBezTo>
                    <a:pt x="258974" y="29693"/>
                    <a:pt x="238273" y="19760"/>
                    <a:pt x="216631" y="12337"/>
                  </a:cubicBezTo>
                  <a:moveTo>
                    <a:pt x="6587" y="26661"/>
                  </a:moveTo>
                  <a:cubicBezTo>
                    <a:pt x="6691" y="26661"/>
                    <a:pt x="6796" y="26661"/>
                    <a:pt x="6900" y="26661"/>
                  </a:cubicBezTo>
                  <a:cubicBezTo>
                    <a:pt x="6796" y="26661"/>
                    <a:pt x="6587" y="26661"/>
                    <a:pt x="6482" y="26765"/>
                  </a:cubicBezTo>
                  <a:cubicBezTo>
                    <a:pt x="6482" y="26661"/>
                    <a:pt x="6482" y="26661"/>
                    <a:pt x="6587" y="26661"/>
                  </a:cubicBezTo>
                  <a:moveTo>
                    <a:pt x="116471" y="9932"/>
                  </a:moveTo>
                  <a:cubicBezTo>
                    <a:pt x="116575" y="9932"/>
                    <a:pt x="116680" y="9932"/>
                    <a:pt x="116784" y="9932"/>
                  </a:cubicBezTo>
                  <a:cubicBezTo>
                    <a:pt x="116680" y="9932"/>
                    <a:pt x="116575" y="9932"/>
                    <a:pt x="116471" y="9932"/>
                  </a:cubicBezTo>
                </a:path>
              </a:pathLst>
            </a:custGeom>
            <a:solidFill>
              <a:srgbClr val="74CFC5"/>
            </a:solidFill>
            <a:ln w="1045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4" name="Freeform: Shape 33">
              <a:extLst>
                <a:ext uri="{FF2B5EF4-FFF2-40B4-BE49-F238E27FC236}">
                  <a16:creationId xmlns:a16="http://schemas.microsoft.com/office/drawing/2014/main" id="{2033D43F-2438-4785-B281-8958DB767703}"/>
                </a:ext>
              </a:extLst>
            </p:cNvPr>
            <p:cNvSpPr/>
            <p:nvPr/>
          </p:nvSpPr>
          <p:spPr>
            <a:xfrm>
              <a:off x="10238055" y="2537113"/>
              <a:ext cx="339593" cy="59594"/>
            </a:xfrm>
            <a:custGeom>
              <a:avLst/>
              <a:gdLst>
                <a:gd name="connsiteX0" fmla="*/ 3354 w 339593"/>
                <a:gd name="connsiteY0" fmla="*/ 314 h 59594"/>
                <a:gd name="connsiteX1" fmla="*/ 2204 w 339593"/>
                <a:gd name="connsiteY1" fmla="*/ 0 h 59594"/>
                <a:gd name="connsiteX2" fmla="*/ 322 w 339593"/>
                <a:gd name="connsiteY2" fmla="*/ 1045 h 59594"/>
                <a:gd name="connsiteX3" fmla="*/ 1054 w 339593"/>
                <a:gd name="connsiteY3" fmla="*/ 4078 h 59594"/>
                <a:gd name="connsiteX4" fmla="*/ 62216 w 339593"/>
                <a:gd name="connsiteY4" fmla="*/ 31888 h 59594"/>
                <a:gd name="connsiteX5" fmla="*/ 129234 w 339593"/>
                <a:gd name="connsiteY5" fmla="*/ 49453 h 59594"/>
                <a:gd name="connsiteX6" fmla="*/ 163841 w 339593"/>
                <a:gd name="connsiteY6" fmla="*/ 54890 h 59594"/>
                <a:gd name="connsiteX7" fmla="*/ 199283 w 339593"/>
                <a:gd name="connsiteY7" fmla="*/ 58340 h 59594"/>
                <a:gd name="connsiteX8" fmla="*/ 234517 w 339593"/>
                <a:gd name="connsiteY8" fmla="*/ 59594 h 59594"/>
                <a:gd name="connsiteX9" fmla="*/ 269019 w 339593"/>
                <a:gd name="connsiteY9" fmla="*/ 58653 h 59594"/>
                <a:gd name="connsiteX10" fmla="*/ 302685 w 339593"/>
                <a:gd name="connsiteY10" fmla="*/ 55517 h 59594"/>
                <a:gd name="connsiteX11" fmla="*/ 334364 w 339593"/>
                <a:gd name="connsiteY11" fmla="*/ 50185 h 59594"/>
                <a:gd name="connsiteX12" fmla="*/ 339383 w 339593"/>
                <a:gd name="connsiteY12" fmla="*/ 41612 h 59594"/>
                <a:gd name="connsiteX13" fmla="*/ 330809 w 339593"/>
                <a:gd name="connsiteY13" fmla="*/ 36488 h 59594"/>
                <a:gd name="connsiteX14" fmla="*/ 317218 w 339593"/>
                <a:gd name="connsiteY14" fmla="*/ 39520 h 59594"/>
                <a:gd name="connsiteX15" fmla="*/ 304567 w 339593"/>
                <a:gd name="connsiteY15" fmla="*/ 41821 h 59594"/>
                <a:gd name="connsiteX16" fmla="*/ 278325 w 339593"/>
                <a:gd name="connsiteY16" fmla="*/ 45689 h 59594"/>
                <a:gd name="connsiteX17" fmla="*/ 279893 w 339593"/>
                <a:gd name="connsiteY17" fmla="*/ 45480 h 59594"/>
                <a:gd name="connsiteX18" fmla="*/ 138016 w 339593"/>
                <a:gd name="connsiteY18" fmla="*/ 44121 h 59594"/>
                <a:gd name="connsiteX19" fmla="*/ 138121 w 339593"/>
                <a:gd name="connsiteY19" fmla="*/ 44121 h 59594"/>
                <a:gd name="connsiteX20" fmla="*/ 137598 w 339593"/>
                <a:gd name="connsiteY20" fmla="*/ 44016 h 59594"/>
                <a:gd name="connsiteX21" fmla="*/ 137075 w 339593"/>
                <a:gd name="connsiteY21" fmla="*/ 43912 h 59594"/>
                <a:gd name="connsiteX22" fmla="*/ 137180 w 339593"/>
                <a:gd name="connsiteY22" fmla="*/ 43912 h 59594"/>
                <a:gd name="connsiteX23" fmla="*/ 32524 w 339593"/>
                <a:gd name="connsiteY23" fmla="*/ 14951 h 59594"/>
                <a:gd name="connsiteX24" fmla="*/ 33151 w 339593"/>
                <a:gd name="connsiteY24" fmla="*/ 15265 h 59594"/>
                <a:gd name="connsiteX25" fmla="*/ 3354 w 339593"/>
                <a:gd name="connsiteY25" fmla="*/ 314 h 59594"/>
                <a:gd name="connsiteX26" fmla="*/ 138016 w 339593"/>
                <a:gd name="connsiteY26" fmla="*/ 44121 h 59594"/>
                <a:gd name="connsiteX27" fmla="*/ 137284 w 339593"/>
                <a:gd name="connsiteY27" fmla="*/ 44016 h 59594"/>
                <a:gd name="connsiteX28" fmla="*/ 137703 w 339593"/>
                <a:gd name="connsiteY28" fmla="*/ 44121 h 59594"/>
                <a:gd name="connsiteX29" fmla="*/ 138016 w 339593"/>
                <a:gd name="connsiteY29" fmla="*/ 44121 h 59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39593" h="59594">
                  <a:moveTo>
                    <a:pt x="3354" y="314"/>
                  </a:moveTo>
                  <a:cubicBezTo>
                    <a:pt x="3040" y="105"/>
                    <a:pt x="2622" y="0"/>
                    <a:pt x="2204" y="0"/>
                  </a:cubicBezTo>
                  <a:cubicBezTo>
                    <a:pt x="1472" y="0"/>
                    <a:pt x="740" y="418"/>
                    <a:pt x="322" y="1045"/>
                  </a:cubicBezTo>
                  <a:cubicBezTo>
                    <a:pt x="-305" y="2091"/>
                    <a:pt x="8" y="3450"/>
                    <a:pt x="1054" y="4078"/>
                  </a:cubicBezTo>
                  <a:cubicBezTo>
                    <a:pt x="20501" y="15369"/>
                    <a:pt x="40993" y="24570"/>
                    <a:pt x="62216" y="31888"/>
                  </a:cubicBezTo>
                  <a:cubicBezTo>
                    <a:pt x="84068" y="39416"/>
                    <a:pt x="106546" y="45166"/>
                    <a:pt x="129234" y="49453"/>
                  </a:cubicBezTo>
                  <a:cubicBezTo>
                    <a:pt x="140735" y="51648"/>
                    <a:pt x="152235" y="53426"/>
                    <a:pt x="163841" y="54890"/>
                  </a:cubicBezTo>
                  <a:cubicBezTo>
                    <a:pt x="175550" y="56353"/>
                    <a:pt x="187365" y="57608"/>
                    <a:pt x="199283" y="58340"/>
                  </a:cubicBezTo>
                  <a:cubicBezTo>
                    <a:pt x="210993" y="59072"/>
                    <a:pt x="222703" y="59594"/>
                    <a:pt x="234517" y="59594"/>
                  </a:cubicBezTo>
                  <a:cubicBezTo>
                    <a:pt x="246018" y="59594"/>
                    <a:pt x="257519" y="59281"/>
                    <a:pt x="269019" y="58653"/>
                  </a:cubicBezTo>
                  <a:cubicBezTo>
                    <a:pt x="280311" y="58026"/>
                    <a:pt x="291498" y="56981"/>
                    <a:pt x="302685" y="55517"/>
                  </a:cubicBezTo>
                  <a:cubicBezTo>
                    <a:pt x="313245" y="54158"/>
                    <a:pt x="323909" y="52485"/>
                    <a:pt x="334364" y="50185"/>
                  </a:cubicBezTo>
                  <a:cubicBezTo>
                    <a:pt x="338023" y="49348"/>
                    <a:pt x="340324" y="45271"/>
                    <a:pt x="339383" y="41612"/>
                  </a:cubicBezTo>
                  <a:cubicBezTo>
                    <a:pt x="338442" y="37848"/>
                    <a:pt x="334573" y="35757"/>
                    <a:pt x="330809" y="36488"/>
                  </a:cubicBezTo>
                  <a:cubicBezTo>
                    <a:pt x="326314" y="37429"/>
                    <a:pt x="321713" y="38580"/>
                    <a:pt x="317218" y="39520"/>
                  </a:cubicBezTo>
                  <a:cubicBezTo>
                    <a:pt x="313035" y="40357"/>
                    <a:pt x="308749" y="41193"/>
                    <a:pt x="304567" y="41821"/>
                  </a:cubicBezTo>
                  <a:cubicBezTo>
                    <a:pt x="295889" y="43284"/>
                    <a:pt x="287107" y="44539"/>
                    <a:pt x="278325" y="45689"/>
                  </a:cubicBezTo>
                  <a:cubicBezTo>
                    <a:pt x="278847" y="45584"/>
                    <a:pt x="279370" y="45584"/>
                    <a:pt x="279893" y="45480"/>
                  </a:cubicBezTo>
                  <a:cubicBezTo>
                    <a:pt x="232845" y="51126"/>
                    <a:pt x="184960" y="50917"/>
                    <a:pt x="138016" y="44121"/>
                  </a:cubicBezTo>
                  <a:cubicBezTo>
                    <a:pt x="138016" y="44121"/>
                    <a:pt x="138016" y="44121"/>
                    <a:pt x="138121" y="44121"/>
                  </a:cubicBezTo>
                  <a:cubicBezTo>
                    <a:pt x="137912" y="44121"/>
                    <a:pt x="137807" y="44016"/>
                    <a:pt x="137598" y="44016"/>
                  </a:cubicBezTo>
                  <a:cubicBezTo>
                    <a:pt x="137494" y="44016"/>
                    <a:pt x="137284" y="44016"/>
                    <a:pt x="137075" y="43912"/>
                  </a:cubicBezTo>
                  <a:cubicBezTo>
                    <a:pt x="137075" y="43912"/>
                    <a:pt x="137180" y="43912"/>
                    <a:pt x="137180" y="43912"/>
                  </a:cubicBezTo>
                  <a:cubicBezTo>
                    <a:pt x="101319" y="38475"/>
                    <a:pt x="65876" y="29484"/>
                    <a:pt x="32524" y="14951"/>
                  </a:cubicBezTo>
                  <a:cubicBezTo>
                    <a:pt x="32733" y="15055"/>
                    <a:pt x="32942" y="15160"/>
                    <a:pt x="33151" y="15265"/>
                  </a:cubicBezTo>
                  <a:cubicBezTo>
                    <a:pt x="23010" y="10769"/>
                    <a:pt x="12973" y="5855"/>
                    <a:pt x="3354" y="314"/>
                  </a:cubicBezTo>
                  <a:moveTo>
                    <a:pt x="138016" y="44121"/>
                  </a:moveTo>
                  <a:cubicBezTo>
                    <a:pt x="137807" y="44016"/>
                    <a:pt x="137494" y="44016"/>
                    <a:pt x="137284" y="44016"/>
                  </a:cubicBezTo>
                  <a:cubicBezTo>
                    <a:pt x="137389" y="44016"/>
                    <a:pt x="137494" y="44016"/>
                    <a:pt x="137703" y="44121"/>
                  </a:cubicBezTo>
                  <a:cubicBezTo>
                    <a:pt x="137703" y="44016"/>
                    <a:pt x="137807" y="44016"/>
                    <a:pt x="138016" y="44121"/>
                  </a:cubicBezTo>
                </a:path>
              </a:pathLst>
            </a:custGeom>
            <a:solidFill>
              <a:srgbClr val="74CFC5"/>
            </a:solidFill>
            <a:ln w="1045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5" name="Freeform: Shape 34">
              <a:extLst>
                <a:ext uri="{FF2B5EF4-FFF2-40B4-BE49-F238E27FC236}">
                  <a16:creationId xmlns:a16="http://schemas.microsoft.com/office/drawing/2014/main" id="{96052A47-BAA4-4B2D-892A-F9DC7F1BBBF4}"/>
                </a:ext>
              </a:extLst>
            </p:cNvPr>
            <p:cNvSpPr/>
            <p:nvPr/>
          </p:nvSpPr>
          <p:spPr>
            <a:xfrm>
              <a:off x="10221021" y="2603503"/>
              <a:ext cx="370425" cy="98127"/>
            </a:xfrm>
            <a:custGeom>
              <a:avLst/>
              <a:gdLst>
                <a:gd name="connsiteX0" fmla="*/ 3764 w 370425"/>
                <a:gd name="connsiteY0" fmla="*/ 627 h 98127"/>
                <a:gd name="connsiteX1" fmla="*/ 2196 w 370425"/>
                <a:gd name="connsiteY1" fmla="*/ 0 h 98127"/>
                <a:gd name="connsiteX2" fmla="*/ 627 w 370425"/>
                <a:gd name="connsiteY2" fmla="*/ 627 h 98127"/>
                <a:gd name="connsiteX3" fmla="*/ 627 w 370425"/>
                <a:gd name="connsiteY3" fmla="*/ 3764 h 98127"/>
                <a:gd name="connsiteX4" fmla="*/ 59908 w 370425"/>
                <a:gd name="connsiteY4" fmla="*/ 48512 h 98127"/>
                <a:gd name="connsiteX5" fmla="*/ 134558 w 370425"/>
                <a:gd name="connsiteY5" fmla="*/ 79041 h 98127"/>
                <a:gd name="connsiteX6" fmla="*/ 164355 w 370425"/>
                <a:gd name="connsiteY6" fmla="*/ 86987 h 98127"/>
                <a:gd name="connsiteX7" fmla="*/ 194779 w 370425"/>
                <a:gd name="connsiteY7" fmla="*/ 92737 h 98127"/>
                <a:gd name="connsiteX8" fmla="*/ 256047 w 370425"/>
                <a:gd name="connsiteY8" fmla="*/ 98069 h 98127"/>
                <a:gd name="connsiteX9" fmla="*/ 314700 w 370425"/>
                <a:gd name="connsiteY9" fmla="*/ 94933 h 98127"/>
                <a:gd name="connsiteX10" fmla="*/ 341465 w 370425"/>
                <a:gd name="connsiteY10" fmla="*/ 90123 h 98127"/>
                <a:gd name="connsiteX11" fmla="*/ 354534 w 370425"/>
                <a:gd name="connsiteY11" fmla="*/ 86673 h 98127"/>
                <a:gd name="connsiteX12" fmla="*/ 360389 w 370425"/>
                <a:gd name="connsiteY12" fmla="*/ 84791 h 98127"/>
                <a:gd name="connsiteX13" fmla="*/ 366035 w 370425"/>
                <a:gd name="connsiteY13" fmla="*/ 82805 h 98127"/>
                <a:gd name="connsiteX14" fmla="*/ 369589 w 370425"/>
                <a:gd name="connsiteY14" fmla="*/ 80191 h 98127"/>
                <a:gd name="connsiteX15" fmla="*/ 370217 w 370425"/>
                <a:gd name="connsiteY15" fmla="*/ 75800 h 98127"/>
                <a:gd name="connsiteX16" fmla="*/ 363107 w 370425"/>
                <a:gd name="connsiteY16" fmla="*/ 71618 h 98127"/>
                <a:gd name="connsiteX17" fmla="*/ 355371 w 370425"/>
                <a:gd name="connsiteY17" fmla="*/ 73709 h 98127"/>
                <a:gd name="connsiteX18" fmla="*/ 348470 w 370425"/>
                <a:gd name="connsiteY18" fmla="*/ 75486 h 98127"/>
                <a:gd name="connsiteX19" fmla="*/ 334147 w 370425"/>
                <a:gd name="connsiteY19" fmla="*/ 78623 h 98127"/>
                <a:gd name="connsiteX20" fmla="*/ 303722 w 370425"/>
                <a:gd name="connsiteY20" fmla="*/ 83328 h 98127"/>
                <a:gd name="connsiteX21" fmla="*/ 305500 w 370425"/>
                <a:gd name="connsiteY21" fmla="*/ 83118 h 98127"/>
                <a:gd name="connsiteX22" fmla="*/ 179306 w 370425"/>
                <a:gd name="connsiteY22" fmla="*/ 79877 h 98127"/>
                <a:gd name="connsiteX23" fmla="*/ 128494 w 370425"/>
                <a:gd name="connsiteY23" fmla="*/ 69109 h 98127"/>
                <a:gd name="connsiteX24" fmla="*/ 103088 w 370425"/>
                <a:gd name="connsiteY24" fmla="*/ 61163 h 98127"/>
                <a:gd name="connsiteX25" fmla="*/ 80609 w 370425"/>
                <a:gd name="connsiteY25" fmla="*/ 52276 h 98127"/>
                <a:gd name="connsiteX26" fmla="*/ 49871 w 370425"/>
                <a:gd name="connsiteY26" fmla="*/ 36802 h 98127"/>
                <a:gd name="connsiteX27" fmla="*/ 23629 w 370425"/>
                <a:gd name="connsiteY27" fmla="*/ 19028 h 98127"/>
                <a:gd name="connsiteX28" fmla="*/ 3764 w 370425"/>
                <a:gd name="connsiteY28" fmla="*/ 627 h 98127"/>
                <a:gd name="connsiteX29" fmla="*/ 179620 w 370425"/>
                <a:gd name="connsiteY29" fmla="*/ 79668 h 98127"/>
                <a:gd name="connsiteX30" fmla="*/ 179829 w 370425"/>
                <a:gd name="connsiteY30" fmla="*/ 79668 h 98127"/>
                <a:gd name="connsiteX31" fmla="*/ 179620 w 370425"/>
                <a:gd name="connsiteY31" fmla="*/ 79668 h 98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70425" h="98127">
                  <a:moveTo>
                    <a:pt x="3764" y="627"/>
                  </a:moveTo>
                  <a:cubicBezTo>
                    <a:pt x="3346" y="209"/>
                    <a:pt x="2718" y="0"/>
                    <a:pt x="2196" y="0"/>
                  </a:cubicBezTo>
                  <a:cubicBezTo>
                    <a:pt x="1673" y="0"/>
                    <a:pt x="1045" y="209"/>
                    <a:pt x="627" y="627"/>
                  </a:cubicBezTo>
                  <a:cubicBezTo>
                    <a:pt x="-209" y="1464"/>
                    <a:pt x="-209" y="2927"/>
                    <a:pt x="627" y="3764"/>
                  </a:cubicBezTo>
                  <a:cubicBezTo>
                    <a:pt x="17774" y="21851"/>
                    <a:pt x="38161" y="36489"/>
                    <a:pt x="59908" y="48512"/>
                  </a:cubicBezTo>
                  <a:cubicBezTo>
                    <a:pt x="83537" y="61476"/>
                    <a:pt x="108734" y="71409"/>
                    <a:pt x="134558" y="79041"/>
                  </a:cubicBezTo>
                  <a:cubicBezTo>
                    <a:pt x="144386" y="81968"/>
                    <a:pt x="154318" y="84687"/>
                    <a:pt x="164355" y="86987"/>
                  </a:cubicBezTo>
                  <a:cubicBezTo>
                    <a:pt x="174392" y="89182"/>
                    <a:pt x="184533" y="91169"/>
                    <a:pt x="194779" y="92737"/>
                  </a:cubicBezTo>
                  <a:cubicBezTo>
                    <a:pt x="215062" y="95874"/>
                    <a:pt x="235555" y="97756"/>
                    <a:pt x="256047" y="98069"/>
                  </a:cubicBezTo>
                  <a:cubicBezTo>
                    <a:pt x="275702" y="98383"/>
                    <a:pt x="295254" y="97442"/>
                    <a:pt x="314700" y="94933"/>
                  </a:cubicBezTo>
                  <a:cubicBezTo>
                    <a:pt x="323692" y="93678"/>
                    <a:pt x="332683" y="92214"/>
                    <a:pt x="341465" y="90123"/>
                  </a:cubicBezTo>
                  <a:cubicBezTo>
                    <a:pt x="345856" y="89078"/>
                    <a:pt x="350248" y="88032"/>
                    <a:pt x="354534" y="86673"/>
                  </a:cubicBezTo>
                  <a:cubicBezTo>
                    <a:pt x="356521" y="86046"/>
                    <a:pt x="358403" y="85523"/>
                    <a:pt x="360389" y="84791"/>
                  </a:cubicBezTo>
                  <a:cubicBezTo>
                    <a:pt x="362271" y="84164"/>
                    <a:pt x="364153" y="83432"/>
                    <a:pt x="366035" y="82805"/>
                  </a:cubicBezTo>
                  <a:cubicBezTo>
                    <a:pt x="367603" y="82282"/>
                    <a:pt x="368753" y="81550"/>
                    <a:pt x="369589" y="80191"/>
                  </a:cubicBezTo>
                  <a:cubicBezTo>
                    <a:pt x="370426" y="78832"/>
                    <a:pt x="370635" y="77264"/>
                    <a:pt x="370217" y="75800"/>
                  </a:cubicBezTo>
                  <a:cubicBezTo>
                    <a:pt x="369485" y="72872"/>
                    <a:pt x="366139" y="70572"/>
                    <a:pt x="363107" y="71618"/>
                  </a:cubicBezTo>
                  <a:cubicBezTo>
                    <a:pt x="360598" y="72454"/>
                    <a:pt x="357984" y="73082"/>
                    <a:pt x="355371" y="73709"/>
                  </a:cubicBezTo>
                  <a:cubicBezTo>
                    <a:pt x="353070" y="74336"/>
                    <a:pt x="350770" y="74859"/>
                    <a:pt x="348470" y="75486"/>
                  </a:cubicBezTo>
                  <a:cubicBezTo>
                    <a:pt x="343661" y="76636"/>
                    <a:pt x="338956" y="77682"/>
                    <a:pt x="334147" y="78623"/>
                  </a:cubicBezTo>
                  <a:cubicBezTo>
                    <a:pt x="324110" y="80609"/>
                    <a:pt x="313864" y="82177"/>
                    <a:pt x="303722" y="83328"/>
                  </a:cubicBezTo>
                  <a:cubicBezTo>
                    <a:pt x="304349" y="83223"/>
                    <a:pt x="304872" y="83223"/>
                    <a:pt x="305500" y="83118"/>
                  </a:cubicBezTo>
                  <a:cubicBezTo>
                    <a:pt x="263574" y="87823"/>
                    <a:pt x="221022" y="86255"/>
                    <a:pt x="179306" y="79877"/>
                  </a:cubicBezTo>
                  <a:cubicBezTo>
                    <a:pt x="162159" y="77159"/>
                    <a:pt x="145222" y="73709"/>
                    <a:pt x="128494" y="69109"/>
                  </a:cubicBezTo>
                  <a:cubicBezTo>
                    <a:pt x="119921" y="66704"/>
                    <a:pt x="111452" y="64090"/>
                    <a:pt x="103088" y="61163"/>
                  </a:cubicBezTo>
                  <a:cubicBezTo>
                    <a:pt x="95455" y="58444"/>
                    <a:pt x="88032" y="55412"/>
                    <a:pt x="80609" y="52276"/>
                  </a:cubicBezTo>
                  <a:cubicBezTo>
                    <a:pt x="70154" y="47676"/>
                    <a:pt x="59804" y="42657"/>
                    <a:pt x="49871" y="36802"/>
                  </a:cubicBezTo>
                  <a:cubicBezTo>
                    <a:pt x="40775" y="31470"/>
                    <a:pt x="31993" y="25511"/>
                    <a:pt x="23629" y="19028"/>
                  </a:cubicBezTo>
                  <a:cubicBezTo>
                    <a:pt x="16624" y="13174"/>
                    <a:pt x="9932" y="7110"/>
                    <a:pt x="3764" y="627"/>
                  </a:cubicBezTo>
                  <a:moveTo>
                    <a:pt x="179620" y="79668"/>
                  </a:moveTo>
                  <a:cubicBezTo>
                    <a:pt x="179724" y="79668"/>
                    <a:pt x="179829" y="79668"/>
                    <a:pt x="179829" y="79668"/>
                  </a:cubicBezTo>
                  <a:cubicBezTo>
                    <a:pt x="179724" y="79668"/>
                    <a:pt x="179620" y="79668"/>
                    <a:pt x="179620" y="79668"/>
                  </a:cubicBezTo>
                </a:path>
              </a:pathLst>
            </a:custGeom>
            <a:solidFill>
              <a:srgbClr val="74CFC5"/>
            </a:solidFill>
            <a:ln w="1045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3" name="TextBox 2">
            <a:extLst>
              <a:ext uri="{FF2B5EF4-FFF2-40B4-BE49-F238E27FC236}">
                <a16:creationId xmlns:a16="http://schemas.microsoft.com/office/drawing/2014/main" id="{AB28E86F-C6EB-41D0-942B-D73AAE07AB05}"/>
              </a:ext>
            </a:extLst>
          </p:cNvPr>
          <p:cNvSpPr txBox="1"/>
          <p:nvPr/>
        </p:nvSpPr>
        <p:spPr>
          <a:xfrm>
            <a:off x="3271793" y="6112409"/>
            <a:ext cx="6513130" cy="369332"/>
          </a:xfrm>
          <a:prstGeom prst="rect">
            <a:avLst/>
          </a:prstGeom>
          <a:noFill/>
        </p:spPr>
        <p:txBody>
          <a:bodyPr wrap="none" rtlCol="0">
            <a:spAutoFit/>
          </a:bodyPr>
          <a:lstStyle/>
          <a:p>
            <a:r>
              <a:rPr lang="en-US" dirty="0">
                <a:hlinkClick r:id="rId8"/>
              </a:rPr>
              <a:t>https://covid.cdc.gov/covid-data-tracker/#mis-national-surveillance</a:t>
            </a:r>
            <a:r>
              <a:rPr lang="en-US" dirty="0"/>
              <a:t> </a:t>
            </a:r>
          </a:p>
        </p:txBody>
      </p:sp>
    </p:spTree>
    <p:extLst>
      <p:ext uri="{BB962C8B-B14F-4D97-AF65-F5344CB8AC3E}">
        <p14:creationId xmlns:p14="http://schemas.microsoft.com/office/powerpoint/2010/main" val="326457560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7D1A6F-160D-4A9A-9E97-2C50A4F7DFB3}"/>
              </a:ext>
            </a:extLst>
          </p:cNvPr>
          <p:cNvSpPr>
            <a:spLocks noGrp="1"/>
          </p:cNvSpPr>
          <p:nvPr>
            <p:ph type="title"/>
          </p:nvPr>
        </p:nvSpPr>
        <p:spPr>
          <a:xfrm>
            <a:off x="838200" y="163420"/>
            <a:ext cx="10515600" cy="1325563"/>
          </a:xfrm>
        </p:spPr>
        <p:txBody>
          <a:bodyPr>
            <a:normAutofit/>
          </a:bodyPr>
          <a:lstStyle/>
          <a:p>
            <a:pPr algn="ctr"/>
            <a:r>
              <a:rPr lang="en-US" sz="6000" dirty="0"/>
              <a:t>Post-COVID Conditions</a:t>
            </a:r>
          </a:p>
        </p:txBody>
      </p:sp>
      <p:sp>
        <p:nvSpPr>
          <p:cNvPr id="3" name="Content Placeholder 2">
            <a:extLst>
              <a:ext uri="{FF2B5EF4-FFF2-40B4-BE49-F238E27FC236}">
                <a16:creationId xmlns:a16="http://schemas.microsoft.com/office/drawing/2014/main" id="{FEBB1C89-32B9-45FE-89DC-0CEC1A86B5D4}"/>
              </a:ext>
            </a:extLst>
          </p:cNvPr>
          <p:cNvSpPr>
            <a:spLocks noGrp="1"/>
          </p:cNvSpPr>
          <p:nvPr>
            <p:ph idx="1"/>
          </p:nvPr>
        </p:nvSpPr>
        <p:spPr>
          <a:xfrm>
            <a:off x="838200" y="1341065"/>
            <a:ext cx="10820400" cy="4884923"/>
          </a:xfrm>
        </p:spPr>
        <p:txBody>
          <a:bodyPr>
            <a:normAutofit fontScale="92500" lnSpcReduction="10000"/>
          </a:bodyPr>
          <a:lstStyle/>
          <a:p>
            <a:r>
              <a:rPr lang="en-US" sz="3600" dirty="0"/>
              <a:t>Long COVID, long-haul COVID, post-acute COVID</a:t>
            </a:r>
          </a:p>
          <a:p>
            <a:endParaRPr lang="en-US" sz="3600" dirty="0"/>
          </a:p>
          <a:p>
            <a:endParaRPr lang="en-US" sz="3600" dirty="0"/>
          </a:p>
          <a:p>
            <a:endParaRPr lang="en-US" sz="3600" dirty="0"/>
          </a:p>
          <a:p>
            <a:endParaRPr lang="en-US" sz="3600" dirty="0"/>
          </a:p>
          <a:p>
            <a:endParaRPr lang="en-US" sz="3600" dirty="0"/>
          </a:p>
          <a:p>
            <a:endParaRPr lang="en-US" sz="3600" dirty="0"/>
          </a:p>
          <a:p>
            <a:r>
              <a:rPr lang="en-US" sz="3600" dirty="0"/>
              <a:t>Multiorgan system effects, autoimmunity</a:t>
            </a:r>
          </a:p>
          <a:p>
            <a:r>
              <a:rPr lang="en-US" sz="3600" dirty="0"/>
              <a:t>Post-ICU syndrome: weak, brain fog, PTSD</a:t>
            </a:r>
          </a:p>
          <a:p>
            <a:endParaRPr lang="en-US" sz="3600" dirty="0"/>
          </a:p>
          <a:p>
            <a:endParaRPr lang="en-US" sz="3600" dirty="0"/>
          </a:p>
        </p:txBody>
      </p:sp>
      <p:graphicFrame>
        <p:nvGraphicFramePr>
          <p:cNvPr id="7" name="Table 7">
            <a:extLst>
              <a:ext uri="{FF2B5EF4-FFF2-40B4-BE49-F238E27FC236}">
                <a16:creationId xmlns:a16="http://schemas.microsoft.com/office/drawing/2014/main" id="{4A43304C-CF07-44D5-BE74-6E0FBC5E852B}"/>
              </a:ext>
            </a:extLst>
          </p:cNvPr>
          <p:cNvGraphicFramePr>
            <a:graphicFrameLocks noGrp="1"/>
          </p:cNvGraphicFramePr>
          <p:nvPr/>
        </p:nvGraphicFramePr>
        <p:xfrm>
          <a:off x="1156449" y="2057400"/>
          <a:ext cx="10197351" cy="2743200"/>
        </p:xfrm>
        <a:graphic>
          <a:graphicData uri="http://schemas.openxmlformats.org/drawingml/2006/table">
            <a:tbl>
              <a:tblPr firstRow="1" bandRow="1">
                <a:tableStyleId>{5C22544A-7EE6-4342-B048-85BDC9FD1C3A}</a:tableStyleId>
              </a:tblPr>
              <a:tblGrid>
                <a:gridCol w="3399117">
                  <a:extLst>
                    <a:ext uri="{9D8B030D-6E8A-4147-A177-3AD203B41FA5}">
                      <a16:colId xmlns:a16="http://schemas.microsoft.com/office/drawing/2014/main" val="1836818762"/>
                    </a:ext>
                  </a:extLst>
                </a:gridCol>
                <a:gridCol w="3399117">
                  <a:extLst>
                    <a:ext uri="{9D8B030D-6E8A-4147-A177-3AD203B41FA5}">
                      <a16:colId xmlns:a16="http://schemas.microsoft.com/office/drawing/2014/main" val="1981211143"/>
                    </a:ext>
                  </a:extLst>
                </a:gridCol>
                <a:gridCol w="3399117">
                  <a:extLst>
                    <a:ext uri="{9D8B030D-6E8A-4147-A177-3AD203B41FA5}">
                      <a16:colId xmlns:a16="http://schemas.microsoft.com/office/drawing/2014/main" val="3658464484"/>
                    </a:ext>
                  </a:extLst>
                </a:gridCol>
              </a:tblGrid>
              <a:tr h="370840">
                <a:tc>
                  <a:txBody>
                    <a:bodyPr/>
                    <a:lstStyle/>
                    <a:p>
                      <a:r>
                        <a:rPr lang="en-US" sz="2400" b="0" dirty="0">
                          <a:solidFill>
                            <a:schemeClr val="tx1"/>
                          </a:solidFill>
                        </a:rPr>
                        <a:t>Breathing difficult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2400" b="0" dirty="0">
                          <a:solidFill>
                            <a:schemeClr val="tx1"/>
                          </a:solidFill>
                        </a:rPr>
                        <a:t>Tired or fatigu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2400" b="0" dirty="0">
                          <a:solidFill>
                            <a:schemeClr val="tx1"/>
                          </a:solidFill>
                        </a:rPr>
                        <a:t>Worse after activit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80275710"/>
                  </a:ext>
                </a:extLst>
              </a:tr>
              <a:tr h="370840">
                <a:tc>
                  <a:txBody>
                    <a:bodyPr/>
                    <a:lstStyle/>
                    <a:p>
                      <a:r>
                        <a:rPr lang="en-US" sz="2400" b="0" dirty="0">
                          <a:solidFill>
                            <a:schemeClr val="tx1"/>
                          </a:solidFill>
                        </a:rPr>
                        <a:t>“Brain fo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2400" b="0" dirty="0">
                          <a:solidFill>
                            <a:schemeClr val="tx1"/>
                          </a:solidFill>
                        </a:rPr>
                        <a:t>Cough</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2400" b="0" dirty="0">
                          <a:solidFill>
                            <a:schemeClr val="tx1"/>
                          </a:solidFill>
                        </a:rPr>
                        <a:t>Pain: chest or stomach</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60813131"/>
                  </a:ext>
                </a:extLst>
              </a:tr>
              <a:tr h="370840">
                <a:tc>
                  <a:txBody>
                    <a:bodyPr/>
                    <a:lstStyle/>
                    <a:p>
                      <a:r>
                        <a:rPr lang="en-US" sz="2400" b="0" dirty="0">
                          <a:solidFill>
                            <a:schemeClr val="tx1"/>
                          </a:solidFill>
                        </a:rPr>
                        <a:t>Headach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2400" b="0" dirty="0">
                          <a:solidFill>
                            <a:schemeClr val="tx1"/>
                          </a:solidFill>
                        </a:rPr>
                        <a:t>Palpitation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2400" b="0" dirty="0">
                          <a:solidFill>
                            <a:schemeClr val="tx1"/>
                          </a:solidFill>
                        </a:rPr>
                        <a:t>Joint or muscle pai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08330781"/>
                  </a:ext>
                </a:extLst>
              </a:tr>
              <a:tr h="370840">
                <a:tc>
                  <a:txBody>
                    <a:bodyPr/>
                    <a:lstStyle/>
                    <a:p>
                      <a:r>
                        <a:rPr lang="en-US" sz="2400" b="0" dirty="0">
                          <a:solidFill>
                            <a:schemeClr val="tx1"/>
                          </a:solidFill>
                        </a:rPr>
                        <a:t>Pins-and-needles feelin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2400" b="0" dirty="0">
                          <a:solidFill>
                            <a:schemeClr val="tx1"/>
                          </a:solidFill>
                        </a:rPr>
                        <a:t>Diarrhe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2400" b="0" dirty="0">
                          <a:solidFill>
                            <a:schemeClr val="tx1"/>
                          </a:solidFill>
                        </a:rPr>
                        <a:t>Sleep problem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4418406"/>
                  </a:ext>
                </a:extLst>
              </a:tr>
              <a:tr h="370840">
                <a:tc>
                  <a:txBody>
                    <a:bodyPr/>
                    <a:lstStyle/>
                    <a:p>
                      <a:r>
                        <a:rPr lang="en-US" sz="2400" b="0" dirty="0">
                          <a:solidFill>
                            <a:schemeClr val="tx1"/>
                          </a:solidFill>
                        </a:rPr>
                        <a:t>Fev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2400" b="0" dirty="0">
                          <a:solidFill>
                            <a:schemeClr val="tx1"/>
                          </a:solidFill>
                        </a:rPr>
                        <a:t>Dizzy on standin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2400" b="0" dirty="0">
                          <a:solidFill>
                            <a:schemeClr val="tx1"/>
                          </a:solidFill>
                        </a:rPr>
                        <a:t>Rash</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26574425"/>
                  </a:ext>
                </a:extLst>
              </a:tr>
              <a:tr h="370840">
                <a:tc>
                  <a:txBody>
                    <a:bodyPr/>
                    <a:lstStyle/>
                    <a:p>
                      <a:r>
                        <a:rPr lang="en-US" sz="2400" b="0" dirty="0">
                          <a:solidFill>
                            <a:schemeClr val="tx1"/>
                          </a:solidFill>
                        </a:rPr>
                        <a:t>Mood chang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2400" b="0" dirty="0">
                          <a:solidFill>
                            <a:schemeClr val="tx1"/>
                          </a:solidFill>
                        </a:rPr>
                        <a:t>Smell/taste chang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2400" b="0" dirty="0">
                          <a:solidFill>
                            <a:schemeClr val="tx1"/>
                          </a:solidFill>
                        </a:rPr>
                        <a:t>Menstrual chang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31694503"/>
                  </a:ext>
                </a:extLst>
              </a:tr>
            </a:tbl>
          </a:graphicData>
        </a:graphic>
      </p:graphicFrame>
      <p:sp>
        <p:nvSpPr>
          <p:cNvPr id="8" name="TextBox 7">
            <a:extLst>
              <a:ext uri="{FF2B5EF4-FFF2-40B4-BE49-F238E27FC236}">
                <a16:creationId xmlns:a16="http://schemas.microsoft.com/office/drawing/2014/main" id="{FD08160F-83DD-4E6D-B71C-5A482A696979}"/>
              </a:ext>
            </a:extLst>
          </p:cNvPr>
          <p:cNvSpPr txBox="1"/>
          <p:nvPr/>
        </p:nvSpPr>
        <p:spPr>
          <a:xfrm>
            <a:off x="2528047" y="6041322"/>
            <a:ext cx="661629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hlinkClick r:id="rId3"/>
              </a:rPr>
              <a:t>https://www.cdc.gov/coronavirus/2019-ncov/long-term-effects.html</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a:t>
            </a:r>
          </a:p>
        </p:txBody>
      </p:sp>
    </p:spTree>
    <p:extLst>
      <p:ext uri="{BB962C8B-B14F-4D97-AF65-F5344CB8AC3E}">
        <p14:creationId xmlns:p14="http://schemas.microsoft.com/office/powerpoint/2010/main" val="183310518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gradFill flip="none" rotWithShape="1">
          <a:gsLst>
            <a:gs pos="39000">
              <a:srgbClr val="002060"/>
            </a:gs>
            <a:gs pos="100000">
              <a:srgbClr val="00B050"/>
            </a:gs>
          </a:gsLst>
          <a:lin ang="2700000" scaled="1"/>
          <a:tileRect/>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24D3B85-3D7D-4E4D-850F-DC33DEAF512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5" progId="TCLayout.ActiveDocument.1">
                  <p:embed/>
                </p:oleObj>
              </mc:Choice>
              <mc:Fallback>
                <p:oleObj name="think-cell Slide" r:id="rId8" imgW="592" imgH="595" progId="TCLayout.ActiveDocument.1">
                  <p:embed/>
                  <p:pic>
                    <p:nvPicPr>
                      <p:cNvPr id="5" name="Object 4" hidden="1">
                        <a:extLst>
                          <a:ext uri="{FF2B5EF4-FFF2-40B4-BE49-F238E27FC236}">
                            <a16:creationId xmlns:a16="http://schemas.microsoft.com/office/drawing/2014/main" id="{024D3B85-3D7D-4E4D-850F-DC33DEAF5122}"/>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9D8AA3F-27A7-4B30-A1D9-3AE9F27A45B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0" b="1" i="0" u="none" strike="noStrike" kern="1200" cap="none" spc="0" normalizeH="0" baseline="0" noProof="0" dirty="0">
              <a:ln>
                <a:noFill/>
              </a:ln>
              <a:solidFill>
                <a:prstClr val="white"/>
              </a:solidFill>
              <a:effectLst/>
              <a:uLnTx/>
              <a:uFillTx/>
              <a:latin typeface="Calibri" panose="020F0502020204030204" pitchFamily="34" charset="0"/>
              <a:ea typeface="+mn-ea"/>
              <a:cs typeface="+mn-cs"/>
              <a:sym typeface="Calibri" panose="020F0502020204030204" pitchFamily="34" charset="0"/>
            </a:endParaRPr>
          </a:p>
        </p:txBody>
      </p:sp>
      <p:sp>
        <p:nvSpPr>
          <p:cNvPr id="12" name="Rectangle 11">
            <a:extLst>
              <a:ext uri="{FF2B5EF4-FFF2-40B4-BE49-F238E27FC236}">
                <a16:creationId xmlns:a16="http://schemas.microsoft.com/office/drawing/2014/main" id="{26EF838B-D205-410C-9BD6-2BF105565AC9}"/>
              </a:ext>
            </a:extLst>
          </p:cNvPr>
          <p:cNvSpPr/>
          <p:nvPr/>
        </p:nvSpPr>
        <p:spPr>
          <a:xfrm>
            <a:off x="166976" y="152631"/>
            <a:ext cx="11856528" cy="65386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33" name="Picture 32">
            <a:extLst>
              <a:ext uri="{FF2B5EF4-FFF2-40B4-BE49-F238E27FC236}">
                <a16:creationId xmlns:a16="http://schemas.microsoft.com/office/drawing/2014/main" id="{710B7580-7BC1-44F9-891A-AF4BBBD51648}"/>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0806074" y="19770"/>
            <a:ext cx="1362152" cy="345355"/>
          </a:xfrm>
          <a:prstGeom prst="rect">
            <a:avLst/>
          </a:prstGeom>
        </p:spPr>
      </p:pic>
      <p:sp>
        <p:nvSpPr>
          <p:cNvPr id="34" name="TextBox 33">
            <a:extLst>
              <a:ext uri="{FF2B5EF4-FFF2-40B4-BE49-F238E27FC236}">
                <a16:creationId xmlns:a16="http://schemas.microsoft.com/office/drawing/2014/main" id="{B886E3AF-75FE-48DA-B15B-885CAF179E4F}"/>
              </a:ext>
            </a:extLst>
          </p:cNvPr>
          <p:cNvSpPr txBox="1"/>
          <p:nvPr/>
        </p:nvSpPr>
        <p:spPr>
          <a:xfrm>
            <a:off x="635000" y="6492875"/>
            <a:ext cx="9954164" cy="152349"/>
          </a:xfrm>
          <a:prstGeom prst="rect">
            <a:avLst/>
          </a:prstGeom>
        </p:spPr>
        <p:txBody>
          <a:bodyPr vert="horz" wrap="square" lIns="0" tIns="0" rIns="0" bIns="0" rtlCol="0">
            <a:spAutoFit/>
          </a:bodyPr>
          <a:lstStyle>
            <a:lvl1pPr marL="228600" lvl="0" indent="-228600" defTabSz="914400">
              <a:lnSpc>
                <a:spcPct val="90000"/>
              </a:lnSpc>
              <a:spcBef>
                <a:spcPts val="1000"/>
              </a:spcBef>
              <a:buFont typeface="Arial" panose="020B0604020202020204" pitchFamily="34" charset="0"/>
              <a:buChar char="•"/>
              <a:defRPr sz="2800"/>
            </a:lvl1pPr>
            <a:lvl2pPr marL="685800" lvl="1" indent="-228600" defTabSz="914400">
              <a:lnSpc>
                <a:spcPct val="90000"/>
              </a:lnSpc>
              <a:spcBef>
                <a:spcPts val="500"/>
              </a:spcBef>
              <a:buFont typeface="Arial" panose="020B0604020202020204" pitchFamily="34" charset="0"/>
              <a:buChar char="•"/>
              <a:defRPr sz="2400"/>
            </a:lvl2pPr>
            <a:lvl3pPr marL="1143000" lvl="2" indent="-228600" defTabSz="914400">
              <a:lnSpc>
                <a:spcPct val="90000"/>
              </a:lnSpc>
              <a:spcBef>
                <a:spcPts val="500"/>
              </a:spcBef>
              <a:buFont typeface="Arial" panose="020B0604020202020204" pitchFamily="34" charset="0"/>
              <a:buChar char="•"/>
              <a:defRPr sz="2000"/>
            </a:lvl3pPr>
            <a:lvl4pPr marL="1600200" lvl="3" indent="-228600" defTabSz="914400">
              <a:lnSpc>
                <a:spcPct val="90000"/>
              </a:lnSpc>
              <a:spcBef>
                <a:spcPts val="500"/>
              </a:spcBef>
              <a:buFont typeface="Arial" panose="020B0604020202020204" pitchFamily="34" charset="0"/>
              <a:buChar char="•"/>
            </a:lvl4pPr>
            <a:lvl5pPr marL="2057400" lvl="4" indent="-228600" defTabSz="914400">
              <a:lnSpc>
                <a:spcPct val="90000"/>
              </a:lnSpc>
              <a:spcBef>
                <a:spcPts val="500"/>
              </a:spcBef>
              <a:buFont typeface="Arial" panose="020B0604020202020204" pitchFamily="34" charset="0"/>
              <a:buChar char="•"/>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
                <a:srgbClr val="FFFFFF"/>
              </a:buClr>
              <a:buSzTx/>
              <a:buFont typeface="Arial" panose="020B0604020202020204" pitchFamily="34" charset="0"/>
              <a:buNone/>
              <a:tabLst/>
              <a:defRPr/>
            </a:pPr>
            <a:r>
              <a:rPr kumimoji="0" lang="en-US" sz="1100" b="0" i="0" u="none" strike="noStrike" kern="1200" cap="none" spc="0" normalizeH="0" baseline="0" noProof="0" dirty="0">
                <a:ln>
                  <a:noFill/>
                </a:ln>
                <a:solidFill>
                  <a:prstClr val="white">
                    <a:lumMod val="85000"/>
                  </a:prstClr>
                </a:solidFill>
                <a:effectLst/>
                <a:uLnTx/>
                <a:uFillTx/>
                <a:latin typeface="Open Sans"/>
                <a:ea typeface="+mn-ea"/>
                <a:cs typeface="+mn-cs"/>
              </a:rPr>
              <a:t>Confidential, preliminary, pre-decisional, and deliberative.  Content is descriptive only and is not meant to constitute legal, clinical, or policy advice.</a:t>
            </a:r>
          </a:p>
        </p:txBody>
      </p:sp>
      <p:sp>
        <p:nvSpPr>
          <p:cNvPr id="149" name="Freeform: Shape 148">
            <a:extLst>
              <a:ext uri="{FF2B5EF4-FFF2-40B4-BE49-F238E27FC236}">
                <a16:creationId xmlns:a16="http://schemas.microsoft.com/office/drawing/2014/main" id="{D21FA902-587A-4608-B993-A215A7DDBC93}"/>
              </a:ext>
            </a:extLst>
          </p:cNvPr>
          <p:cNvSpPr/>
          <p:nvPr/>
        </p:nvSpPr>
        <p:spPr>
          <a:xfrm flipH="1">
            <a:off x="597339" y="303907"/>
            <a:ext cx="6335165" cy="6188805"/>
          </a:xfrm>
          <a:custGeom>
            <a:avLst/>
            <a:gdLst>
              <a:gd name="connsiteX0" fmla="*/ 3000320 w 6507617"/>
              <a:gd name="connsiteY0" fmla="*/ 748 h 6346029"/>
              <a:gd name="connsiteX1" fmla="*/ 1246936 w 6507617"/>
              <a:gd name="connsiteY1" fmla="*/ 577945 h 6346029"/>
              <a:gd name="connsiteX2" fmla="*/ 98311 w 6507617"/>
              <a:gd name="connsiteY2" fmla="*/ 2564503 h 6346029"/>
              <a:gd name="connsiteX3" fmla="*/ 0 w 6507617"/>
              <a:gd name="connsiteY3" fmla="*/ 2887197 h 6346029"/>
              <a:gd name="connsiteX4" fmla="*/ 0 w 6507617"/>
              <a:gd name="connsiteY4" fmla="*/ 5800427 h 6346029"/>
              <a:gd name="connsiteX5" fmla="*/ 10840 w 6507617"/>
              <a:gd name="connsiteY5" fmla="*/ 5812630 h 6346029"/>
              <a:gd name="connsiteX6" fmla="*/ 90419 w 6507617"/>
              <a:gd name="connsiteY6" fmla="*/ 5873773 h 6346029"/>
              <a:gd name="connsiteX7" fmla="*/ 5018293 w 6507617"/>
              <a:gd name="connsiteY7" fmla="*/ 5147632 h 6346029"/>
              <a:gd name="connsiteX8" fmla="*/ 5849580 w 6507617"/>
              <a:gd name="connsiteY8" fmla="*/ 1029631 h 6346029"/>
              <a:gd name="connsiteX9" fmla="*/ 3000320 w 6507617"/>
              <a:gd name="connsiteY9" fmla="*/ 748 h 6346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07617" h="6346029">
                <a:moveTo>
                  <a:pt x="3000320" y="748"/>
                </a:moveTo>
                <a:cubicBezTo>
                  <a:pt x="2343199" y="13410"/>
                  <a:pt x="1711855" y="187556"/>
                  <a:pt x="1246936" y="577945"/>
                </a:cubicBezTo>
                <a:cubicBezTo>
                  <a:pt x="782032" y="968336"/>
                  <a:pt x="376298" y="1732491"/>
                  <a:pt x="98311" y="2564503"/>
                </a:cubicBezTo>
                <a:lnTo>
                  <a:pt x="0" y="2887197"/>
                </a:lnTo>
                <a:lnTo>
                  <a:pt x="0" y="5800427"/>
                </a:lnTo>
                <a:lnTo>
                  <a:pt x="10840" y="5812630"/>
                </a:lnTo>
                <a:cubicBezTo>
                  <a:pt x="35712" y="5835962"/>
                  <a:pt x="62225" y="5856402"/>
                  <a:pt x="90419" y="5873773"/>
                </a:cubicBezTo>
                <a:cubicBezTo>
                  <a:pt x="1600516" y="6804193"/>
                  <a:pt x="3719242" y="6253054"/>
                  <a:pt x="5018293" y="5147632"/>
                </a:cubicBezTo>
                <a:cubicBezTo>
                  <a:pt x="6317383" y="4042169"/>
                  <a:pt x="7161214" y="2419986"/>
                  <a:pt x="5849580" y="1029631"/>
                </a:cubicBezTo>
                <a:cubicBezTo>
                  <a:pt x="5262326" y="407110"/>
                  <a:pt x="4095522" y="-20355"/>
                  <a:pt x="3000320" y="748"/>
                </a:cubicBezTo>
                <a:close/>
              </a:path>
            </a:pathLst>
          </a:custGeom>
          <a:solidFill>
            <a:schemeClr val="accent1">
              <a:lumMod val="20000"/>
              <a:lumOff val="80000"/>
            </a:schemeClr>
          </a:solidFill>
          <a:ln w="2899"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15" name="Group 14">
            <a:extLst>
              <a:ext uri="{FF2B5EF4-FFF2-40B4-BE49-F238E27FC236}">
                <a16:creationId xmlns:a16="http://schemas.microsoft.com/office/drawing/2014/main" id="{914E3ABF-07FB-4DCD-941F-01177A51F2C8}"/>
              </a:ext>
            </a:extLst>
          </p:cNvPr>
          <p:cNvGrpSpPr/>
          <p:nvPr/>
        </p:nvGrpSpPr>
        <p:grpSpPr>
          <a:xfrm>
            <a:off x="635000" y="3125941"/>
            <a:ext cx="5689759" cy="1882336"/>
            <a:chOff x="5524752" y="2351620"/>
            <a:chExt cx="5901063" cy="1950588"/>
          </a:xfrm>
        </p:grpSpPr>
        <p:grpSp>
          <p:nvGrpSpPr>
            <p:cNvPr id="7" name="Group 6">
              <a:extLst>
                <a:ext uri="{FF2B5EF4-FFF2-40B4-BE49-F238E27FC236}">
                  <a16:creationId xmlns:a16="http://schemas.microsoft.com/office/drawing/2014/main" id="{F6EC9A77-0471-4DB6-A1FF-1680F015EFE4}"/>
                </a:ext>
              </a:extLst>
            </p:cNvPr>
            <p:cNvGrpSpPr/>
            <p:nvPr/>
          </p:nvGrpSpPr>
          <p:grpSpPr>
            <a:xfrm>
              <a:off x="5524752" y="2352136"/>
              <a:ext cx="1350745" cy="1419947"/>
              <a:chOff x="2766066" y="3229600"/>
              <a:chExt cx="1374005" cy="1419947"/>
            </a:xfrm>
          </p:grpSpPr>
          <p:sp>
            <p:nvSpPr>
              <p:cNvPr id="14" name="TextBox 13">
                <a:extLst>
                  <a:ext uri="{FF2B5EF4-FFF2-40B4-BE49-F238E27FC236}">
                    <a16:creationId xmlns:a16="http://schemas.microsoft.com/office/drawing/2014/main" id="{44FE7E5E-A389-4EBD-B8AB-B840EDB9554E}"/>
                  </a:ext>
                </a:extLst>
              </p:cNvPr>
              <p:cNvSpPr txBox="1">
                <a:spLocks/>
              </p:cNvSpPr>
              <p:nvPr/>
            </p:nvSpPr>
            <p:spPr>
              <a:xfrm>
                <a:off x="2766066" y="4150949"/>
                <a:ext cx="1374005" cy="498598"/>
              </a:xfrm>
              <a:prstGeom prst="rect">
                <a:avLst/>
              </a:prstGeom>
            </p:spPr>
            <p:txBody>
              <a:bodyPr vert="horz" wrap="square" lIns="0" tIns="0" rIns="0" bIns="0" rtlCol="0">
                <a:noAutofit/>
              </a:bodyPr>
              <a:lstStyle>
                <a:lvl1pPr marL="228600" lvl="0" indent="-228600">
                  <a:lnSpc>
                    <a:spcPct val="90000"/>
                  </a:lnSpc>
                  <a:spcBef>
                    <a:spcPts val="1000"/>
                  </a:spcBef>
                  <a:buFont typeface="Arial" panose="020B0604020202020204" pitchFamily="34" charset="0"/>
                  <a:buChar char="•"/>
                  <a:defRPr sz="2800"/>
                </a:lvl1pPr>
                <a:lvl2pPr marL="685800" lvl="1" indent="-228600">
                  <a:lnSpc>
                    <a:spcPct val="90000"/>
                  </a:lnSpc>
                  <a:spcBef>
                    <a:spcPts val="500"/>
                  </a:spcBef>
                  <a:buFont typeface="Arial" panose="020B0604020202020204" pitchFamily="34" charset="0"/>
                  <a:buChar char="•"/>
                  <a:defRPr sz="2400"/>
                </a:lvl2pPr>
                <a:lvl3pPr marL="1143000" lvl="2" indent="-228600">
                  <a:lnSpc>
                    <a:spcPct val="90000"/>
                  </a:lnSpc>
                  <a:spcBef>
                    <a:spcPts val="500"/>
                  </a:spcBef>
                  <a:buFont typeface="Arial" panose="020B0604020202020204" pitchFamily="34" charset="0"/>
                  <a:buChar char="•"/>
                  <a:defRPr sz="2000"/>
                </a:lvl3pPr>
                <a:lvl4pPr marL="1600200" lvl="3" indent="-228600">
                  <a:lnSpc>
                    <a:spcPct val="90000"/>
                  </a:lnSpc>
                  <a:spcBef>
                    <a:spcPts val="500"/>
                  </a:spcBef>
                  <a:buFont typeface="Arial" panose="020B0604020202020204" pitchFamily="34" charset="0"/>
                  <a:buChar char="•"/>
                </a:lvl4pPr>
                <a:lvl5pPr marL="2057400" lvl="4"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3600" b="1" i="0" u="none" strike="noStrike" kern="1200" cap="none" spc="0" normalizeH="0" baseline="0" noProof="0" dirty="0">
                    <a:ln>
                      <a:noFill/>
                    </a:ln>
                    <a:solidFill>
                      <a:prstClr val="black"/>
                    </a:solidFill>
                    <a:effectLst/>
                    <a:uLnTx/>
                    <a:uFillTx/>
                    <a:latin typeface="Open Sans"/>
                    <a:ea typeface="+mn-ea"/>
                    <a:cs typeface="Aharoni" panose="02010803020104030203" pitchFamily="2" charset="-79"/>
                  </a:rPr>
                  <a:t>SAFE</a:t>
                </a:r>
              </a:p>
            </p:txBody>
          </p:sp>
          <p:grpSp>
            <p:nvGrpSpPr>
              <p:cNvPr id="3" name="Group 2">
                <a:extLst>
                  <a:ext uri="{FF2B5EF4-FFF2-40B4-BE49-F238E27FC236}">
                    <a16:creationId xmlns:a16="http://schemas.microsoft.com/office/drawing/2014/main" id="{9EEDD73D-A61C-4283-9E0A-9EC063940645}"/>
                  </a:ext>
                </a:extLst>
              </p:cNvPr>
              <p:cNvGrpSpPr/>
              <p:nvPr/>
            </p:nvGrpSpPr>
            <p:grpSpPr>
              <a:xfrm>
                <a:off x="3082317" y="3229600"/>
                <a:ext cx="642257" cy="642257"/>
                <a:chOff x="3492500" y="2456005"/>
                <a:chExt cx="780681" cy="780681"/>
              </a:xfrm>
            </p:grpSpPr>
            <p:sp>
              <p:nvSpPr>
                <p:cNvPr id="2" name="Oval 1">
                  <a:extLst>
                    <a:ext uri="{FF2B5EF4-FFF2-40B4-BE49-F238E27FC236}">
                      <a16:creationId xmlns:a16="http://schemas.microsoft.com/office/drawing/2014/main" id="{D1B8152B-5843-4435-A06F-6D6DDA8D4BE6}"/>
                    </a:ext>
                  </a:extLst>
                </p:cNvPr>
                <p:cNvSpPr/>
                <p:nvPr/>
              </p:nvSpPr>
              <p:spPr>
                <a:xfrm>
                  <a:off x="3492500" y="2456005"/>
                  <a:ext cx="780681" cy="780681"/>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Tick 138">
                  <a:extLst>
                    <a:ext uri="{FF2B5EF4-FFF2-40B4-BE49-F238E27FC236}">
                      <a16:creationId xmlns:a16="http://schemas.microsoft.com/office/drawing/2014/main" id="{6FA05243-9380-46C2-919D-26DDF180FC37}"/>
                    </a:ext>
                  </a:extLst>
                </p:cNvPr>
                <p:cNvSpPr>
                  <a:spLocks noChangeAspect="1"/>
                </p:cNvSpPr>
                <p:nvPr>
                  <p:custDataLst>
                    <p:tags r:id="rId5"/>
                  </p:custDataLst>
                </p:nvPr>
              </p:nvSpPr>
              <p:spPr>
                <a:xfrm>
                  <a:off x="3696028" y="2721804"/>
                  <a:ext cx="373624" cy="249083"/>
                </a:xfrm>
                <a:custGeom>
                  <a:avLst/>
                  <a:gdLst/>
                  <a:ahLst/>
                  <a:cxnLst/>
                  <a:rect l="0" t="0" r="0" b="0"/>
                  <a:pathLst>
                    <a:path w="311469" h="204067">
                      <a:moveTo>
                        <a:pt x="0" y="107403"/>
                      </a:moveTo>
                      <a:lnTo>
                        <a:pt x="96663" y="204066"/>
                      </a:lnTo>
                      <a:lnTo>
                        <a:pt x="311468" y="0"/>
                      </a:lnTo>
                    </a:path>
                  </a:pathLst>
                </a:custGeom>
                <a:ln w="76200" cap="sq">
                  <a:solidFill>
                    <a:schemeClr val="bg1"/>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grpSp>
          <p:nvGrpSpPr>
            <p:cNvPr id="8" name="Group 7">
              <a:extLst>
                <a:ext uri="{FF2B5EF4-FFF2-40B4-BE49-F238E27FC236}">
                  <a16:creationId xmlns:a16="http://schemas.microsoft.com/office/drawing/2014/main" id="{53AC3AFD-A2BA-45E3-B1DD-590B0DDAC855}"/>
                </a:ext>
              </a:extLst>
            </p:cNvPr>
            <p:cNvGrpSpPr/>
            <p:nvPr/>
          </p:nvGrpSpPr>
          <p:grpSpPr>
            <a:xfrm>
              <a:off x="7208423" y="2351717"/>
              <a:ext cx="2620169" cy="1438026"/>
              <a:chOff x="5049741" y="3229600"/>
              <a:chExt cx="2665288" cy="1438026"/>
            </a:xfrm>
          </p:grpSpPr>
          <p:sp>
            <p:nvSpPr>
              <p:cNvPr id="16" name="TextBox 15">
                <a:extLst>
                  <a:ext uri="{FF2B5EF4-FFF2-40B4-BE49-F238E27FC236}">
                    <a16:creationId xmlns:a16="http://schemas.microsoft.com/office/drawing/2014/main" id="{5A9CE106-4C05-4CC8-A05D-6A2451180FA2}"/>
                  </a:ext>
                </a:extLst>
              </p:cNvPr>
              <p:cNvSpPr txBox="1">
                <a:spLocks/>
              </p:cNvSpPr>
              <p:nvPr/>
            </p:nvSpPr>
            <p:spPr>
              <a:xfrm>
                <a:off x="5049741" y="4150949"/>
                <a:ext cx="2665288" cy="516677"/>
              </a:xfrm>
              <a:prstGeom prst="rect">
                <a:avLst/>
              </a:prstGeom>
            </p:spPr>
            <p:txBody>
              <a:bodyPr vert="horz" wrap="square" lIns="0" tIns="0" rIns="0" bIns="0" rtlCol="0">
                <a:spAutoFit/>
              </a:bodyPr>
              <a:lstStyle>
                <a:lvl1pPr marL="228600" lvl="0" indent="-228600">
                  <a:lnSpc>
                    <a:spcPct val="90000"/>
                  </a:lnSpc>
                  <a:spcBef>
                    <a:spcPts val="1000"/>
                  </a:spcBef>
                  <a:buFont typeface="Arial" panose="020B0604020202020204" pitchFamily="34" charset="0"/>
                  <a:buChar char="•"/>
                  <a:defRPr sz="2800"/>
                </a:lvl1pPr>
                <a:lvl2pPr marL="685800" lvl="1" indent="-228600">
                  <a:lnSpc>
                    <a:spcPct val="90000"/>
                  </a:lnSpc>
                  <a:spcBef>
                    <a:spcPts val="500"/>
                  </a:spcBef>
                  <a:buFont typeface="Arial" panose="020B0604020202020204" pitchFamily="34" charset="0"/>
                  <a:buChar char="•"/>
                  <a:defRPr sz="2400"/>
                </a:lvl2pPr>
                <a:lvl3pPr marL="1143000" lvl="2" indent="-228600">
                  <a:lnSpc>
                    <a:spcPct val="90000"/>
                  </a:lnSpc>
                  <a:spcBef>
                    <a:spcPts val="500"/>
                  </a:spcBef>
                  <a:buFont typeface="Arial" panose="020B0604020202020204" pitchFamily="34" charset="0"/>
                  <a:buChar char="•"/>
                  <a:defRPr sz="2000"/>
                </a:lvl3pPr>
                <a:lvl4pPr marL="1600200" lvl="3" indent="-228600">
                  <a:lnSpc>
                    <a:spcPct val="90000"/>
                  </a:lnSpc>
                  <a:spcBef>
                    <a:spcPts val="500"/>
                  </a:spcBef>
                  <a:buFont typeface="Arial" panose="020B0604020202020204" pitchFamily="34" charset="0"/>
                  <a:buChar char="•"/>
                </a:lvl4pPr>
                <a:lvl5pPr marL="2057400" lvl="4"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3600" b="1" i="0" u="none" strike="noStrike" kern="1200" cap="none" spc="0" normalizeH="0" baseline="0" noProof="0" dirty="0">
                    <a:ln>
                      <a:noFill/>
                    </a:ln>
                    <a:solidFill>
                      <a:prstClr val="black"/>
                    </a:solidFill>
                    <a:effectLst/>
                    <a:uLnTx/>
                    <a:uFillTx/>
                    <a:latin typeface="Open Sans"/>
                    <a:ea typeface="+mn-ea"/>
                    <a:cs typeface="Aharoni" panose="02010803020104030203" pitchFamily="2" charset="-79"/>
                  </a:rPr>
                  <a:t>EFFECTIVE</a:t>
                </a:r>
              </a:p>
            </p:txBody>
          </p:sp>
          <p:grpSp>
            <p:nvGrpSpPr>
              <p:cNvPr id="23" name="Group 22">
                <a:extLst>
                  <a:ext uri="{FF2B5EF4-FFF2-40B4-BE49-F238E27FC236}">
                    <a16:creationId xmlns:a16="http://schemas.microsoft.com/office/drawing/2014/main" id="{4C162641-FAAB-4D2F-8AEF-24907F6F7FC4}"/>
                  </a:ext>
                </a:extLst>
              </p:cNvPr>
              <p:cNvGrpSpPr/>
              <p:nvPr/>
            </p:nvGrpSpPr>
            <p:grpSpPr>
              <a:xfrm>
                <a:off x="5903372" y="3229600"/>
                <a:ext cx="642257" cy="642257"/>
                <a:chOff x="3772191" y="2456005"/>
                <a:chExt cx="780681" cy="780681"/>
              </a:xfrm>
            </p:grpSpPr>
            <p:sp>
              <p:nvSpPr>
                <p:cNvPr id="24" name="Oval 23">
                  <a:extLst>
                    <a:ext uri="{FF2B5EF4-FFF2-40B4-BE49-F238E27FC236}">
                      <a16:creationId xmlns:a16="http://schemas.microsoft.com/office/drawing/2014/main" id="{1887579F-7839-47E4-8449-987F1A91F79B}"/>
                    </a:ext>
                  </a:extLst>
                </p:cNvPr>
                <p:cNvSpPr/>
                <p:nvPr/>
              </p:nvSpPr>
              <p:spPr>
                <a:xfrm>
                  <a:off x="3772191" y="2456005"/>
                  <a:ext cx="780681" cy="780681"/>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Tick 138">
                  <a:extLst>
                    <a:ext uri="{FF2B5EF4-FFF2-40B4-BE49-F238E27FC236}">
                      <a16:creationId xmlns:a16="http://schemas.microsoft.com/office/drawing/2014/main" id="{07C95882-5C74-4FE7-9FCA-C12FE5DBD280}"/>
                    </a:ext>
                  </a:extLst>
                </p:cNvPr>
                <p:cNvSpPr>
                  <a:spLocks noChangeAspect="1"/>
                </p:cNvSpPr>
                <p:nvPr>
                  <p:custDataLst>
                    <p:tags r:id="rId4"/>
                  </p:custDataLst>
                </p:nvPr>
              </p:nvSpPr>
              <p:spPr>
                <a:xfrm>
                  <a:off x="3975717" y="2721804"/>
                  <a:ext cx="373624" cy="249083"/>
                </a:xfrm>
                <a:custGeom>
                  <a:avLst/>
                  <a:gdLst/>
                  <a:ahLst/>
                  <a:cxnLst/>
                  <a:rect l="0" t="0" r="0" b="0"/>
                  <a:pathLst>
                    <a:path w="311469" h="204067">
                      <a:moveTo>
                        <a:pt x="0" y="107403"/>
                      </a:moveTo>
                      <a:lnTo>
                        <a:pt x="96663" y="204066"/>
                      </a:lnTo>
                      <a:lnTo>
                        <a:pt x="311468" y="0"/>
                      </a:lnTo>
                    </a:path>
                  </a:pathLst>
                </a:custGeom>
                <a:ln w="76200" cap="sq">
                  <a:solidFill>
                    <a:schemeClr val="bg1"/>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grpSp>
          <p:nvGrpSpPr>
            <p:cNvPr id="6" name="Group 5">
              <a:extLst>
                <a:ext uri="{FF2B5EF4-FFF2-40B4-BE49-F238E27FC236}">
                  <a16:creationId xmlns:a16="http://schemas.microsoft.com/office/drawing/2014/main" id="{3350B081-C7C6-4315-B830-BFA675BAED23}"/>
                </a:ext>
              </a:extLst>
            </p:cNvPr>
            <p:cNvGrpSpPr/>
            <p:nvPr/>
          </p:nvGrpSpPr>
          <p:grpSpPr>
            <a:xfrm>
              <a:off x="10071848" y="2351620"/>
              <a:ext cx="1353967" cy="1950588"/>
              <a:chOff x="7850678" y="3229600"/>
              <a:chExt cx="1377282" cy="1950588"/>
            </a:xfrm>
          </p:grpSpPr>
          <p:sp>
            <p:nvSpPr>
              <p:cNvPr id="17" name="TextBox 16">
                <a:extLst>
                  <a:ext uri="{FF2B5EF4-FFF2-40B4-BE49-F238E27FC236}">
                    <a16:creationId xmlns:a16="http://schemas.microsoft.com/office/drawing/2014/main" id="{638006A5-15B1-4BB9-ABE9-744EE791B1C2}"/>
                  </a:ext>
                </a:extLst>
              </p:cNvPr>
              <p:cNvSpPr txBox="1"/>
              <p:nvPr/>
            </p:nvSpPr>
            <p:spPr>
              <a:xfrm>
                <a:off x="7850678" y="4182992"/>
                <a:ext cx="1377282" cy="997196"/>
              </a:xfrm>
              <a:prstGeom prst="rect">
                <a:avLst/>
              </a:prstGeom>
            </p:spPr>
            <p:txBody>
              <a:bodyPr vert="horz" wrap="square" lIns="0" tIns="0" rIns="0" bIns="0" rtlCol="0">
                <a:spAutoFit/>
              </a:bodyPr>
              <a:lstStyle>
                <a:lvl1pPr marL="228600" lvl="0" indent="-228600">
                  <a:lnSpc>
                    <a:spcPct val="90000"/>
                  </a:lnSpc>
                  <a:spcBef>
                    <a:spcPts val="1000"/>
                  </a:spcBef>
                  <a:buFont typeface="Arial" panose="020B0604020202020204" pitchFamily="34" charset="0"/>
                  <a:buChar char="•"/>
                  <a:defRPr sz="2800"/>
                </a:lvl1pPr>
                <a:lvl2pPr marL="685800" lvl="1" indent="-228600">
                  <a:lnSpc>
                    <a:spcPct val="90000"/>
                  </a:lnSpc>
                  <a:spcBef>
                    <a:spcPts val="500"/>
                  </a:spcBef>
                  <a:buFont typeface="Arial" panose="020B0604020202020204" pitchFamily="34" charset="0"/>
                  <a:buChar char="•"/>
                  <a:defRPr sz="2400"/>
                </a:lvl2pPr>
                <a:lvl3pPr marL="1143000" lvl="2" indent="-228600">
                  <a:lnSpc>
                    <a:spcPct val="90000"/>
                  </a:lnSpc>
                  <a:spcBef>
                    <a:spcPts val="500"/>
                  </a:spcBef>
                  <a:buFont typeface="Arial" panose="020B0604020202020204" pitchFamily="34" charset="0"/>
                  <a:buChar char="•"/>
                  <a:defRPr sz="2000"/>
                </a:lvl3pPr>
                <a:lvl4pPr marL="1600200" lvl="3" indent="-228600">
                  <a:lnSpc>
                    <a:spcPct val="90000"/>
                  </a:lnSpc>
                  <a:spcBef>
                    <a:spcPts val="500"/>
                  </a:spcBef>
                  <a:buFont typeface="Arial" panose="020B0604020202020204" pitchFamily="34" charset="0"/>
                  <a:buChar char="•"/>
                </a:lvl4pPr>
                <a:lvl5pPr marL="2057400" lvl="4"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3600" b="1" i="0" u="none" strike="noStrike" kern="1200" cap="none" spc="0" normalizeH="0" baseline="0" noProof="0" dirty="0">
                    <a:ln>
                      <a:noFill/>
                    </a:ln>
                    <a:solidFill>
                      <a:prstClr val="black"/>
                    </a:solidFill>
                    <a:effectLst/>
                    <a:uLnTx/>
                    <a:uFillTx/>
                    <a:latin typeface="Open Sans"/>
                    <a:ea typeface="+mn-ea"/>
                    <a:cs typeface="Aharoni" panose="02010803020104030203" pitchFamily="2" charset="-79"/>
                  </a:rPr>
                  <a:t>FREE </a:t>
                </a:r>
                <a:r>
                  <a:rPr kumimoji="0" lang="en-US" sz="3600" b="0" i="0" u="sng" strike="noStrike" kern="1200" cap="none" spc="0" normalizeH="0" baseline="0" noProof="0" dirty="0">
                    <a:ln>
                      <a:noFill/>
                    </a:ln>
                    <a:solidFill>
                      <a:prstClr val="black"/>
                    </a:solidFill>
                    <a:effectLst/>
                    <a:uLnTx/>
                    <a:uFillTx/>
                    <a:latin typeface="Open Sans"/>
                    <a:ea typeface="+mn-ea"/>
                    <a:cs typeface="Aharoni" panose="02010803020104030203" pitchFamily="2" charset="-79"/>
                  </a:rPr>
                  <a:t>for all</a:t>
                </a:r>
                <a:endParaRPr kumimoji="0" lang="en-US" sz="3600" b="0" i="0" u="none" strike="noStrike" kern="1200" cap="none" spc="0" normalizeH="0" baseline="0" noProof="0" dirty="0">
                  <a:ln>
                    <a:noFill/>
                  </a:ln>
                  <a:solidFill>
                    <a:prstClr val="black"/>
                  </a:solidFill>
                  <a:effectLst/>
                  <a:uLnTx/>
                  <a:uFillTx/>
                  <a:latin typeface="Open Sans"/>
                  <a:ea typeface="+mn-ea"/>
                  <a:cs typeface="Aharoni" panose="02010803020104030203" pitchFamily="2" charset="-79"/>
                </a:endParaRPr>
              </a:p>
            </p:txBody>
          </p:sp>
          <p:grpSp>
            <p:nvGrpSpPr>
              <p:cNvPr id="26" name="Group 25">
                <a:extLst>
                  <a:ext uri="{FF2B5EF4-FFF2-40B4-BE49-F238E27FC236}">
                    <a16:creationId xmlns:a16="http://schemas.microsoft.com/office/drawing/2014/main" id="{5F293C74-3A28-4327-A94A-BD1C4C70E954}"/>
                  </a:ext>
                </a:extLst>
              </p:cNvPr>
              <p:cNvGrpSpPr/>
              <p:nvPr/>
            </p:nvGrpSpPr>
            <p:grpSpPr>
              <a:xfrm>
                <a:off x="8218191" y="3229600"/>
                <a:ext cx="642257" cy="642257"/>
                <a:chOff x="2932573" y="2456005"/>
                <a:chExt cx="780681" cy="780681"/>
              </a:xfrm>
            </p:grpSpPr>
            <p:sp>
              <p:nvSpPr>
                <p:cNvPr id="27" name="Oval 26">
                  <a:extLst>
                    <a:ext uri="{FF2B5EF4-FFF2-40B4-BE49-F238E27FC236}">
                      <a16:creationId xmlns:a16="http://schemas.microsoft.com/office/drawing/2014/main" id="{9B5AB895-445D-43EF-AAA1-1273C9B844FC}"/>
                    </a:ext>
                  </a:extLst>
                </p:cNvPr>
                <p:cNvSpPr/>
                <p:nvPr/>
              </p:nvSpPr>
              <p:spPr>
                <a:xfrm>
                  <a:off x="2932573" y="2456005"/>
                  <a:ext cx="780681" cy="780681"/>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Tick 138">
                  <a:extLst>
                    <a:ext uri="{FF2B5EF4-FFF2-40B4-BE49-F238E27FC236}">
                      <a16:creationId xmlns:a16="http://schemas.microsoft.com/office/drawing/2014/main" id="{2F371E00-311C-48B7-A422-05A409C77771}"/>
                    </a:ext>
                  </a:extLst>
                </p:cNvPr>
                <p:cNvSpPr>
                  <a:spLocks noChangeAspect="1"/>
                </p:cNvSpPr>
                <p:nvPr>
                  <p:custDataLst>
                    <p:tags r:id="rId3"/>
                  </p:custDataLst>
                </p:nvPr>
              </p:nvSpPr>
              <p:spPr>
                <a:xfrm>
                  <a:off x="3136102" y="2721804"/>
                  <a:ext cx="373624" cy="249083"/>
                </a:xfrm>
                <a:custGeom>
                  <a:avLst/>
                  <a:gdLst/>
                  <a:ahLst/>
                  <a:cxnLst/>
                  <a:rect l="0" t="0" r="0" b="0"/>
                  <a:pathLst>
                    <a:path w="311469" h="204067">
                      <a:moveTo>
                        <a:pt x="0" y="107403"/>
                      </a:moveTo>
                      <a:lnTo>
                        <a:pt x="96663" y="204066"/>
                      </a:lnTo>
                      <a:lnTo>
                        <a:pt x="311468" y="0"/>
                      </a:lnTo>
                    </a:path>
                  </a:pathLst>
                </a:custGeom>
                <a:ln w="76200" cap="sq">
                  <a:solidFill>
                    <a:schemeClr val="bg1"/>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grpSp>
      <p:sp>
        <p:nvSpPr>
          <p:cNvPr id="151" name="TextBox 150">
            <a:extLst>
              <a:ext uri="{FF2B5EF4-FFF2-40B4-BE49-F238E27FC236}">
                <a16:creationId xmlns:a16="http://schemas.microsoft.com/office/drawing/2014/main" id="{22F42770-E23A-4676-A083-26F7243E460D}"/>
              </a:ext>
            </a:extLst>
          </p:cNvPr>
          <p:cNvSpPr txBox="1"/>
          <p:nvPr/>
        </p:nvSpPr>
        <p:spPr>
          <a:xfrm>
            <a:off x="996296" y="1145300"/>
            <a:ext cx="4483677" cy="1421928"/>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800"/>
            </a:lvl1pPr>
            <a:lvl2pPr marL="685800" lvl="1" indent="-228600">
              <a:lnSpc>
                <a:spcPct val="90000"/>
              </a:lnSpc>
              <a:spcBef>
                <a:spcPts val="500"/>
              </a:spcBef>
              <a:buFont typeface="Arial" panose="020B0604020202020204" pitchFamily="34" charset="0"/>
              <a:buChar char="•"/>
              <a:defRPr sz="2400"/>
            </a:lvl2pPr>
            <a:lvl3pPr marL="1143000" lvl="2" indent="-228600">
              <a:lnSpc>
                <a:spcPct val="90000"/>
              </a:lnSpc>
              <a:spcBef>
                <a:spcPts val="500"/>
              </a:spcBef>
              <a:buFont typeface="Arial" panose="020B0604020202020204" pitchFamily="34" charset="0"/>
              <a:buChar char="•"/>
              <a:defRPr sz="2000"/>
            </a:lvl3pPr>
            <a:lvl4pPr marL="1600200" lvl="3" indent="-228600">
              <a:lnSpc>
                <a:spcPct val="90000"/>
              </a:lnSpc>
              <a:spcBef>
                <a:spcPts val="500"/>
              </a:spcBef>
              <a:buFont typeface="Arial" panose="020B0604020202020204" pitchFamily="34" charset="0"/>
              <a:buChar char="•"/>
            </a:lvl4pPr>
            <a:lvl5pPr marL="2057400" lvl="4"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4800" b="1" i="0" u="none" strike="noStrike" kern="1200" cap="none" spc="0" normalizeH="0" baseline="0" noProof="0" dirty="0">
                <a:ln>
                  <a:noFill/>
                </a:ln>
                <a:solidFill>
                  <a:prstClr val="black"/>
                </a:solidFill>
                <a:effectLst/>
                <a:uLnTx/>
                <a:uFillTx/>
                <a:latin typeface="Open Sans"/>
                <a:ea typeface="+mn-ea"/>
                <a:cs typeface="Aharoni" panose="02010803020104030203" pitchFamily="2" charset="-79"/>
              </a:rPr>
              <a:t>COVID-19 vaccines are</a:t>
            </a:r>
          </a:p>
        </p:txBody>
      </p:sp>
      <p:sp>
        <p:nvSpPr>
          <p:cNvPr id="152" name="TextBox 151">
            <a:extLst>
              <a:ext uri="{FF2B5EF4-FFF2-40B4-BE49-F238E27FC236}">
                <a16:creationId xmlns:a16="http://schemas.microsoft.com/office/drawing/2014/main" id="{CCBB5E99-9121-4DA4-90F8-B2589159BFCE}"/>
              </a:ext>
            </a:extLst>
          </p:cNvPr>
          <p:cNvSpPr txBox="1"/>
          <p:nvPr/>
        </p:nvSpPr>
        <p:spPr>
          <a:xfrm>
            <a:off x="1214039" y="318200"/>
            <a:ext cx="3960880" cy="424732"/>
          </a:xfrm>
          <a:prstGeom prst="rect">
            <a:avLst/>
          </a:prstGeom>
        </p:spPr>
        <p:txBody>
          <a:bodyPr vert="horz" wrap="square" lIns="91440" tIns="45720" rIns="91440" bIns="45720" rtlCol="0">
            <a:spAutoFit/>
          </a:bodyPr>
          <a:lstStyle>
            <a:lvl1pPr marL="228600" lvl="0" indent="-228600">
              <a:lnSpc>
                <a:spcPct val="90000"/>
              </a:lnSpc>
              <a:spcBef>
                <a:spcPts val="1000"/>
              </a:spcBef>
              <a:buFont typeface="Arial" panose="020B0604020202020204" pitchFamily="34" charset="0"/>
              <a:buChar char="•"/>
              <a:defRPr sz="2800"/>
            </a:lvl1pPr>
            <a:lvl2pPr marL="685800" lvl="1" indent="-228600">
              <a:lnSpc>
                <a:spcPct val="90000"/>
              </a:lnSpc>
              <a:spcBef>
                <a:spcPts val="500"/>
              </a:spcBef>
              <a:buFont typeface="Arial" panose="020B0604020202020204" pitchFamily="34" charset="0"/>
              <a:buChar char="•"/>
              <a:defRPr sz="2400"/>
            </a:lvl2pPr>
            <a:lvl3pPr marL="1143000" lvl="2" indent="-228600">
              <a:lnSpc>
                <a:spcPct val="90000"/>
              </a:lnSpc>
              <a:spcBef>
                <a:spcPts val="500"/>
              </a:spcBef>
              <a:buFont typeface="Arial" panose="020B0604020202020204" pitchFamily="34" charset="0"/>
              <a:buChar char="•"/>
              <a:defRPr sz="2000"/>
            </a:lvl3pPr>
            <a:lvl4pPr marL="1600200" lvl="3" indent="-228600">
              <a:lnSpc>
                <a:spcPct val="90000"/>
              </a:lnSpc>
              <a:spcBef>
                <a:spcPts val="500"/>
              </a:spcBef>
              <a:buFont typeface="Arial" panose="020B0604020202020204" pitchFamily="34" charset="0"/>
              <a:buChar char="•"/>
            </a:lvl4pPr>
            <a:lvl5pPr marL="2057400" lvl="4"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1" i="0" u="none" strike="noStrike" kern="1200" cap="none" spc="0" normalizeH="0" baseline="0" noProof="0" dirty="0">
                <a:ln>
                  <a:noFill/>
                </a:ln>
                <a:solidFill>
                  <a:prstClr val="black"/>
                </a:solidFill>
                <a:effectLst/>
                <a:uLnTx/>
                <a:uFillTx/>
                <a:latin typeface="Open Sans"/>
                <a:ea typeface="+mn-ea"/>
                <a:cs typeface="+mn-cs"/>
              </a:rPr>
              <a:t>covid19.nj.gov/vaccine</a:t>
            </a:r>
          </a:p>
        </p:txBody>
      </p:sp>
      <p:pic>
        <p:nvPicPr>
          <p:cNvPr id="155" name="Picture 154">
            <a:extLst>
              <a:ext uri="{FF2B5EF4-FFF2-40B4-BE49-F238E27FC236}">
                <a16:creationId xmlns:a16="http://schemas.microsoft.com/office/drawing/2014/main" id="{9CC87579-2965-4AE4-9D20-AEF4FC68D7B6}"/>
              </a:ext>
            </a:extLst>
          </p:cNvPr>
          <p:cNvPicPr>
            <a:picLocks noChangeAspect="1"/>
          </p:cNvPicPr>
          <p:nvPr/>
        </p:nvPicPr>
        <p:blipFill>
          <a:blip r:embed="rId11">
            <a:biLevel thresh="75000"/>
          </a:blip>
          <a:stretch>
            <a:fillRect/>
          </a:stretch>
        </p:blipFill>
        <p:spPr>
          <a:xfrm>
            <a:off x="402777" y="331901"/>
            <a:ext cx="898572" cy="956643"/>
          </a:xfrm>
          <a:prstGeom prst="rect">
            <a:avLst/>
          </a:prstGeom>
        </p:spPr>
      </p:pic>
      <p:pic>
        <p:nvPicPr>
          <p:cNvPr id="10" name="Picture 9">
            <a:extLst>
              <a:ext uri="{FF2B5EF4-FFF2-40B4-BE49-F238E27FC236}">
                <a16:creationId xmlns:a16="http://schemas.microsoft.com/office/drawing/2014/main" id="{35402790-B3D8-4F5C-B999-9DB0639257D9}"/>
              </a:ext>
            </a:extLst>
          </p:cNvPr>
          <p:cNvPicPr>
            <a:picLocks noChangeAspect="1"/>
          </p:cNvPicPr>
          <p:nvPr/>
        </p:nvPicPr>
        <p:blipFill>
          <a:blip r:embed="rId12"/>
          <a:stretch>
            <a:fillRect/>
          </a:stretch>
        </p:blipFill>
        <p:spPr>
          <a:xfrm>
            <a:off x="8109765" y="691258"/>
            <a:ext cx="2911575" cy="3984675"/>
          </a:xfrm>
          <a:prstGeom prst="rect">
            <a:avLst/>
          </a:prstGeom>
        </p:spPr>
      </p:pic>
      <p:pic>
        <p:nvPicPr>
          <p:cNvPr id="13" name="Picture 12">
            <a:extLst>
              <a:ext uri="{FF2B5EF4-FFF2-40B4-BE49-F238E27FC236}">
                <a16:creationId xmlns:a16="http://schemas.microsoft.com/office/drawing/2014/main" id="{29D8FE36-50D3-4EB7-BF2F-744CD62F46D1}"/>
              </a:ext>
            </a:extLst>
          </p:cNvPr>
          <p:cNvPicPr>
            <a:picLocks noChangeAspect="1"/>
          </p:cNvPicPr>
          <p:nvPr/>
        </p:nvPicPr>
        <p:blipFill>
          <a:blip r:embed="rId13"/>
          <a:stretch>
            <a:fillRect/>
          </a:stretch>
        </p:blipFill>
        <p:spPr>
          <a:xfrm>
            <a:off x="6149614" y="1181318"/>
            <a:ext cx="1802078" cy="1677797"/>
          </a:xfrm>
          <a:prstGeom prst="rect">
            <a:avLst/>
          </a:prstGeom>
        </p:spPr>
      </p:pic>
      <p:sp>
        <p:nvSpPr>
          <p:cNvPr id="35" name="Freeform: Shape 34">
            <a:extLst>
              <a:ext uri="{FF2B5EF4-FFF2-40B4-BE49-F238E27FC236}">
                <a16:creationId xmlns:a16="http://schemas.microsoft.com/office/drawing/2014/main" id="{40B3D53F-8A73-4A87-83B9-07C44D964459}"/>
              </a:ext>
            </a:extLst>
          </p:cNvPr>
          <p:cNvSpPr/>
          <p:nvPr/>
        </p:nvSpPr>
        <p:spPr>
          <a:xfrm rot="16863681" flipH="1">
            <a:off x="7217806" y="2420218"/>
            <a:ext cx="3680645" cy="5485196"/>
          </a:xfrm>
          <a:custGeom>
            <a:avLst/>
            <a:gdLst>
              <a:gd name="connsiteX0" fmla="*/ 132687 w 3385364"/>
              <a:gd name="connsiteY0" fmla="*/ 2905877 h 5411340"/>
              <a:gd name="connsiteX1" fmla="*/ 322210 w 3385364"/>
              <a:gd name="connsiteY1" fmla="*/ 5008640 h 5411340"/>
              <a:gd name="connsiteX2" fmla="*/ 2185559 w 3385364"/>
              <a:gd name="connsiteY2" fmla="*/ 5390732 h 5411340"/>
              <a:gd name="connsiteX3" fmla="*/ 2344584 w 3385364"/>
              <a:gd name="connsiteY3" fmla="*/ 5367539 h 5411340"/>
              <a:gd name="connsiteX4" fmla="*/ 3385364 w 3385364"/>
              <a:gd name="connsiteY4" fmla="*/ 43631 h 5411340"/>
              <a:gd name="connsiteX5" fmla="*/ 3330015 w 3385364"/>
              <a:gd name="connsiteY5" fmla="*/ 34011 h 5411340"/>
              <a:gd name="connsiteX6" fmla="*/ 1296490 w 3385364"/>
              <a:gd name="connsiteY6" fmla="*/ 492821 h 5411340"/>
              <a:gd name="connsiteX7" fmla="*/ 132687 w 3385364"/>
              <a:gd name="connsiteY7" fmla="*/ 2905877 h 5411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85364" h="5411340">
                <a:moveTo>
                  <a:pt x="132687" y="2905877"/>
                </a:moveTo>
                <a:cubicBezTo>
                  <a:pt x="-75339" y="3864619"/>
                  <a:pt x="-57810" y="4771647"/>
                  <a:pt x="322210" y="5008640"/>
                </a:cubicBezTo>
                <a:cubicBezTo>
                  <a:pt x="878774" y="5355745"/>
                  <a:pt x="1533477" y="5461037"/>
                  <a:pt x="2185559" y="5390732"/>
                </a:cubicBezTo>
                <a:lnTo>
                  <a:pt x="2344584" y="5367539"/>
                </a:lnTo>
                <a:lnTo>
                  <a:pt x="3385364" y="43631"/>
                </a:lnTo>
                <a:lnTo>
                  <a:pt x="3330015" y="34011"/>
                </a:lnTo>
                <a:cubicBezTo>
                  <a:pt x="2590164" y="-67075"/>
                  <a:pt x="1818704" y="48968"/>
                  <a:pt x="1296490" y="492821"/>
                </a:cubicBezTo>
                <a:cubicBezTo>
                  <a:pt x="774293" y="936676"/>
                  <a:pt x="340713" y="1947134"/>
                  <a:pt x="132687" y="2905877"/>
                </a:cubicBezTo>
                <a:close/>
              </a:path>
            </a:pathLst>
          </a:custGeom>
          <a:solidFill>
            <a:schemeClr val="accent1">
              <a:lumMod val="50000"/>
            </a:schemeClr>
          </a:solidFill>
          <a:ln w="2899"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 name="Rectangle 35">
            <a:extLst>
              <a:ext uri="{FF2B5EF4-FFF2-40B4-BE49-F238E27FC236}">
                <a16:creationId xmlns:a16="http://schemas.microsoft.com/office/drawing/2014/main" id="{FCE57C79-C79A-47DD-B282-92726D7DBD2C}"/>
              </a:ext>
            </a:extLst>
          </p:cNvPr>
          <p:cNvSpPr/>
          <p:nvPr/>
        </p:nvSpPr>
        <p:spPr>
          <a:xfrm>
            <a:off x="7678588" y="3827185"/>
            <a:ext cx="3579049" cy="1969770"/>
          </a:xfrm>
          <a:prstGeom prst="rect">
            <a:avLst/>
          </a:prstGeom>
          <a:noFill/>
        </p:spPr>
        <p:txBody>
          <a:bodyPr wrap="square" lIns="0" tIns="0" rIns="0" bIns="0">
            <a:spAutoFit/>
          </a:bodyPr>
          <a:lstStyle/>
          <a:p>
            <a:pPr marL="0" marR="0" lvl="0" indent="0" algn="ctr" defTabSz="913542" rtl="0" eaLnBrk="1" fontAlgn="base" latinLnBrk="0" hangingPunct="1">
              <a:lnSpc>
                <a:spcPct val="100000"/>
              </a:lnSpc>
              <a:spcBef>
                <a:spcPct val="0"/>
              </a:spcBef>
              <a:spcAft>
                <a:spcPct val="0"/>
              </a:spcAft>
              <a:buClr>
                <a:srgbClr val="FFFFFF"/>
              </a:buClr>
              <a:buSzTx/>
              <a:buFontTx/>
              <a:buNone/>
              <a:tabLst>
                <a:tab pos="275358" algn="l"/>
              </a:tabLst>
              <a:defRPr/>
            </a:pPr>
            <a:r>
              <a:rPr kumimoji="0" lang="en-US" sz="3200" b="0" i="0" u="none" strike="noStrike" kern="0" cap="none" spc="0" normalizeH="0" baseline="0" noProof="0" dirty="0">
                <a:ln>
                  <a:noFill/>
                </a:ln>
                <a:solidFill>
                  <a:prstClr val="white"/>
                </a:solidFill>
                <a:effectLst/>
                <a:uLnTx/>
                <a:uFillTx/>
                <a:latin typeface="Open Sans"/>
                <a:ea typeface="+mn-ea"/>
                <a:cs typeface="Calibri" panose="020F0502020204030204" pitchFamily="34" charset="0"/>
              </a:rPr>
              <a:t>You can get a vaccine if you are </a:t>
            </a:r>
            <a:r>
              <a:rPr kumimoji="0" lang="en-US" sz="3200" b="1" i="0" u="none" strike="noStrike" kern="0" cap="none" spc="0" normalizeH="0" baseline="0" noProof="0" dirty="0">
                <a:ln>
                  <a:noFill/>
                </a:ln>
                <a:solidFill>
                  <a:prstClr val="white"/>
                </a:solidFill>
                <a:effectLst/>
                <a:uLnTx/>
                <a:uFillTx/>
                <a:latin typeface="Open Sans"/>
                <a:ea typeface="+mn-ea"/>
                <a:cs typeface="Calibri" panose="020F0502020204030204" pitchFamily="34" charset="0"/>
              </a:rPr>
              <a:t>uninsured, </a:t>
            </a:r>
            <a:r>
              <a:rPr kumimoji="0" lang="en-US" sz="3200" b="0" i="0" u="none" strike="noStrike" kern="0" cap="none" spc="0" normalizeH="0" baseline="0" noProof="0" dirty="0">
                <a:ln>
                  <a:noFill/>
                </a:ln>
                <a:solidFill>
                  <a:prstClr val="white"/>
                </a:solidFill>
                <a:effectLst/>
                <a:uLnTx/>
                <a:uFillTx/>
                <a:latin typeface="Open Sans"/>
                <a:ea typeface="+mn-ea"/>
                <a:cs typeface="Calibri" panose="020F0502020204030204" pitchFamily="34" charset="0"/>
              </a:rPr>
              <a:t>and / or </a:t>
            </a:r>
            <a:r>
              <a:rPr kumimoji="0" lang="en-US" sz="3200" b="1" i="0" u="none" strike="noStrike" kern="0" cap="none" spc="0" normalizeH="0" baseline="0" noProof="0" dirty="0">
                <a:ln>
                  <a:noFill/>
                </a:ln>
                <a:solidFill>
                  <a:prstClr val="white"/>
                </a:solidFill>
                <a:effectLst/>
                <a:uLnTx/>
                <a:uFillTx/>
                <a:latin typeface="Open Sans"/>
                <a:ea typeface="+mn-ea"/>
                <a:cs typeface="Calibri" panose="020F0502020204030204" pitchFamily="34" charset="0"/>
              </a:rPr>
              <a:t>undocumented</a:t>
            </a:r>
          </a:p>
        </p:txBody>
      </p:sp>
    </p:spTree>
    <p:extLst>
      <p:ext uri="{BB962C8B-B14F-4D97-AF65-F5344CB8AC3E}">
        <p14:creationId xmlns:p14="http://schemas.microsoft.com/office/powerpoint/2010/main" val="20852491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CONFILLBACKGROUND" val="Color [A=255, R=68, G=114, B=196]"/>
  <p:tag name="ICONFILLBACKGROUNDTHEME" val="Accent 1"/>
  <p:tag name="THINKCELLPRESENTATIONDONOTDELETE" val="&lt;?xml version=&quot;1.0&quot; encoding=&quot;UTF-16&quot; standalone=&quot;yes&quot;?&gt;&lt;root reqver=&quot;25060&quot;&gt;&lt;version val=&quot;2843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ICONENCLOSURE" val="False"/>
  <p:tag name="MTBTACCENT" val="Accent1ColorBoldTex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01.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02.xml><?xml version="1.0" encoding="utf-8"?>
<p:tagLst xmlns:a="http://schemas.openxmlformats.org/drawingml/2006/main" xmlns:r="http://schemas.openxmlformats.org/officeDocument/2006/relationships" xmlns:p="http://schemas.openxmlformats.org/presentationml/2006/main">
  <p:tag name="MM_SLIDE_TYPE" val="6"/>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UBFLZp4pfxGXdl6X3s1Okw"/>
</p:tagLst>
</file>

<file path=ppt/tags/tag105.xml><?xml version="1.0" encoding="utf-8"?>
<p:tagLst xmlns:a="http://schemas.openxmlformats.org/drawingml/2006/main" xmlns:r="http://schemas.openxmlformats.org/officeDocument/2006/relationships" xmlns:p="http://schemas.openxmlformats.org/presentationml/2006/main">
  <p:tag name="NAME" val="Logo"/>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108.xml><?xml version="1.0" encoding="utf-8"?>
<p:tagLst xmlns:a="http://schemas.openxmlformats.org/drawingml/2006/main" xmlns:r="http://schemas.openxmlformats.org/officeDocument/2006/relationships" xmlns:p="http://schemas.openxmlformats.org/presentationml/2006/main">
  <p:tag name="NAME" val="Moon"/>
</p:tagLst>
</file>

<file path=ppt/tags/tag109.xml><?xml version="1.0" encoding="utf-8"?>
<p:tagLst xmlns:a="http://schemas.openxmlformats.org/drawingml/2006/main" xmlns:r="http://schemas.openxmlformats.org/officeDocument/2006/relationships" xmlns:p="http://schemas.openxmlformats.org/presentationml/2006/main">
  <p:tag name="NAME" val="Moon"/>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10.xml><?xml version="1.0" encoding="utf-8"?>
<p:tagLst xmlns:a="http://schemas.openxmlformats.org/drawingml/2006/main" xmlns:r="http://schemas.openxmlformats.org/officeDocument/2006/relationships" xmlns:p="http://schemas.openxmlformats.org/presentationml/2006/main">
  <p:tag name="NAME" val="Moon"/>
</p:tagLst>
</file>

<file path=ppt/tags/tag111.xml><?xml version="1.0" encoding="utf-8"?>
<p:tagLst xmlns:a="http://schemas.openxmlformats.org/drawingml/2006/main" xmlns:r="http://schemas.openxmlformats.org/officeDocument/2006/relationships" xmlns:p="http://schemas.openxmlformats.org/presentationml/2006/main">
  <p:tag name="NAME" val="Moon"/>
</p:tagLst>
</file>

<file path=ppt/tags/tag112.xml><?xml version="1.0" encoding="utf-8"?>
<p:tagLst xmlns:a="http://schemas.openxmlformats.org/drawingml/2006/main" xmlns:r="http://schemas.openxmlformats.org/officeDocument/2006/relationships" xmlns:p="http://schemas.openxmlformats.org/presentationml/2006/main">
  <p:tag name="NAME" val="Moon"/>
</p:tagLst>
</file>

<file path=ppt/tags/tag11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1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1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2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UBFLZp4pfxGXdl6X3s1Okw"/>
</p:tagLst>
</file>

<file path=ppt/tags/tag125.xml><?xml version="1.0" encoding="utf-8"?>
<p:tagLst xmlns:a="http://schemas.openxmlformats.org/drawingml/2006/main" xmlns:r="http://schemas.openxmlformats.org/officeDocument/2006/relationships" xmlns:p="http://schemas.openxmlformats.org/presentationml/2006/main">
  <p:tag name="NAME" val="Logo"/>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128.xml><?xml version="1.0" encoding="utf-8"?>
<p:tagLst xmlns:a="http://schemas.openxmlformats.org/drawingml/2006/main" xmlns:r="http://schemas.openxmlformats.org/officeDocument/2006/relationships" xmlns:p="http://schemas.openxmlformats.org/presentationml/2006/main">
  <p:tag name="NAME" val="Moon"/>
</p:tagLst>
</file>

<file path=ppt/tags/tag129.xml><?xml version="1.0" encoding="utf-8"?>
<p:tagLst xmlns:a="http://schemas.openxmlformats.org/drawingml/2006/main" xmlns:r="http://schemas.openxmlformats.org/officeDocument/2006/relationships" xmlns:p="http://schemas.openxmlformats.org/presentationml/2006/main">
  <p:tag name="NAME" val="Moon"/>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30.xml><?xml version="1.0" encoding="utf-8"?>
<p:tagLst xmlns:a="http://schemas.openxmlformats.org/drawingml/2006/main" xmlns:r="http://schemas.openxmlformats.org/officeDocument/2006/relationships" xmlns:p="http://schemas.openxmlformats.org/presentationml/2006/main">
  <p:tag name="NAME" val="Moon"/>
</p:tagLst>
</file>

<file path=ppt/tags/tag131.xml><?xml version="1.0" encoding="utf-8"?>
<p:tagLst xmlns:a="http://schemas.openxmlformats.org/drawingml/2006/main" xmlns:r="http://schemas.openxmlformats.org/officeDocument/2006/relationships" xmlns:p="http://schemas.openxmlformats.org/presentationml/2006/main">
  <p:tag name="NAME" val="Moon"/>
</p:tagLst>
</file>

<file path=ppt/tags/tag132.xml><?xml version="1.0" encoding="utf-8"?>
<p:tagLst xmlns:a="http://schemas.openxmlformats.org/drawingml/2006/main" xmlns:r="http://schemas.openxmlformats.org/officeDocument/2006/relationships" xmlns:p="http://schemas.openxmlformats.org/presentationml/2006/main">
  <p:tag name="NAME" val="Moon"/>
</p:tagLst>
</file>

<file path=ppt/tags/tag13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3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3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3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4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4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43.xml><?xml version="1.0" encoding="utf-8"?>
<p:tagLst xmlns:a="http://schemas.openxmlformats.org/drawingml/2006/main" xmlns:r="http://schemas.openxmlformats.org/officeDocument/2006/relationships" xmlns:p="http://schemas.openxmlformats.org/presentationml/2006/main">
  <p:tag name="MM_SLIDE_TYPE" val="6"/>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UBFLZp4pfxGXdl6X3s1Okw"/>
</p:tagLst>
</file>

<file path=ppt/tags/tag146.xml><?xml version="1.0" encoding="utf-8"?>
<p:tagLst xmlns:a="http://schemas.openxmlformats.org/drawingml/2006/main" xmlns:r="http://schemas.openxmlformats.org/officeDocument/2006/relationships" xmlns:p="http://schemas.openxmlformats.org/presentationml/2006/main">
  <p:tag name="NAME" val="Logo"/>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149.xml><?xml version="1.0" encoding="utf-8"?>
<p:tagLst xmlns:a="http://schemas.openxmlformats.org/drawingml/2006/main" xmlns:r="http://schemas.openxmlformats.org/officeDocument/2006/relationships" xmlns:p="http://schemas.openxmlformats.org/presentationml/2006/main">
  <p:tag name="NAME" val="Moon"/>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50.xml><?xml version="1.0" encoding="utf-8"?>
<p:tagLst xmlns:a="http://schemas.openxmlformats.org/drawingml/2006/main" xmlns:r="http://schemas.openxmlformats.org/officeDocument/2006/relationships" xmlns:p="http://schemas.openxmlformats.org/presentationml/2006/main">
  <p:tag name="NAME" val="Moon"/>
</p:tagLst>
</file>

<file path=ppt/tags/tag151.xml><?xml version="1.0" encoding="utf-8"?>
<p:tagLst xmlns:a="http://schemas.openxmlformats.org/drawingml/2006/main" xmlns:r="http://schemas.openxmlformats.org/officeDocument/2006/relationships" xmlns:p="http://schemas.openxmlformats.org/presentationml/2006/main">
  <p:tag name="NAME" val="Moon"/>
</p:tagLst>
</file>

<file path=ppt/tags/tag152.xml><?xml version="1.0" encoding="utf-8"?>
<p:tagLst xmlns:a="http://schemas.openxmlformats.org/drawingml/2006/main" xmlns:r="http://schemas.openxmlformats.org/officeDocument/2006/relationships" xmlns:p="http://schemas.openxmlformats.org/presentationml/2006/main">
  <p:tag name="NAME" val="Moon"/>
</p:tagLst>
</file>

<file path=ppt/tags/tag153.xml><?xml version="1.0" encoding="utf-8"?>
<p:tagLst xmlns:a="http://schemas.openxmlformats.org/drawingml/2006/main" xmlns:r="http://schemas.openxmlformats.org/officeDocument/2006/relationships" xmlns:p="http://schemas.openxmlformats.org/presentationml/2006/main">
  <p:tag name="NAME" val="Moon"/>
</p:tagLst>
</file>

<file path=ppt/tags/tag154.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5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6.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57.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58.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5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0.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6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2.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63.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64.xml><?xml version="1.0" encoding="utf-8"?>
<p:tagLst xmlns:a="http://schemas.openxmlformats.org/drawingml/2006/main" xmlns:r="http://schemas.openxmlformats.org/officeDocument/2006/relationships" xmlns:p="http://schemas.openxmlformats.org/presentationml/2006/main">
  <p:tag name="MM_SLIDE_TYPE" val="6"/>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UBFLZp4pfxGXdl6X3s1Okw"/>
</p:tagLst>
</file>

<file path=ppt/tags/tag167.xml><?xml version="1.0" encoding="utf-8"?>
<p:tagLst xmlns:a="http://schemas.openxmlformats.org/drawingml/2006/main" xmlns:r="http://schemas.openxmlformats.org/officeDocument/2006/relationships" xmlns:p="http://schemas.openxmlformats.org/presentationml/2006/main">
  <p:tag name="NAME" val="Logo"/>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70.xml><?xml version="1.0" encoding="utf-8"?>
<p:tagLst xmlns:a="http://schemas.openxmlformats.org/drawingml/2006/main" xmlns:r="http://schemas.openxmlformats.org/officeDocument/2006/relationships" xmlns:p="http://schemas.openxmlformats.org/presentationml/2006/main">
  <p:tag name="NAME" val="Moon"/>
</p:tagLst>
</file>

<file path=ppt/tags/tag171.xml><?xml version="1.0" encoding="utf-8"?>
<p:tagLst xmlns:a="http://schemas.openxmlformats.org/drawingml/2006/main" xmlns:r="http://schemas.openxmlformats.org/officeDocument/2006/relationships" xmlns:p="http://schemas.openxmlformats.org/presentationml/2006/main">
  <p:tag name="NAME" val="Moon"/>
</p:tagLst>
</file>

<file path=ppt/tags/tag172.xml><?xml version="1.0" encoding="utf-8"?>
<p:tagLst xmlns:a="http://schemas.openxmlformats.org/drawingml/2006/main" xmlns:r="http://schemas.openxmlformats.org/officeDocument/2006/relationships" xmlns:p="http://schemas.openxmlformats.org/presentationml/2006/main">
  <p:tag name="NAME" val="Moon"/>
</p:tagLst>
</file>

<file path=ppt/tags/tag173.xml><?xml version="1.0" encoding="utf-8"?>
<p:tagLst xmlns:a="http://schemas.openxmlformats.org/drawingml/2006/main" xmlns:r="http://schemas.openxmlformats.org/officeDocument/2006/relationships" xmlns:p="http://schemas.openxmlformats.org/presentationml/2006/main">
  <p:tag name="NAME" val="Moon"/>
</p:tagLst>
</file>

<file path=ppt/tags/tag174.xml><?xml version="1.0" encoding="utf-8"?>
<p:tagLst xmlns:a="http://schemas.openxmlformats.org/drawingml/2006/main" xmlns:r="http://schemas.openxmlformats.org/officeDocument/2006/relationships" xmlns:p="http://schemas.openxmlformats.org/presentationml/2006/main">
  <p:tag name="NAME" val="Moon"/>
</p:tagLst>
</file>

<file path=ppt/tags/tag175.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7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77.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7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79.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8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8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3.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84.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85.xml><?xml version="1.0" encoding="utf-8"?>
<p:tagLst xmlns:a="http://schemas.openxmlformats.org/drawingml/2006/main" xmlns:r="http://schemas.openxmlformats.org/officeDocument/2006/relationships" xmlns:p="http://schemas.openxmlformats.org/presentationml/2006/main">
  <p:tag name="MM_SLIDE_TYPE" val="6"/>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UBFLZp4pfxGXdl6X3s1Okw"/>
</p:tagLst>
</file>

<file path=ppt/tags/tag188.xml><?xml version="1.0" encoding="utf-8"?>
<p:tagLst xmlns:a="http://schemas.openxmlformats.org/drawingml/2006/main" xmlns:r="http://schemas.openxmlformats.org/officeDocument/2006/relationships" xmlns:p="http://schemas.openxmlformats.org/presentationml/2006/main">
  <p:tag name="NAME" val="Logo"/>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191.xml><?xml version="1.0" encoding="utf-8"?>
<p:tagLst xmlns:a="http://schemas.openxmlformats.org/drawingml/2006/main" xmlns:r="http://schemas.openxmlformats.org/officeDocument/2006/relationships" xmlns:p="http://schemas.openxmlformats.org/presentationml/2006/main">
  <p:tag name="NAME" val="Moon"/>
</p:tagLst>
</file>

<file path=ppt/tags/tag192.xml><?xml version="1.0" encoding="utf-8"?>
<p:tagLst xmlns:a="http://schemas.openxmlformats.org/drawingml/2006/main" xmlns:r="http://schemas.openxmlformats.org/officeDocument/2006/relationships" xmlns:p="http://schemas.openxmlformats.org/presentationml/2006/main">
  <p:tag name="NAME" val="Moon"/>
</p:tagLst>
</file>

<file path=ppt/tags/tag193.xml><?xml version="1.0" encoding="utf-8"?>
<p:tagLst xmlns:a="http://schemas.openxmlformats.org/drawingml/2006/main" xmlns:r="http://schemas.openxmlformats.org/officeDocument/2006/relationships" xmlns:p="http://schemas.openxmlformats.org/presentationml/2006/main">
  <p:tag name="NAME" val="Moon"/>
</p:tagLst>
</file>

<file path=ppt/tags/tag194.xml><?xml version="1.0" encoding="utf-8"?>
<p:tagLst xmlns:a="http://schemas.openxmlformats.org/drawingml/2006/main" xmlns:r="http://schemas.openxmlformats.org/officeDocument/2006/relationships" xmlns:p="http://schemas.openxmlformats.org/presentationml/2006/main">
  <p:tag name="NAME" val="Moon"/>
</p:tagLst>
</file>

<file path=ppt/tags/tag195.xml><?xml version="1.0" encoding="utf-8"?>
<p:tagLst xmlns:a="http://schemas.openxmlformats.org/drawingml/2006/main" xmlns:r="http://schemas.openxmlformats.org/officeDocument/2006/relationships" xmlns:p="http://schemas.openxmlformats.org/presentationml/2006/main">
  <p:tag name="NAME" val="Moon"/>
</p:tagLst>
</file>

<file path=ppt/tags/tag196.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9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9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99.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0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0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0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0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0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05.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06.xml><?xml version="1.0" encoding="utf-8"?>
<p:tagLst xmlns:a="http://schemas.openxmlformats.org/drawingml/2006/main" xmlns:r="http://schemas.openxmlformats.org/officeDocument/2006/relationships" xmlns:p="http://schemas.openxmlformats.org/presentationml/2006/main">
  <p:tag name="MM_SLIDE_TYPE" val="6"/>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UBFLZp4pfxGXdl6X3s1Okw"/>
</p:tagLst>
</file>

<file path=ppt/tags/tag209.xml><?xml version="1.0" encoding="utf-8"?>
<p:tagLst xmlns:a="http://schemas.openxmlformats.org/drawingml/2006/main" xmlns:r="http://schemas.openxmlformats.org/officeDocument/2006/relationships" xmlns:p="http://schemas.openxmlformats.org/presentationml/2006/main">
  <p:tag name="NAME" val="Logo"/>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PN6QUpMZXPZ2T2sV_SPhQQ"/>
</p:tagLst>
</file>

<file path=ppt/tags/tag212.xml><?xml version="1.0" encoding="utf-8"?>
<p:tagLst xmlns:a="http://schemas.openxmlformats.org/drawingml/2006/main" xmlns:r="http://schemas.openxmlformats.org/officeDocument/2006/relationships" xmlns:p="http://schemas.openxmlformats.org/presentationml/2006/main">
  <p:tag name="1LEVEL" val="14"/>
  <p:tag name="2LEVEL" val="7"/>
  <p:tag name="3LEVEL" val="3.5"/>
  <p:tag name="4LEVEL" val="1.75"/>
  <p:tag name="5LEVEL" val="0.88"/>
</p:tagLst>
</file>

<file path=ppt/tags/tag213.xml><?xml version="1.0" encoding="utf-8"?>
<p:tagLst xmlns:a="http://schemas.openxmlformats.org/drawingml/2006/main" xmlns:r="http://schemas.openxmlformats.org/officeDocument/2006/relationships" xmlns:p="http://schemas.openxmlformats.org/presentationml/2006/main">
  <p:tag name="NAME" val="5. Source"/>
</p:tagLst>
</file>

<file path=ppt/tags/tag214.xml><?xml version="1.0" encoding="utf-8"?>
<p:tagLst xmlns:a="http://schemas.openxmlformats.org/drawingml/2006/main" xmlns:r="http://schemas.openxmlformats.org/officeDocument/2006/relationships" xmlns:p="http://schemas.openxmlformats.org/presentationml/2006/main">
  <p:tag name="NAME" val="5. Sourc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0SGkxFHQsk2DeVWJDMnxdQ"/>
</p:tagLst>
</file>

<file path=ppt/tags/tag217.xml><?xml version="1.0" encoding="utf-8"?>
<p:tagLst xmlns:a="http://schemas.openxmlformats.org/drawingml/2006/main" xmlns:r="http://schemas.openxmlformats.org/officeDocument/2006/relationships" xmlns:p="http://schemas.openxmlformats.org/presentationml/2006/main">
  <p:tag name="1LEVEL" val="14"/>
  <p:tag name="2LEVEL" val="7"/>
  <p:tag name="3LEVEL" val="3.5"/>
  <p:tag name="4LEVEL" val="1.75"/>
  <p:tag name="5LEVEL" val="0.88"/>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PN6QUpMZXPZ2T2sV_SPhQ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UBFLZp4pfxGXdl6X3s1Okw"/>
</p:tagLst>
</file>

<file path=ppt/tags/tag220.xml><?xml version="1.0" encoding="utf-8"?>
<p:tagLst xmlns:a="http://schemas.openxmlformats.org/drawingml/2006/main" xmlns:r="http://schemas.openxmlformats.org/officeDocument/2006/relationships" xmlns:p="http://schemas.openxmlformats.org/presentationml/2006/main">
  <p:tag name="NAME" val="Tick"/>
</p:tagLst>
</file>

<file path=ppt/tags/tag221.xml><?xml version="1.0" encoding="utf-8"?>
<p:tagLst xmlns:a="http://schemas.openxmlformats.org/drawingml/2006/main" xmlns:r="http://schemas.openxmlformats.org/officeDocument/2006/relationships" xmlns:p="http://schemas.openxmlformats.org/presentationml/2006/main">
  <p:tag name="NAME" val="Tick"/>
</p:tagLst>
</file>

<file path=ppt/tags/tag222.xml><?xml version="1.0" encoding="utf-8"?>
<p:tagLst xmlns:a="http://schemas.openxmlformats.org/drawingml/2006/main" xmlns:r="http://schemas.openxmlformats.org/officeDocument/2006/relationships" xmlns:p="http://schemas.openxmlformats.org/presentationml/2006/main">
  <p:tag name="NAME" val="Tick"/>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mM0BjHa5yrEMSJJtBPjFhA"/>
</p:tagLst>
</file>

<file path=ppt/tags/tag225.xml><?xml version="1.0" encoding="utf-8"?>
<p:tagLst xmlns:a="http://schemas.openxmlformats.org/drawingml/2006/main" xmlns:r="http://schemas.openxmlformats.org/officeDocument/2006/relationships" xmlns:p="http://schemas.openxmlformats.org/presentationml/2006/main">
  <p:tag name="1LEVEL" val="20"/>
  <p:tag name="2LEVEL" val="10"/>
  <p:tag name="3LEVEL" val="5"/>
  <p:tag name="4LEVEL" val="2.5"/>
  <p:tag name="5LEVEL" val="1.25"/>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Lju5z5a6pITKqq2IguSEX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CwWEzotVVBk6h1lE.gpcDA"/>
</p:tagLst>
</file>

<file path=ppt/tags/tag23.xml><?xml version="1.0" encoding="utf-8"?>
<p:tagLst xmlns:a="http://schemas.openxmlformats.org/drawingml/2006/main" xmlns:r="http://schemas.openxmlformats.org/officeDocument/2006/relationships" xmlns:p="http://schemas.openxmlformats.org/presentationml/2006/main">
  <p:tag name="NAME" val="Logo"/>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95DdBUwVFP8zyWIYQr_Zeg"/>
</p:tagLst>
</file>

<file path=ppt/tags/tag232.xml><?xml version="1.0" encoding="utf-8"?>
<p:tagLst xmlns:a="http://schemas.openxmlformats.org/drawingml/2006/main" xmlns:r="http://schemas.openxmlformats.org/officeDocument/2006/relationships" xmlns:p="http://schemas.openxmlformats.org/presentationml/2006/main">
  <p:tag name="1LEVEL" val="12"/>
  <p:tag name="2LEVEL" val="6"/>
  <p:tag name="3LEVEL" val="3"/>
  <p:tag name="4LEVEL" val="1.5"/>
  <p:tag name="5LEVEL" val="0.75"/>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95DdBUwVFP8zyWIYQr_Zeg"/>
</p:tagLst>
</file>

<file path=ppt/tags/tag235.xml><?xml version="1.0" encoding="utf-8"?>
<p:tagLst xmlns:a="http://schemas.openxmlformats.org/drawingml/2006/main" xmlns:r="http://schemas.openxmlformats.org/officeDocument/2006/relationships" xmlns:p="http://schemas.openxmlformats.org/presentationml/2006/main">
  <p:tag name="1LEVEL" val="12"/>
  <p:tag name="2LEVEL" val="6"/>
  <p:tag name="3LEVEL" val="3"/>
  <p:tag name="4LEVEL" val="1.5"/>
  <p:tag name="5LEVEL" val="0.75"/>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95DdBUwVFP8zyWIYQr_Zeg"/>
</p:tagLst>
</file>

<file path=ppt/tags/tag238.xml><?xml version="1.0" encoding="utf-8"?>
<p:tagLst xmlns:a="http://schemas.openxmlformats.org/drawingml/2006/main" xmlns:r="http://schemas.openxmlformats.org/officeDocument/2006/relationships" xmlns:p="http://schemas.openxmlformats.org/presentationml/2006/main">
  <p:tag name="1LEVEL" val="12"/>
  <p:tag name="2LEVEL" val="6"/>
  <p:tag name="3LEVEL" val="3"/>
  <p:tag name="4LEVEL" val="1.5"/>
  <p:tag name="5LEVEL" val="0.75"/>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95DdBUwVFP8zyWIYQr_Zeg"/>
</p:tagLst>
</file>

<file path=ppt/tags/tag241.xml><?xml version="1.0" encoding="utf-8"?>
<p:tagLst xmlns:a="http://schemas.openxmlformats.org/drawingml/2006/main" xmlns:r="http://schemas.openxmlformats.org/officeDocument/2006/relationships" xmlns:p="http://schemas.openxmlformats.org/presentationml/2006/main">
  <p:tag name="1LEVEL" val="12"/>
  <p:tag name="2LEVEL" val="6"/>
  <p:tag name="3LEVEL" val="3"/>
  <p:tag name="4LEVEL" val="1.5"/>
  <p:tag name="5LEVEL" val="0.75"/>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F9FpnYPPv0ztBLvZ2nAfU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to8B5a3BL.AGAt_wq_7WAQ"/>
</p:tagLst>
</file>

<file path=ppt/tags/tag247.xml><?xml version="1.0" encoding="utf-8"?>
<p:tagLst xmlns:a="http://schemas.openxmlformats.org/drawingml/2006/main" xmlns:r="http://schemas.openxmlformats.org/officeDocument/2006/relationships" xmlns:p="http://schemas.openxmlformats.org/presentationml/2006/main">
  <p:tag name="MTTABLE" val="Cell"/>
  <p:tag name="MTNUMBER" val="0.167454993895933"/>
  <p:tag name="LEFT" val="9.375039"/>
  <p:tag name="WIDTH" val="213.4687"/>
  <p:tag name="TOP" val="109.3876"/>
  <p:tag name="HEIGHT" val="15.98622"/>
</p:tagLst>
</file>

<file path=ppt/tags/tag248.xml><?xml version="1.0" encoding="utf-8"?>
<p:tagLst xmlns:a="http://schemas.openxmlformats.org/drawingml/2006/main" xmlns:r="http://schemas.openxmlformats.org/officeDocument/2006/relationships" xmlns:p="http://schemas.openxmlformats.org/presentationml/2006/main">
  <p:tag name="MTTABLE" val="Cell"/>
  <p:tag name="MTNUMBER" val="0.167454993895933"/>
  <p:tag name="LEFT" val="9.375039"/>
  <p:tag name="WIDTH" val="213.4687"/>
  <p:tag name="TOP" val="109.3876"/>
  <p:tag name="HEIGHT" val="15.98622"/>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UI5YBPYnF3iTrEB6c9XJ.w"/>
</p:tagLst>
</file>

<file path=ppt/tags/tag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xml><?xml version="1.0" encoding="utf-8"?>
<p:tagLst xmlns:a="http://schemas.openxmlformats.org/drawingml/2006/main" xmlns:r="http://schemas.openxmlformats.org/officeDocument/2006/relationships" xmlns:p="http://schemas.openxmlformats.org/presentationml/2006/main">
  <p:tag name="SHAPENAME" val="5. Sourc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sQIawu3sROL5xCelXMaUA"/>
</p:tagLst>
</file>

<file path=ppt/tags/tag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asQIawu3sROL5xCelXMaU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35.xml><?xml version="1.0" encoding="utf-8"?>
<p:tagLst xmlns:a="http://schemas.openxmlformats.org/drawingml/2006/main" xmlns:r="http://schemas.openxmlformats.org/officeDocument/2006/relationships" xmlns:p="http://schemas.openxmlformats.org/presentationml/2006/main">
  <p:tag name="NAME" val="Moon"/>
</p:tagLst>
</file>

<file path=ppt/tags/tag36.xml><?xml version="1.0" encoding="utf-8"?>
<p:tagLst xmlns:a="http://schemas.openxmlformats.org/drawingml/2006/main" xmlns:r="http://schemas.openxmlformats.org/officeDocument/2006/relationships" xmlns:p="http://schemas.openxmlformats.org/presentationml/2006/main">
  <p:tag name="NAME" val="Moon"/>
</p:tagLst>
</file>

<file path=ppt/tags/tag37.xml><?xml version="1.0" encoding="utf-8"?>
<p:tagLst xmlns:a="http://schemas.openxmlformats.org/drawingml/2006/main" xmlns:r="http://schemas.openxmlformats.org/officeDocument/2006/relationships" xmlns:p="http://schemas.openxmlformats.org/presentationml/2006/main">
  <p:tag name="NAME" val="Moon"/>
</p:tagLst>
</file>

<file path=ppt/tags/tag38.xml><?xml version="1.0" encoding="utf-8"?>
<p:tagLst xmlns:a="http://schemas.openxmlformats.org/drawingml/2006/main" xmlns:r="http://schemas.openxmlformats.org/officeDocument/2006/relationships" xmlns:p="http://schemas.openxmlformats.org/presentationml/2006/main">
  <p:tag name="NAME" val="Moon"/>
</p:tagLst>
</file>

<file path=ppt/tags/tag39.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4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4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4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4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UBFLZp4pfxGXdl6X3s1Okw"/>
</p:tagLst>
</file>

<file path=ppt/tags/tag52.xml><?xml version="1.0" encoding="utf-8"?>
<p:tagLst xmlns:a="http://schemas.openxmlformats.org/drawingml/2006/main" xmlns:r="http://schemas.openxmlformats.org/officeDocument/2006/relationships" xmlns:p="http://schemas.openxmlformats.org/presentationml/2006/main">
  <p:tag name="NAME" val="Logo"/>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55.xml><?xml version="1.0" encoding="utf-8"?>
<p:tagLst xmlns:a="http://schemas.openxmlformats.org/drawingml/2006/main" xmlns:r="http://schemas.openxmlformats.org/officeDocument/2006/relationships" xmlns:p="http://schemas.openxmlformats.org/presentationml/2006/main">
  <p:tag name="NAME" val="Moon"/>
</p:tagLst>
</file>

<file path=ppt/tags/tag56.xml><?xml version="1.0" encoding="utf-8"?>
<p:tagLst xmlns:a="http://schemas.openxmlformats.org/drawingml/2006/main" xmlns:r="http://schemas.openxmlformats.org/officeDocument/2006/relationships" xmlns:p="http://schemas.openxmlformats.org/presentationml/2006/main">
  <p:tag name="NAME" val="Moon"/>
</p:tagLst>
</file>

<file path=ppt/tags/tag57.xml><?xml version="1.0" encoding="utf-8"?>
<p:tagLst xmlns:a="http://schemas.openxmlformats.org/drawingml/2006/main" xmlns:r="http://schemas.openxmlformats.org/officeDocument/2006/relationships" xmlns:p="http://schemas.openxmlformats.org/presentationml/2006/main">
  <p:tag name="NAME" val="Moon"/>
</p:tagLst>
</file>

<file path=ppt/tags/tag58.xml><?xml version="1.0" encoding="utf-8"?>
<p:tagLst xmlns:a="http://schemas.openxmlformats.org/drawingml/2006/main" xmlns:r="http://schemas.openxmlformats.org/officeDocument/2006/relationships" xmlns:p="http://schemas.openxmlformats.org/presentationml/2006/main">
  <p:tag name="NAME" val="Moon"/>
</p:tagLst>
</file>

<file path=ppt/tags/tag59.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6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6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6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6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6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6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6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UBFLZp4pfxGXdl6X3s1Okw"/>
</p:tagLst>
</file>

<file path=ppt/tags/tag72.xml><?xml version="1.0" encoding="utf-8"?>
<p:tagLst xmlns:a="http://schemas.openxmlformats.org/drawingml/2006/main" xmlns:r="http://schemas.openxmlformats.org/officeDocument/2006/relationships" xmlns:p="http://schemas.openxmlformats.org/presentationml/2006/main">
  <p:tag name="NAME" val="Logo"/>
</p:tagLst>
</file>

<file path=ppt/tags/tag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4.xml><?xml version="1.0" encoding="utf-8"?>
<p:tagLst xmlns:a="http://schemas.openxmlformats.org/drawingml/2006/main" xmlns:r="http://schemas.openxmlformats.org/officeDocument/2006/relationships" xmlns:p="http://schemas.openxmlformats.org/presentationml/2006/main">
  <p:tag name="SHAPENAME" val="3. Subtitle"/>
</p:tagLst>
</file>

<file path=ppt/tags/tag7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6.xml><?xml version="1.0" encoding="utf-8"?>
<p:tagLst xmlns:a="http://schemas.openxmlformats.org/drawingml/2006/main" xmlns:r="http://schemas.openxmlformats.org/officeDocument/2006/relationships" xmlns:p="http://schemas.openxmlformats.org/presentationml/2006/main">
  <p:tag name="SHAPENAME" val="5. Source"/>
</p:tagLst>
</file>

<file path=ppt/tags/tag7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5Eq_lebdFlPrTXB9fMT4fA"/>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3. Subtitle"/>
</p:tagLst>
</file>

<file path=ppt/tags/tag8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3.xml><?xml version="1.0" encoding="utf-8"?>
<p:tagLst xmlns:a="http://schemas.openxmlformats.org/drawingml/2006/main" xmlns:r="http://schemas.openxmlformats.org/officeDocument/2006/relationships" xmlns:p="http://schemas.openxmlformats.org/presentationml/2006/main">
  <p:tag name="SHAPENAME" val="5. Source"/>
</p:tagLst>
</file>

<file path=ppt/tags/tag8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87.xml><?xml version="1.0" encoding="utf-8"?>
<p:tagLst xmlns:a="http://schemas.openxmlformats.org/drawingml/2006/main" xmlns:r="http://schemas.openxmlformats.org/officeDocument/2006/relationships" xmlns:p="http://schemas.openxmlformats.org/presentationml/2006/main">
  <p:tag name="NAME" val="Moon"/>
</p:tagLst>
</file>

<file path=ppt/tags/tag88.xml><?xml version="1.0" encoding="utf-8"?>
<p:tagLst xmlns:a="http://schemas.openxmlformats.org/drawingml/2006/main" xmlns:r="http://schemas.openxmlformats.org/officeDocument/2006/relationships" xmlns:p="http://schemas.openxmlformats.org/presentationml/2006/main">
  <p:tag name="NAME" val="Moon"/>
</p:tagLst>
</file>

<file path=ppt/tags/tag89.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NAME" val="Moon"/>
</p:tagLst>
</file>

<file path=ppt/tags/tag91.xml><?xml version="1.0" encoding="utf-8"?>
<p:tagLst xmlns:a="http://schemas.openxmlformats.org/drawingml/2006/main" xmlns:r="http://schemas.openxmlformats.org/officeDocument/2006/relationships" xmlns:p="http://schemas.openxmlformats.org/presentationml/2006/main">
  <p:tag name="NAME" val="Moon"/>
</p:tagLst>
</file>

<file path=ppt/tags/tag9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4.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96.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9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9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heme/theme1.xml><?xml version="1.0" encoding="utf-8"?>
<a:theme xmlns:a="http://schemas.openxmlformats.org/drawingml/2006/main" name="CustomMaster 1">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5_Firm Format - template_Blue">
  <a:themeElements>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blue - wide.potx" id="{13C89596-CA46-49FE-8759-AF466791A752}" vid="{129FEF66-2A94-41F7-B48D-E9EEFD99D971}"/>
    </a:ext>
  </a:extLst>
</a:theme>
</file>

<file path=ppt/theme/theme11.xml><?xml version="1.0" encoding="utf-8"?>
<a:theme xmlns:a="http://schemas.openxmlformats.org/drawingml/2006/main" name="8_Firm Format - template_Blue">
  <a:themeElements>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blue - wide.potx" id="{13C89596-CA46-49FE-8759-AF466791A752}" vid="{129FEF66-2A94-41F7-B48D-E9EEFD99D971}"/>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6_Firm Format - template_Blue">
  <a:themeElements>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blue - wide.potx" id="{13C89596-CA46-49FE-8759-AF466791A752}" vid="{129FEF66-2A94-41F7-B48D-E9EEFD99D971}"/>
    </a:ext>
  </a:extLst>
</a:theme>
</file>

<file path=ppt/theme/theme3.xml><?xml version="1.0" encoding="utf-8"?>
<a:theme xmlns:a="http://schemas.openxmlformats.org/drawingml/2006/main" name="1_CustomMaster 1">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7_Firm Format - template_Blue">
  <a:themeElements>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blue - wide.potx" id="{13C89596-CA46-49FE-8759-AF466791A752}" vid="{129FEF66-2A94-41F7-B48D-E9EEFD99D971}"/>
    </a:ext>
  </a:extLst>
</a:theme>
</file>

<file path=ppt/theme/theme5.xml><?xml version="1.0" encoding="utf-8"?>
<a:theme xmlns:a="http://schemas.openxmlformats.org/drawingml/2006/main" name="15_Firm Format - template_Blue">
  <a:themeElements>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blue - wide.potx" id="{13C89596-CA46-49FE-8759-AF466791A752}" vid="{129FEF66-2A94-41F7-B48D-E9EEFD99D971}"/>
    </a:ext>
  </a:extLst>
</a:theme>
</file>

<file path=ppt/theme/theme6.xml><?xml version="1.0" encoding="utf-8"?>
<a:theme xmlns:a="http://schemas.openxmlformats.org/drawingml/2006/main" name="1_Firm Format - template_Blue">
  <a:themeElements>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blue - wide.potx" id="{13C89596-CA46-49FE-8759-AF466791A752}" vid="{129FEF66-2A94-41F7-B48D-E9EEFD99D971}"/>
    </a:ext>
  </a:extLst>
</a:theme>
</file>

<file path=ppt/theme/theme7.xml><?xml version="1.0" encoding="utf-8"?>
<a:theme xmlns:a="http://schemas.openxmlformats.org/drawingml/2006/main" name="4_Firm Format - template_Blue">
  <a:themeElements>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blue - wide.potx" id="{13C89596-CA46-49FE-8759-AF466791A752}" vid="{129FEF66-2A94-41F7-B48D-E9EEFD99D971}"/>
    </a:ext>
  </a:extLst>
</a:theme>
</file>

<file path=ppt/theme/theme8.xml><?xml version="1.0" encoding="utf-8"?>
<a:theme xmlns:a="http://schemas.openxmlformats.org/drawingml/2006/main" name="2_Firm Format - template_Blue">
  <a:themeElements>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blue - wide.potx" id="{13C89596-CA46-49FE-8759-AF466791A752}" vid="{129FEF66-2A94-41F7-B48D-E9EEFD99D971}"/>
    </a:ext>
  </a:extLst>
</a:theme>
</file>

<file path=ppt/theme/theme9.xml><?xml version="1.0" encoding="utf-8"?>
<a:theme xmlns:a="http://schemas.openxmlformats.org/drawingml/2006/main" name="3_Firm Format - template_Blue">
  <a:themeElements>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blue - wide.potx" id="{13C89596-CA46-49FE-8759-AF466791A752}" vid="{129FEF66-2A94-41F7-B48D-E9EEFD99D971}"/>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68F24B16C552A440A2F5DFF899ED1C02" ma:contentTypeVersion="11" ma:contentTypeDescription="Create a new document." ma:contentTypeScope="" ma:versionID="a6275e201b33be7aaa99561c9fbd3726">
  <xsd:schema xmlns:xsd="http://www.w3.org/2001/XMLSchema" xmlns:xs="http://www.w3.org/2001/XMLSchema" xmlns:p="http://schemas.microsoft.com/office/2006/metadata/properties" xmlns:ns3="53b3a32c-479b-49b7-b995-c1121728f491" xmlns:ns4="ae897a98-3474-467b-9423-e8d73c54a98a" targetNamespace="http://schemas.microsoft.com/office/2006/metadata/properties" ma:root="true" ma:fieldsID="a3d569fb9ba781587b75efe278532725" ns3:_="" ns4:_="">
    <xsd:import namespace="53b3a32c-479b-49b7-b995-c1121728f491"/>
    <xsd:import namespace="ae897a98-3474-467b-9423-e8d73c54a98a"/>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GenerationTime" minOccurs="0"/>
                <xsd:element ref="ns3:MediaServiceEventHashCode" minOccurs="0"/>
                <xsd:element ref="ns3:MediaServiceOCR" minOccurs="0"/>
                <xsd:element ref="ns4:SharedWithUsers" minOccurs="0"/>
                <xsd:element ref="ns4:SharedWithDetails" minOccurs="0"/>
                <xsd:element ref="ns4:SharingHintHash"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3b3a32c-479b-49b7-b995-c1121728f49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LengthInSeconds" ma:index="18"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ae897a98-3474-467b-9423-e8d73c54a98a"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element name="SharingHintHash" ma:index="17"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1618213-4681-476E-ACF3-626AEE5BFA1A}">
  <ds:schemaRefs>
    <ds:schemaRef ds:uri="http://purl.org/dc/elements/1.1/"/>
    <ds:schemaRef ds:uri="http://schemas.microsoft.com/office/2006/metadata/properties"/>
    <ds:schemaRef ds:uri="http://schemas.openxmlformats.org/package/2006/metadata/core-properties"/>
    <ds:schemaRef ds:uri="http://purl.org/dc/terms/"/>
    <ds:schemaRef ds:uri="http://schemas.microsoft.com/office/infopath/2007/PartnerControls"/>
    <ds:schemaRef ds:uri="http://schemas.microsoft.com/office/2006/documentManagement/types"/>
    <ds:schemaRef ds:uri="53b3a32c-479b-49b7-b995-c1121728f491"/>
    <ds:schemaRef ds:uri="ae897a98-3474-467b-9423-e8d73c54a98a"/>
    <ds:schemaRef ds:uri="http://www.w3.org/XML/1998/namespace"/>
    <ds:schemaRef ds:uri="http://purl.org/dc/dcmitype/"/>
  </ds:schemaRefs>
</ds:datastoreItem>
</file>

<file path=customXml/itemProps2.xml><?xml version="1.0" encoding="utf-8"?>
<ds:datastoreItem xmlns:ds="http://schemas.openxmlformats.org/officeDocument/2006/customXml" ds:itemID="{C0A93F36-65AF-43BB-9F37-1269379C168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3b3a32c-479b-49b7-b995-c1121728f491"/>
    <ds:schemaRef ds:uri="ae897a98-3474-467b-9423-e8d73c54a98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6FB6850-6E11-455A-9396-F0E7633D19F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2231</Words>
  <Application>Microsoft Office PowerPoint</Application>
  <PresentationFormat>Widescreen</PresentationFormat>
  <Paragraphs>280</Paragraphs>
  <Slides>31</Slides>
  <Notes>21</Notes>
  <HiddenSlides>0</HiddenSlides>
  <MMClips>0</MMClips>
  <ScaleCrop>false</ScaleCrop>
  <HeadingPairs>
    <vt:vector size="8" baseType="variant">
      <vt:variant>
        <vt:lpstr>Fonts Used</vt:lpstr>
      </vt:variant>
      <vt:variant>
        <vt:i4>6</vt:i4>
      </vt:variant>
      <vt:variant>
        <vt:lpstr>Theme</vt:lpstr>
      </vt:variant>
      <vt:variant>
        <vt:i4>11</vt:i4>
      </vt:variant>
      <vt:variant>
        <vt:lpstr>Embedded OLE Servers</vt:lpstr>
      </vt:variant>
      <vt:variant>
        <vt:i4>1</vt:i4>
      </vt:variant>
      <vt:variant>
        <vt:lpstr>Slide Titles</vt:lpstr>
      </vt:variant>
      <vt:variant>
        <vt:i4>31</vt:i4>
      </vt:variant>
    </vt:vector>
  </HeadingPairs>
  <TitlesOfParts>
    <vt:vector size="49" baseType="lpstr">
      <vt:lpstr>Arial</vt:lpstr>
      <vt:lpstr>Calibri</vt:lpstr>
      <vt:lpstr>Calibri Light</vt:lpstr>
      <vt:lpstr>Georgia</vt:lpstr>
      <vt:lpstr>Open Sans</vt:lpstr>
      <vt:lpstr>Segoe UI</vt:lpstr>
      <vt:lpstr>CustomMaster 1</vt:lpstr>
      <vt:lpstr>6_Firm Format - template_Blue</vt:lpstr>
      <vt:lpstr>1_CustomMaster 1</vt:lpstr>
      <vt:lpstr>7_Firm Format - template_Blue</vt:lpstr>
      <vt:lpstr>15_Firm Format - template_Blue</vt:lpstr>
      <vt:lpstr>1_Firm Format - template_Blue</vt:lpstr>
      <vt:lpstr>4_Firm Format - template_Blue</vt:lpstr>
      <vt:lpstr>2_Firm Format - template_Blue</vt:lpstr>
      <vt:lpstr>3_Firm Format - template_Blue</vt:lpstr>
      <vt:lpstr>5_Firm Format - template_Blue</vt:lpstr>
      <vt:lpstr>8_Firm Format - template_Blue</vt:lpstr>
      <vt:lpstr>think-cell Slide</vt:lpstr>
      <vt:lpstr>COVID-19 Update</vt:lpstr>
      <vt:lpstr>Disclaimer</vt:lpstr>
      <vt:lpstr>PowerPoint Presentation</vt:lpstr>
      <vt:lpstr>Transmission</vt:lpstr>
      <vt:lpstr>How to help prevent the spread</vt:lpstr>
      <vt:lpstr>PowerPoint Presentation</vt:lpstr>
      <vt:lpstr>COVID-19 Basics</vt:lpstr>
      <vt:lpstr>Post-COVID Conditions</vt:lpstr>
      <vt:lpstr>PowerPoint Presentation</vt:lpstr>
      <vt:lpstr>COVID-19 Vaccines</vt:lpstr>
      <vt:lpstr>About mRNA COVID-19 Vaccines</vt:lpstr>
      <vt:lpstr>J&amp;J Janssen COVID-19 Vaccine</vt:lpstr>
      <vt:lpstr>Side Effects of mRNA COVID-19 Vaccines</vt:lpstr>
      <vt:lpstr>Anaphylaxis and mRNA COVID-19 Vaccines</vt:lpstr>
      <vt:lpstr>Recommendations</vt:lpstr>
      <vt:lpstr>Myocarditis and Pericarditis</vt:lpstr>
      <vt:lpstr>Side Effects of the  Adenovirus Vector COVID-19 vaccines</vt:lpstr>
      <vt:lpstr>Serious Side Effects</vt:lpstr>
      <vt:lpstr>US FDA and CDC Recommendations</vt:lpstr>
      <vt:lpstr>Guillain-Barré Syndrome</vt:lpstr>
      <vt:lpstr>Fertility</vt:lpstr>
      <vt:lpstr>COVID-19 Variants</vt:lpstr>
      <vt:lpstr>COVID-19 Variants</vt:lpstr>
      <vt:lpstr>PowerPoint Presentation</vt:lpstr>
      <vt:lpstr>PowerPoint Presentation</vt:lpstr>
      <vt:lpstr>Vaccination Rates in New Jersey</vt:lpstr>
      <vt:lpstr>Daily report on vaccination (as of 10pm 09/19/2021)</vt:lpstr>
      <vt:lpstr>Natural Versus Vaccine Immunity</vt:lpstr>
      <vt:lpstr>Safety at School</vt:lpstr>
      <vt:lpstr>Help us spread the word!</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20-12-31T19:25:53Z</dcterms:created>
  <dcterms:modified xsi:type="dcterms:W3CDTF">2021-09-22T13:22: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8F24B16C552A440A2F5DFF899ED1C02</vt:lpwstr>
  </property>
</Properties>
</file>